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29.xml" ContentType="application/vnd.openxmlformats-officedocument.presentationml.tags+xml"/>
  <Override PartName="/ppt/notesSlides/notesSlide2.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tags/tag30.xml" ContentType="application/vnd.openxmlformats-officedocument.presentationml.tags+xml"/>
  <Override PartName="/ppt/notesSlides/notesSlide3.xml" ContentType="application/vnd.openxmlformats-officedocument.presentationml.notesSlide+xml"/>
  <Override PartName="/ppt/charts/chart5.xml" ContentType="application/vnd.openxmlformats-officedocument.drawingml.chart+xml"/>
  <Override PartName="/ppt/charts/chart6.xml" ContentType="application/vnd.openxmlformats-officedocument.drawingml.chart+xml"/>
  <Override PartName="/ppt/tags/tag31.xml" ContentType="application/vnd.openxmlformats-officedocument.presentationml.tags+xml"/>
  <Override PartName="/ppt/notesSlides/notesSlide4.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tags/tag32.xml" ContentType="application/vnd.openxmlformats-officedocument.presentationml.tags+xml"/>
  <Override PartName="/ppt/notesSlides/notesSlide5.xml" ContentType="application/vnd.openxmlformats-officedocument.presentationml.notesSlide+xml"/>
  <Override PartName="/ppt/charts/chart9.xml" ContentType="application/vnd.openxmlformats-officedocument.drawingml.chart+xml"/>
  <Override PartName="/ppt/charts/chart10.xml" ContentType="application/vnd.openxmlformats-officedocument.drawingml.chart+xml"/>
  <Override PartName="/ppt/tags/tag33.xml" ContentType="application/vnd.openxmlformats-officedocument.presentationml.tags+xml"/>
  <Override PartName="/ppt/notesSlides/notesSlide6.xml" ContentType="application/vnd.openxmlformats-officedocument.presentationml.notesSlide+xml"/>
  <Override PartName="/ppt/charts/chart11.xml" ContentType="application/vnd.openxmlformats-officedocument.drawingml.chart+xml"/>
  <Override PartName="/ppt/charts/chart12.xml" ContentType="application/vnd.openxmlformats-officedocument.drawingml.chart+xml"/>
  <Override PartName="/ppt/tags/tag34.xml" ContentType="application/vnd.openxmlformats-officedocument.presentationml.tags+xml"/>
  <Override PartName="/ppt/notesSlides/notesSlide7.xml" ContentType="application/vnd.openxmlformats-officedocument.presentationml.notesSlide+xml"/>
  <Override PartName="/ppt/charts/chart13.xml" ContentType="application/vnd.openxmlformats-officedocument.drawingml.chart+xml"/>
  <Override PartName="/ppt/charts/chart14.xml" ContentType="application/vnd.openxmlformats-officedocument.drawingml.chart+xml"/>
  <Override PartName="/ppt/tags/tag35.xml" ContentType="application/vnd.openxmlformats-officedocument.presentationml.tags+xml"/>
  <Override PartName="/ppt/notesSlides/notesSlide8.xml" ContentType="application/vnd.openxmlformats-officedocument.presentationml.notesSlide+xml"/>
  <Override PartName="/ppt/charts/chart15.xml" ContentType="application/vnd.openxmlformats-officedocument.drawingml.chart+xml"/>
  <Override PartName="/ppt/charts/chart16.xml" ContentType="application/vnd.openxmlformats-officedocument.drawingml.chart+xml"/>
  <Override PartName="/ppt/tags/tag36.xml" ContentType="application/vnd.openxmlformats-officedocument.presentationml.tags+xml"/>
  <Override PartName="/ppt/notesSlides/notesSlide9.xml" ContentType="application/vnd.openxmlformats-officedocument.presentationml.notesSlide+xml"/>
  <Override PartName="/ppt/charts/chart17.xml" ContentType="application/vnd.openxmlformats-officedocument.drawingml.chart+xml"/>
  <Override PartName="/ppt/charts/chart18.xml" ContentType="application/vnd.openxmlformats-officedocument.drawingml.chart+xml"/>
  <Override PartName="/ppt/tags/tag37.xml" ContentType="application/vnd.openxmlformats-officedocument.presentationml.tags+xml"/>
  <Override PartName="/ppt/notesSlides/notesSlide10.xml" ContentType="application/vnd.openxmlformats-officedocument.presentationml.notesSlide+xml"/>
  <Override PartName="/ppt/charts/chart19.xml" ContentType="application/vnd.openxmlformats-officedocument.drawingml.chart+xml"/>
  <Override PartName="/ppt/charts/chart20.xml" ContentType="application/vnd.openxmlformats-officedocument.drawingml.chart+xml"/>
  <Override PartName="/ppt/tags/tag38.xml" ContentType="application/vnd.openxmlformats-officedocument.presentationml.tags+xml"/>
  <Override PartName="/ppt/notesSlides/notesSlide11.xml" ContentType="application/vnd.openxmlformats-officedocument.presentationml.notesSlide+xml"/>
  <Override PartName="/ppt/charts/chart21.xml" ContentType="application/vnd.openxmlformats-officedocument.drawingml.chart+xml"/>
  <Override PartName="/ppt/charts/chart22.xml" ContentType="application/vnd.openxmlformats-officedocument.drawingml.chart+xml"/>
  <Override PartName="/ppt/tags/tag39.xml" ContentType="application/vnd.openxmlformats-officedocument.presentationml.tags+xml"/>
  <Override PartName="/ppt/notesSlides/notesSlide12.xml" ContentType="application/vnd.openxmlformats-officedocument.presentationml.notesSlide+xml"/>
  <Override PartName="/ppt/charts/chart23.xml" ContentType="application/vnd.openxmlformats-officedocument.drawingml.chart+xml"/>
  <Override PartName="/ppt/charts/chart24.xml" ContentType="application/vnd.openxmlformats-officedocument.drawingml.chart+xml"/>
  <Override PartName="/ppt/tags/tag40.xml" ContentType="application/vnd.openxmlformats-officedocument.presentationml.tags+xml"/>
  <Override PartName="/ppt/notesSlides/notesSlide13.xml" ContentType="application/vnd.openxmlformats-officedocument.presentationml.notesSlide+xml"/>
  <Override PartName="/ppt/charts/chart25.xml" ContentType="application/vnd.openxmlformats-officedocument.drawingml.chart+xml"/>
  <Override PartName="/ppt/charts/chart26.xml" ContentType="application/vnd.openxmlformats-officedocument.drawingml.chart+xml"/>
  <Override PartName="/ppt/tags/tag41.xml" ContentType="application/vnd.openxmlformats-officedocument.presentationml.tags+xml"/>
  <Override PartName="/ppt/notesSlides/notesSlide14.xml" ContentType="application/vnd.openxmlformats-officedocument.presentationml.notesSlide+xml"/>
  <Override PartName="/ppt/charts/chart27.xml" ContentType="application/vnd.openxmlformats-officedocument.drawingml.chart+xml"/>
  <Override PartName="/ppt/charts/chart28.xml" ContentType="application/vnd.openxmlformats-officedocument.drawingml.chart+xml"/>
  <Override PartName="/ppt/tags/tag42.xml" ContentType="application/vnd.openxmlformats-officedocument.presentationml.tags+xml"/>
  <Override PartName="/ppt/notesSlides/notesSlide15.xml" ContentType="application/vnd.openxmlformats-officedocument.presentationml.notesSlide+xml"/>
  <Override PartName="/ppt/charts/chart29.xml" ContentType="application/vnd.openxmlformats-officedocument.drawingml.chart+xml"/>
  <Override PartName="/ppt/charts/chart30.xml" ContentType="application/vnd.openxmlformats-officedocument.drawingml.chart+xml"/>
  <Override PartName="/ppt/tags/tag43.xml" ContentType="application/vnd.openxmlformats-officedocument.presentationml.tags+xml"/>
  <Override PartName="/ppt/notesSlides/notesSlide16.xml" ContentType="application/vnd.openxmlformats-officedocument.presentationml.notesSlide+xml"/>
  <Override PartName="/ppt/charts/chart31.xml" ContentType="application/vnd.openxmlformats-officedocument.drawingml.chart+xml"/>
  <Override PartName="/ppt/charts/chart32.xml" ContentType="application/vnd.openxmlformats-officedocument.drawingml.chart+xml"/>
  <Override PartName="/ppt/tags/tag44.xml" ContentType="application/vnd.openxmlformats-officedocument.presentationml.tags+xml"/>
  <Override PartName="/ppt/notesSlides/notesSlide17.xml" ContentType="application/vnd.openxmlformats-officedocument.presentationml.notesSlide+xml"/>
  <Override PartName="/ppt/charts/chart33.xml" ContentType="application/vnd.openxmlformats-officedocument.drawingml.chart+xml"/>
  <Override PartName="/ppt/charts/chart34.xml" ContentType="application/vnd.openxmlformats-officedocument.drawingml.chart+xml"/>
  <Override PartName="/ppt/tags/tag45.xml" ContentType="application/vnd.openxmlformats-officedocument.presentationml.tags+xml"/>
  <Override PartName="/ppt/notesSlides/notesSlide18.xml" ContentType="application/vnd.openxmlformats-officedocument.presentationml.notesSlide+xml"/>
  <Override PartName="/ppt/charts/chart35.xml" ContentType="application/vnd.openxmlformats-officedocument.drawingml.chart+xml"/>
  <Override PartName="/ppt/charts/chart36.xml" ContentType="application/vnd.openxmlformats-officedocument.drawingml.chart+xml"/>
  <Override PartName="/ppt/tags/tag46.xml" ContentType="application/vnd.openxmlformats-officedocument.presentationml.tags+xml"/>
  <Override PartName="/ppt/notesSlides/notesSlide19.xml" ContentType="application/vnd.openxmlformats-officedocument.presentationml.notesSlide+xml"/>
  <Override PartName="/ppt/charts/chart37.xml" ContentType="application/vnd.openxmlformats-officedocument.drawingml.chart+xml"/>
  <Override PartName="/ppt/charts/chart38.xml" ContentType="application/vnd.openxmlformats-officedocument.drawingml.chart+xml"/>
  <Override PartName="/ppt/tags/tag47.xml" ContentType="application/vnd.openxmlformats-officedocument.presentationml.tags+xml"/>
  <Override PartName="/ppt/notesSlides/notesSlide20.xml" ContentType="application/vnd.openxmlformats-officedocument.presentationml.notesSlide+xml"/>
  <Override PartName="/ppt/charts/chart39.xml" ContentType="application/vnd.openxmlformats-officedocument.drawingml.chart+xml"/>
  <Override PartName="/ppt/charts/chart40.xml" ContentType="application/vnd.openxmlformats-officedocument.drawingml.chart+xml"/>
  <Override PartName="/ppt/tags/tag48.xml" ContentType="application/vnd.openxmlformats-officedocument.presentationml.tags+xml"/>
  <Override PartName="/ppt/notesSlides/notesSlide21.xml" ContentType="application/vnd.openxmlformats-officedocument.presentationml.notesSlide+xml"/>
  <Override PartName="/ppt/charts/chart41.xml" ContentType="application/vnd.openxmlformats-officedocument.drawingml.chart+xml"/>
  <Override PartName="/ppt/charts/chart42.xml" ContentType="application/vnd.openxmlformats-officedocument.drawingml.chart+xml"/>
  <Override PartName="/ppt/tags/tag49.xml" ContentType="application/vnd.openxmlformats-officedocument.presentationml.tags+xml"/>
  <Override PartName="/ppt/notesSlides/notesSlide22.xml" ContentType="application/vnd.openxmlformats-officedocument.presentationml.notesSlide+xml"/>
  <Override PartName="/ppt/charts/chart43.xml" ContentType="application/vnd.openxmlformats-officedocument.drawingml.chart+xml"/>
  <Override PartName="/ppt/charts/chart44.xml" ContentType="application/vnd.openxmlformats-officedocument.drawingml.chart+xml"/>
  <Override PartName="/ppt/tags/tag50.xml" ContentType="application/vnd.openxmlformats-officedocument.presentationml.tags+xml"/>
  <Override PartName="/ppt/notesSlides/notesSlide23.xml" ContentType="application/vnd.openxmlformats-officedocument.presentationml.notesSlide+xml"/>
  <Override PartName="/ppt/charts/chart45.xml" ContentType="application/vnd.openxmlformats-officedocument.drawingml.chart+xml"/>
  <Override PartName="/ppt/charts/chart46.xml" ContentType="application/vnd.openxmlformats-officedocument.drawingml.chart+xml"/>
  <Override PartName="/ppt/tags/tag51.xml" ContentType="application/vnd.openxmlformats-officedocument.presentationml.tags+xml"/>
  <Override PartName="/ppt/notesSlides/notesSlide24.xml" ContentType="application/vnd.openxmlformats-officedocument.presentationml.notesSlide+xml"/>
  <Override PartName="/ppt/charts/chart47.xml" ContentType="application/vnd.openxmlformats-officedocument.drawingml.chart+xml"/>
  <Override PartName="/ppt/charts/chart48.xml" ContentType="application/vnd.openxmlformats-officedocument.drawingml.chart+xml"/>
  <Override PartName="/ppt/tags/tag52.xml" ContentType="application/vnd.openxmlformats-officedocument.presentationml.tags+xml"/>
  <Override PartName="/ppt/notesSlides/notesSlide25.xml" ContentType="application/vnd.openxmlformats-officedocument.presentationml.notesSlide+xml"/>
  <Override PartName="/ppt/charts/chart49.xml" ContentType="application/vnd.openxmlformats-officedocument.drawingml.chart+xml"/>
  <Override PartName="/ppt/charts/chart50.xml" ContentType="application/vnd.openxmlformats-officedocument.drawingml.chart+xml"/>
  <Override PartName="/ppt/tags/tag53.xml" ContentType="application/vnd.openxmlformats-officedocument.presentationml.tags+xml"/>
  <Override PartName="/ppt/notesSlides/notesSlide26.xml" ContentType="application/vnd.openxmlformats-officedocument.presentationml.notesSlide+xml"/>
  <Override PartName="/ppt/charts/chart51.xml" ContentType="application/vnd.openxmlformats-officedocument.drawingml.chart+xml"/>
  <Override PartName="/ppt/charts/chart52.xml" ContentType="application/vnd.openxmlformats-officedocument.drawingml.chart+xml"/>
  <Override PartName="/ppt/tags/tag54.xml" ContentType="application/vnd.openxmlformats-officedocument.presentationml.tags+xml"/>
  <Override PartName="/ppt/notesSlides/notesSlide27.xml" ContentType="application/vnd.openxmlformats-officedocument.presentationml.notesSlide+xml"/>
  <Override PartName="/ppt/charts/chart53.xml" ContentType="application/vnd.openxmlformats-officedocument.drawingml.chart+xml"/>
  <Override PartName="/ppt/charts/chart54.xml" ContentType="application/vnd.openxmlformats-officedocument.drawingml.chart+xml"/>
  <Override PartName="/ppt/tags/tag55.xml" ContentType="application/vnd.openxmlformats-officedocument.presentationml.tags+xml"/>
  <Override PartName="/ppt/notesSlides/notesSlide28.xml" ContentType="application/vnd.openxmlformats-officedocument.presentationml.notesSlide+xml"/>
  <Override PartName="/ppt/charts/chart55.xml" ContentType="application/vnd.openxmlformats-officedocument.drawingml.chart+xml"/>
  <Override PartName="/ppt/charts/chart56.xml" ContentType="application/vnd.openxmlformats-officedocument.drawingml.chart+xml"/>
  <Override PartName="/ppt/tags/tag56.xml" ContentType="application/vnd.openxmlformats-officedocument.presentationml.tags+xml"/>
  <Override PartName="/ppt/notesSlides/notesSlide29.xml" ContentType="application/vnd.openxmlformats-officedocument.presentationml.notesSlide+xml"/>
  <Override PartName="/ppt/charts/chart57.xml" ContentType="application/vnd.openxmlformats-officedocument.drawingml.chart+xml"/>
  <Override PartName="/ppt/charts/chart58.xml" ContentType="application/vnd.openxmlformats-officedocument.drawingml.chart+xml"/>
  <Override PartName="/ppt/tags/tag57.xml" ContentType="application/vnd.openxmlformats-officedocument.presentationml.tags+xml"/>
  <Override PartName="/ppt/notesSlides/notesSlide30.xml" ContentType="application/vnd.openxmlformats-officedocument.presentationml.notesSlide+xml"/>
  <Override PartName="/ppt/charts/chart59.xml" ContentType="application/vnd.openxmlformats-officedocument.drawingml.chart+xml"/>
  <Override PartName="/ppt/charts/chart60.xml" ContentType="application/vnd.openxmlformats-officedocument.drawingml.chart+xml"/>
  <Override PartName="/ppt/tags/tag58.xml" ContentType="application/vnd.openxmlformats-officedocument.presentationml.tags+xml"/>
  <Override PartName="/ppt/notesSlides/notesSlide31.xml" ContentType="application/vnd.openxmlformats-officedocument.presentationml.notesSlide+xml"/>
  <Override PartName="/ppt/charts/chart61.xml" ContentType="application/vnd.openxmlformats-officedocument.drawingml.chart+xml"/>
  <Override PartName="/ppt/charts/chart62.xml" ContentType="application/vnd.openxmlformats-officedocument.drawingml.chart+xml"/>
  <Override PartName="/ppt/tags/tag59.xml" ContentType="application/vnd.openxmlformats-officedocument.presentationml.tags+xml"/>
  <Override PartName="/ppt/notesSlides/notesSlide32.xml" ContentType="application/vnd.openxmlformats-officedocument.presentationml.notesSlide+xml"/>
  <Override PartName="/ppt/charts/chart63.xml" ContentType="application/vnd.openxmlformats-officedocument.drawingml.chart+xml"/>
  <Override PartName="/ppt/charts/chart64.xml" ContentType="application/vnd.openxmlformats-officedocument.drawingml.chart+xml"/>
  <Override PartName="/ppt/tags/tag60.xml" ContentType="application/vnd.openxmlformats-officedocument.presentationml.tags+xml"/>
  <Override PartName="/ppt/notesSlides/notesSlide33.xml" ContentType="application/vnd.openxmlformats-officedocument.presentationml.notesSlide+xml"/>
  <Override PartName="/ppt/charts/chart65.xml" ContentType="application/vnd.openxmlformats-officedocument.drawingml.chart+xml"/>
  <Override PartName="/ppt/charts/chart66.xml" ContentType="application/vnd.openxmlformats-officedocument.drawingml.chart+xml"/>
  <Override PartName="/ppt/tags/tag61.xml" ContentType="application/vnd.openxmlformats-officedocument.presentationml.tags+xml"/>
  <Override PartName="/ppt/notesSlides/notesSlide34.xml" ContentType="application/vnd.openxmlformats-officedocument.presentationml.notesSlide+xml"/>
  <Override PartName="/ppt/charts/chart67.xml" ContentType="application/vnd.openxmlformats-officedocument.drawingml.chart+xml"/>
  <Override PartName="/ppt/charts/chart68.xml" ContentType="application/vnd.openxmlformats-officedocument.drawingml.chart+xml"/>
  <Override PartName="/ppt/tags/tag62.xml" ContentType="application/vnd.openxmlformats-officedocument.presentationml.tags+xml"/>
  <Override PartName="/ppt/notesSlides/notesSlide35.xml" ContentType="application/vnd.openxmlformats-officedocument.presentationml.notesSlide+xml"/>
  <Override PartName="/ppt/charts/chart69.xml" ContentType="application/vnd.openxmlformats-officedocument.drawingml.chart+xml"/>
  <Override PartName="/ppt/charts/chart70.xml" ContentType="application/vnd.openxmlformats-officedocument.drawingml.chart+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40"/>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 id="2147477395" r:id="rId35"/>
    <p:sldId id="2147477396" r:id="rId36"/>
    <p:sldId id="2147477397" r:id="rId37"/>
    <p:sldId id="2147477398" r:id="rId38"/>
    <p:sldId id="2147477399" r:id="rId39"/>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Category Price Correlation Analysis P3Y" id="{83890330-93C0-4513-A54F-4445A2198313}">
          <p14:sldIdLst>
            <p14:sldId id="2147477365"/>
            <p14:sldId id="2147477366"/>
            <p14:sldId id="2147477367"/>
            <p14:sldId id="2147477368"/>
            <p14:sldId id="2147477369"/>
            <p14:sldId id="2147477370"/>
            <p14:sldId id="2147477371"/>
            <p14:sldId id="2147477372"/>
            <p14:sldId id="2147477373"/>
            <p14:sldId id="2147477374"/>
          </p14:sldIdLst>
        </p14:section>
        <p14:section name="Sectors Price Correlation Analysis P3Y" id="{F995D9BC-5BBF-4159-BF15-97B542F320BD}">
          <p14:sldIdLst>
            <p14:sldId id="2147477375"/>
            <p14:sldId id="2147477376"/>
            <p14:sldId id="2147477377"/>
            <p14:sldId id="2147477378"/>
            <p14:sldId id="2147477379"/>
            <p14:sldId id="2147477380"/>
            <p14:sldId id="2147477381"/>
            <p14:sldId id="2147477382"/>
            <p14:sldId id="2147477383"/>
            <p14:sldId id="2147477384"/>
            <p14:sldId id="2147477385"/>
            <p14:sldId id="2147477386"/>
          </p14:sldIdLst>
        </p14:section>
        <p14:section name="Segments Price Correlation Analysis P3Y" id="{A62ABBF5-45BC-4F1D-AF58-FC664E6D7C02}">
          <p14:sldIdLst>
            <p14:sldId id="2147477387"/>
            <p14:sldId id="2147477388"/>
            <p14:sldId id="2147477389"/>
            <p14:sldId id="2147477390"/>
            <p14:sldId id="2147477391"/>
            <p14:sldId id="2147477392"/>
            <p14:sldId id="2147477393"/>
            <p14:sldId id="2147477394"/>
            <p14:sldId id="2147477395"/>
            <p14:sldId id="2147477396"/>
            <p14:sldId id="2147477397"/>
            <p14:sldId id="2147477398"/>
            <p14:sldId id="2147477399"/>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AEABAB"/>
    <a:srgbClr val="BCBBBB"/>
    <a:srgbClr val="7ECAC4"/>
    <a:srgbClr val="CFCECE"/>
    <a:srgbClr val="575555"/>
    <a:srgbClr val="999B9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0" d="100"/>
          <a:sy n="80" d="100"/>
        </p:scale>
        <p:origin x="67" y="379"/>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viewProps" Target="view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notesMaster" Target="notesMasters/notesMaster1.xml"/><Relationship Id="rId45"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heme" Target="theme/theme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20" Type="http://schemas.openxmlformats.org/officeDocument/2006/relationships/slide" Target="slides/slide16.xml"/><Relationship Id="rId41"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1291069944164441</c:v>
                </c:pt>
                <c:pt idx="1">
                  <c:v>0.13485892486555889</c:v>
                </c:pt>
                <c:pt idx="2">
                  <c:v>0.13361697278764331</c:v>
                </c:pt>
                <c:pt idx="3">
                  <c:v>0.13181455947245191</c:v>
                </c:pt>
                <c:pt idx="4">
                  <c:v>0.13079849733141291</c:v>
                </c:pt>
                <c:pt idx="5">
                  <c:v>0.12786527339341361</c:v>
                </c:pt>
                <c:pt idx="6">
                  <c:v>0.13389772495720559</c:v>
                </c:pt>
                <c:pt idx="7">
                  <c:v>0.1359519354250221</c:v>
                </c:pt>
                <c:pt idx="8">
                  <c:v>0.13408395448492219</c:v>
                </c:pt>
                <c:pt idx="9">
                  <c:v>0.1272173036352085</c:v>
                </c:pt>
                <c:pt idx="10">
                  <c:v>0.12580154817273331</c:v>
                </c:pt>
                <c:pt idx="11">
                  <c:v>0.1247833670603628</c:v>
                </c:pt>
                <c:pt idx="12">
                  <c:v>0.12616612542700109</c:v>
                </c:pt>
                <c:pt idx="13">
                  <c:v>0.13426073846412021</c:v>
                </c:pt>
                <c:pt idx="14">
                  <c:v>0.13040345544745011</c:v>
                </c:pt>
                <c:pt idx="15">
                  <c:v>0.12568196098787579</c:v>
                </c:pt>
                <c:pt idx="16">
                  <c:v>0.1284543866213313</c:v>
                </c:pt>
                <c:pt idx="17">
                  <c:v>0.13252000199740169</c:v>
                </c:pt>
                <c:pt idx="18">
                  <c:v>0.12612196270786419</c:v>
                </c:pt>
                <c:pt idx="19">
                  <c:v>0.13496886950214251</c:v>
                </c:pt>
                <c:pt idx="20">
                  <c:v>0.13064933940560819</c:v>
                </c:pt>
                <c:pt idx="21">
                  <c:v>0.12635635491031241</c:v>
                </c:pt>
                <c:pt idx="22">
                  <c:v>0.12863609693980929</c:v>
                </c:pt>
                <c:pt idx="23">
                  <c:v>0.13116494310893009</c:v>
                </c:pt>
                <c:pt idx="24">
                  <c:v>0.1278058186678292</c:v>
                </c:pt>
                <c:pt idx="25">
                  <c:v>0.1235932293079324</c:v>
                </c:pt>
                <c:pt idx="26">
                  <c:v>0.12290934252239009</c:v>
                </c:pt>
                <c:pt idx="27">
                  <c:v>0.12109503765009599</c:v>
                </c:pt>
                <c:pt idx="28">
                  <c:v>0.12207135397276341</c:v>
                </c:pt>
                <c:pt idx="29">
                  <c:v>0.1263122981136704</c:v>
                </c:pt>
                <c:pt idx="30">
                  <c:v>0.1263263635992006</c:v>
                </c:pt>
                <c:pt idx="31">
                  <c:v>0.12476889875077329</c:v>
                </c:pt>
                <c:pt idx="32">
                  <c:v>0.12674353123399981</c:v>
                </c:pt>
                <c:pt idx="33">
                  <c:v>0.12588695742723971</c:v>
                </c:pt>
                <c:pt idx="34">
                  <c:v>0.12390000002667199</c:v>
                </c:pt>
                <c:pt idx="35">
                  <c:v>0.12440850519118039</c:v>
                </c:pt>
                <c:pt idx="36">
                  <c:v>0.12336288941275771</c:v>
                </c:pt>
                <c:pt idx="37">
                  <c:v>0.1236579395008299</c:v>
                </c:pt>
                <c:pt idx="38">
                  <c:v>0.1244360084590832</c:v>
                </c:pt>
                <c:pt idx="39">
                  <c:v>0.12224083915887329</c:v>
                </c:pt>
                <c:pt idx="40">
                  <c:v>0.1219327444047168</c:v>
                </c:pt>
                <c:pt idx="41">
                  <c:v>0.1250560323566518</c:v>
                </c:pt>
                <c:pt idx="42">
                  <c:v>0.12745512740440279</c:v>
                </c:pt>
                <c:pt idx="43">
                  <c:v>0.1211984894858895</c:v>
                </c:pt>
                <c:pt idx="44">
                  <c:v>0.1258670226690102</c:v>
                </c:pt>
                <c:pt idx="45">
                  <c:v>0.1272339848348821</c:v>
                </c:pt>
                <c:pt idx="46">
                  <c:v>0.13490346412193621</c:v>
                </c:pt>
                <c:pt idx="47">
                  <c:v>0.1232399985423943</c:v>
                </c:pt>
                <c:pt idx="48">
                  <c:v>0.12311641114157899</c:v>
                </c:pt>
                <c:pt idx="49">
                  <c:v>0.1234350759255986</c:v>
                </c:pt>
                <c:pt idx="50">
                  <c:v>0.12419744604278141</c:v>
                </c:pt>
                <c:pt idx="51">
                  <c:v>0.13145508336915421</c:v>
                </c:pt>
                <c:pt idx="52">
                  <c:v>0.13109930113357529</c:v>
                </c:pt>
                <c:pt idx="53">
                  <c:v>0.13568928560863899</c:v>
                </c:pt>
                <c:pt idx="54">
                  <c:v>0.1285210371531505</c:v>
                </c:pt>
                <c:pt idx="55">
                  <c:v>0.1300753516373136</c:v>
                </c:pt>
                <c:pt idx="56">
                  <c:v>0.12489749950473671</c:v>
                </c:pt>
                <c:pt idx="57">
                  <c:v>0.10266521645136149</c:v>
                </c:pt>
                <c:pt idx="58">
                  <c:v>9.4621929093130358E-2</c:v>
                </c:pt>
                <c:pt idx="59">
                  <c:v>9.8212612965823731E-2</c:v>
                </c:pt>
                <c:pt idx="60">
                  <c:v>0.1102654339127445</c:v>
                </c:pt>
                <c:pt idx="61">
                  <c:v>0.1086326326560431</c:v>
                </c:pt>
                <c:pt idx="62">
                  <c:v>0.10273100071317991</c:v>
                </c:pt>
                <c:pt idx="63">
                  <c:v>0.1056131313298932</c:v>
                </c:pt>
                <c:pt idx="64">
                  <c:v>0.116037952360732</c:v>
                </c:pt>
                <c:pt idx="65">
                  <c:v>0.13065683342069531</c:v>
                </c:pt>
                <c:pt idx="66">
                  <c:v>0.132712182958446</c:v>
                </c:pt>
                <c:pt idx="67">
                  <c:v>0.12498087731066</c:v>
                </c:pt>
                <c:pt idx="68">
                  <c:v>0.1318623648264734</c:v>
                </c:pt>
                <c:pt idx="69">
                  <c:v>0.13405085209231629</c:v>
                </c:pt>
                <c:pt idx="70">
                  <c:v>0.12663942767242409</c:v>
                </c:pt>
                <c:pt idx="71">
                  <c:v>0.13715997078444109</c:v>
                </c:pt>
                <c:pt idx="72">
                  <c:v>0.1312699287114284</c:v>
                </c:pt>
                <c:pt idx="73">
                  <c:v>0.1290474255800157</c:v>
                </c:pt>
                <c:pt idx="74">
                  <c:v>0.12976627424972709</c:v>
                </c:pt>
                <c:pt idx="75">
                  <c:v>0.12686829869724861</c:v>
                </c:pt>
                <c:pt idx="76">
                  <c:v>0.1253623579280761</c:v>
                </c:pt>
                <c:pt idx="77">
                  <c:v>0.12968156222074531</c:v>
                </c:pt>
                <c:pt idx="78">
                  <c:v>0.12750329032649099</c:v>
                </c:pt>
                <c:pt idx="79">
                  <c:v>0.12461050546445129</c:v>
                </c:pt>
                <c:pt idx="80">
                  <c:v>0.12900335189603049</c:v>
                </c:pt>
                <c:pt idx="81">
                  <c:v>0.12741746962889991</c:v>
                </c:pt>
                <c:pt idx="82">
                  <c:v>0.1227246355993528</c:v>
                </c:pt>
                <c:pt idx="83">
                  <c:v>0.12325497363003669</c:v>
                </c:pt>
                <c:pt idx="84">
                  <c:v>0.1237777050026681</c:v>
                </c:pt>
                <c:pt idx="85">
                  <c:v>0.1227618684932686</c:v>
                </c:pt>
                <c:pt idx="86">
                  <c:v>0.12625273778634091</c:v>
                </c:pt>
                <c:pt idx="87">
                  <c:v>0.12848401925218161</c:v>
                </c:pt>
                <c:pt idx="88">
                  <c:v>0.12808991008793849</c:v>
                </c:pt>
                <c:pt idx="89">
                  <c:v>0.12669599383578639</c:v>
                </c:pt>
                <c:pt idx="90">
                  <c:v>0.128457244567205</c:v>
                </c:pt>
                <c:pt idx="91">
                  <c:v>0.1287495738807907</c:v>
                </c:pt>
                <c:pt idx="92">
                  <c:v>0.12753778198649329</c:v>
                </c:pt>
                <c:pt idx="93">
                  <c:v>0.12858384689357691</c:v>
                </c:pt>
                <c:pt idx="94">
                  <c:v>0.13053873342212541</c:v>
                </c:pt>
                <c:pt idx="95">
                  <c:v>0.1283681251237693</c:v>
                </c:pt>
                <c:pt idx="96">
                  <c:v>0.12712219330013799</c:v>
                </c:pt>
                <c:pt idx="97">
                  <c:v>0.12537888942730019</c:v>
                </c:pt>
                <c:pt idx="98">
                  <c:v>0.12745921704595151</c:v>
                </c:pt>
                <c:pt idx="99">
                  <c:v>0.1212266665697815</c:v>
                </c:pt>
                <c:pt idx="100">
                  <c:v>0.1141728668578047</c:v>
                </c:pt>
                <c:pt idx="101">
                  <c:v>0.115957494325048</c:v>
                </c:pt>
              </c:numCache>
            </c:numRef>
          </c:xVal>
          <c:yVal>
            <c:numRef>
              <c:f>Sheet1!$B$2:$B$103</c:f>
              <c:numCache>
                <c:formatCode>General</c:formatCode>
                <c:ptCount val="102"/>
                <c:pt idx="0">
                  <c:v>3.1549194168607013E-2</c:v>
                </c:pt>
                <c:pt idx="1">
                  <c:v>2.5925076493376501E-2</c:v>
                </c:pt>
                <c:pt idx="2">
                  <c:v>1.9457371147598559E-2</c:v>
                </c:pt>
                <c:pt idx="3">
                  <c:v>2.1005226955186751E-2</c:v>
                </c:pt>
                <c:pt idx="4">
                  <c:v>2.3683174888924512E-2</c:v>
                </c:pt>
                <c:pt idx="5">
                  <c:v>2.481491169212223E-2</c:v>
                </c:pt>
                <c:pt idx="6">
                  <c:v>2.2966901329024649E-2</c:v>
                </c:pt>
                <c:pt idx="7">
                  <c:v>2.1693356757167159E-2</c:v>
                </c:pt>
                <c:pt idx="8">
                  <c:v>2.508474647577718E-2</c:v>
                </c:pt>
                <c:pt idx="9">
                  <c:v>3.2219360006132687E-2</c:v>
                </c:pt>
                <c:pt idx="10">
                  <c:v>3.3455366889535383E-2</c:v>
                </c:pt>
                <c:pt idx="11">
                  <c:v>3.077420503855852E-2</c:v>
                </c:pt>
                <c:pt idx="12">
                  <c:v>3.166311843777065E-2</c:v>
                </c:pt>
                <c:pt idx="13">
                  <c:v>2.9573633835338661E-2</c:v>
                </c:pt>
                <c:pt idx="14">
                  <c:v>2.943829474961886E-2</c:v>
                </c:pt>
                <c:pt idx="15">
                  <c:v>3.2326555355538883E-2</c:v>
                </c:pt>
                <c:pt idx="16">
                  <c:v>3.045418321235838E-2</c:v>
                </c:pt>
                <c:pt idx="17">
                  <c:v>3.0177244147381321E-2</c:v>
                </c:pt>
                <c:pt idx="18">
                  <c:v>3.0949579617420529E-2</c:v>
                </c:pt>
                <c:pt idx="19">
                  <c:v>3.3044676701229417E-2</c:v>
                </c:pt>
                <c:pt idx="20">
                  <c:v>3.4502368865567047E-2</c:v>
                </c:pt>
                <c:pt idx="21">
                  <c:v>3.8171203781773647E-2</c:v>
                </c:pt>
                <c:pt idx="22">
                  <c:v>3.2633840746857157E-2</c:v>
                </c:pt>
                <c:pt idx="23">
                  <c:v>3.22851825867847E-2</c:v>
                </c:pt>
                <c:pt idx="24">
                  <c:v>3.4293774474369272E-2</c:v>
                </c:pt>
                <c:pt idx="25">
                  <c:v>3.3493331489235549E-2</c:v>
                </c:pt>
                <c:pt idx="26">
                  <c:v>3.2256296982208908E-2</c:v>
                </c:pt>
                <c:pt idx="27">
                  <c:v>3.256327154323236E-2</c:v>
                </c:pt>
                <c:pt idx="28">
                  <c:v>3.0215972855570969E-2</c:v>
                </c:pt>
                <c:pt idx="29">
                  <c:v>2.971323515475446E-2</c:v>
                </c:pt>
                <c:pt idx="30">
                  <c:v>2.9886044202056931E-2</c:v>
                </c:pt>
                <c:pt idx="31">
                  <c:v>3.0113049153545669E-2</c:v>
                </c:pt>
                <c:pt idx="32">
                  <c:v>3.0121682992946059E-2</c:v>
                </c:pt>
                <c:pt idx="33">
                  <c:v>2.8704102443482309E-2</c:v>
                </c:pt>
                <c:pt idx="34">
                  <c:v>3.0602403901330309E-2</c:v>
                </c:pt>
                <c:pt idx="35">
                  <c:v>3.1456536502498793E-2</c:v>
                </c:pt>
                <c:pt idx="36">
                  <c:v>3.1516667937295108E-2</c:v>
                </c:pt>
                <c:pt idx="37">
                  <c:v>3.3226585884057157E-2</c:v>
                </c:pt>
                <c:pt idx="38">
                  <c:v>3.3016326225624587E-2</c:v>
                </c:pt>
                <c:pt idx="39">
                  <c:v>3.0075909553288729E-2</c:v>
                </c:pt>
                <c:pt idx="40">
                  <c:v>3.030822714314705E-2</c:v>
                </c:pt>
                <c:pt idx="41">
                  <c:v>3.1273537834975489E-2</c:v>
                </c:pt>
                <c:pt idx="42">
                  <c:v>3.005901690014778E-2</c:v>
                </c:pt>
                <c:pt idx="43">
                  <c:v>3.0573863083611631E-2</c:v>
                </c:pt>
                <c:pt idx="44">
                  <c:v>3.254448153409624E-2</c:v>
                </c:pt>
                <c:pt idx="45">
                  <c:v>3.2420025270644671E-2</c:v>
                </c:pt>
                <c:pt idx="46">
                  <c:v>3.0841270586476861E-2</c:v>
                </c:pt>
                <c:pt idx="47">
                  <c:v>3.4545476528939613E-2</c:v>
                </c:pt>
                <c:pt idx="48">
                  <c:v>3.9378011399146942E-2</c:v>
                </c:pt>
                <c:pt idx="49">
                  <c:v>3.4585845792310457E-2</c:v>
                </c:pt>
                <c:pt idx="50">
                  <c:v>3.6889295123608737E-2</c:v>
                </c:pt>
                <c:pt idx="51">
                  <c:v>3.516974061970235E-2</c:v>
                </c:pt>
                <c:pt idx="52">
                  <c:v>3.3440411726256947E-2</c:v>
                </c:pt>
                <c:pt idx="53">
                  <c:v>3.0775515895011849E-2</c:v>
                </c:pt>
                <c:pt idx="54">
                  <c:v>2.856172806220978E-2</c:v>
                </c:pt>
                <c:pt idx="55">
                  <c:v>2.9260191711765832E-2</c:v>
                </c:pt>
                <c:pt idx="56">
                  <c:v>3.1178692703543051E-2</c:v>
                </c:pt>
                <c:pt idx="57">
                  <c:v>3.7031471681131703E-2</c:v>
                </c:pt>
                <c:pt idx="58">
                  <c:v>3.9909501581123753E-2</c:v>
                </c:pt>
                <c:pt idx="59">
                  <c:v>3.3090443177845791E-2</c:v>
                </c:pt>
                <c:pt idx="60">
                  <c:v>2.0429936026239701E-2</c:v>
                </c:pt>
                <c:pt idx="61">
                  <c:v>1.594233918003489E-2</c:v>
                </c:pt>
                <c:pt idx="62">
                  <c:v>2.6561543645322629E-2</c:v>
                </c:pt>
                <c:pt idx="63">
                  <c:v>3.5068893654044378E-2</c:v>
                </c:pt>
                <c:pt idx="64">
                  <c:v>3.0967228847484721E-2</c:v>
                </c:pt>
                <c:pt idx="65">
                  <c:v>2.602705616299417E-2</c:v>
                </c:pt>
                <c:pt idx="66">
                  <c:v>2.587150374122359E-2</c:v>
                </c:pt>
                <c:pt idx="67">
                  <c:v>2.691260699372984E-2</c:v>
                </c:pt>
                <c:pt idx="68">
                  <c:v>2.5874418970458959E-2</c:v>
                </c:pt>
                <c:pt idx="69">
                  <c:v>2.3193315376484971E-2</c:v>
                </c:pt>
                <c:pt idx="70">
                  <c:v>2.2686657383630061E-2</c:v>
                </c:pt>
                <c:pt idx="71">
                  <c:v>2.6189284143623481E-2</c:v>
                </c:pt>
                <c:pt idx="72">
                  <c:v>2.7336338114147821E-2</c:v>
                </c:pt>
                <c:pt idx="73">
                  <c:v>2.7740990571672709E-2</c:v>
                </c:pt>
                <c:pt idx="74">
                  <c:v>2.877527311984417E-2</c:v>
                </c:pt>
                <c:pt idx="75">
                  <c:v>2.8510329318482429E-2</c:v>
                </c:pt>
                <c:pt idx="76">
                  <c:v>2.7909474603405621E-2</c:v>
                </c:pt>
                <c:pt idx="77">
                  <c:v>2.354699792786898E-2</c:v>
                </c:pt>
                <c:pt idx="78">
                  <c:v>2.3516397046911521E-2</c:v>
                </c:pt>
                <c:pt idx="79">
                  <c:v>2.2115174941799771E-2</c:v>
                </c:pt>
                <c:pt idx="80">
                  <c:v>2.2268202762568419E-2</c:v>
                </c:pt>
                <c:pt idx="81">
                  <c:v>2.1244426266941788E-2</c:v>
                </c:pt>
                <c:pt idx="82">
                  <c:v>3.1177386289303839E-2</c:v>
                </c:pt>
                <c:pt idx="83">
                  <c:v>2.630647686699077E-2</c:v>
                </c:pt>
                <c:pt idx="84">
                  <c:v>2.5524833007679371E-2</c:v>
                </c:pt>
                <c:pt idx="85">
                  <c:v>2.6871534411513371E-2</c:v>
                </c:pt>
                <c:pt idx="86">
                  <c:v>2.6338851413823881E-2</c:v>
                </c:pt>
                <c:pt idx="87">
                  <c:v>2.464870108961555E-2</c:v>
                </c:pt>
                <c:pt idx="88">
                  <c:v>2.6238033764437702E-2</c:v>
                </c:pt>
                <c:pt idx="89">
                  <c:v>3.0191859532939729E-2</c:v>
                </c:pt>
                <c:pt idx="90">
                  <c:v>3.071685169632082E-2</c:v>
                </c:pt>
                <c:pt idx="91">
                  <c:v>3.1790352756617277E-2</c:v>
                </c:pt>
                <c:pt idx="92">
                  <c:v>2.9789485452214989E-2</c:v>
                </c:pt>
                <c:pt idx="93">
                  <c:v>2.7419432969366012E-2</c:v>
                </c:pt>
                <c:pt idx="94">
                  <c:v>2.5375304588112151E-2</c:v>
                </c:pt>
                <c:pt idx="95">
                  <c:v>2.727143524464504E-2</c:v>
                </c:pt>
                <c:pt idx="96">
                  <c:v>2.430072520573312E-2</c:v>
                </c:pt>
                <c:pt idx="97">
                  <c:v>2.5953063658202231E-2</c:v>
                </c:pt>
                <c:pt idx="98">
                  <c:v>2.870484051773789E-2</c:v>
                </c:pt>
                <c:pt idx="99">
                  <c:v>3.0161179689259059E-2</c:v>
                </c:pt>
                <c:pt idx="100">
                  <c:v>3.7558407981539428E-2</c:v>
                </c:pt>
                <c:pt idx="101">
                  <c:v>3.5796970668813113E-2</c:v>
                </c:pt>
              </c:numCache>
            </c:numRef>
          </c:yVal>
          <c:smooth val="0"/>
          <c:extLst>
            <c:ext xmlns:c16="http://schemas.microsoft.com/office/drawing/2014/chart" uri="{C3380CC4-5D6E-409C-BE32-E72D297353CC}">
              <c16:uniqueId val="{00000000-096C-4121-9522-6AB7243CCAAE}"/>
            </c:ext>
          </c:extLst>
        </c:ser>
        <c:ser>
          <c:idx val="1"/>
          <c:order val="1"/>
          <c:tx>
            <c:strRef>
              <c:f>Sheet1!$B$10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6:$A$157</c:f>
              <c:numCache>
                <c:formatCode>General</c:formatCode>
                <c:ptCount val="52"/>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numCache>
            </c:numRef>
          </c:xVal>
          <c:yVal>
            <c:numRef>
              <c:f>Sheet1!$B$106:$B$157</c:f>
              <c:numCache>
                <c:formatCode>General</c:formatCode>
                <c:ptCount val="52"/>
                <c:pt idx="0">
                  <c:v>3.3379430772150658E-2</c:v>
                </c:pt>
                <c:pt idx="1">
                  <c:v>3.5297770608354727E-2</c:v>
                </c:pt>
                <c:pt idx="2">
                  <c:v>3.603152077608085E-2</c:v>
                </c:pt>
                <c:pt idx="3">
                  <c:v>3.0978674639028671E-2</c:v>
                </c:pt>
                <c:pt idx="4">
                  <c:v>2.8133515753956471E-2</c:v>
                </c:pt>
                <c:pt idx="5">
                  <c:v>2.7512069607189622E-2</c:v>
                </c:pt>
                <c:pt idx="6">
                  <c:v>2.753590860107619E-2</c:v>
                </c:pt>
                <c:pt idx="7">
                  <c:v>2.7306049137985969E-2</c:v>
                </c:pt>
                <c:pt idx="8">
                  <c:v>2.683860754587173E-2</c:v>
                </c:pt>
                <c:pt idx="9">
                  <c:v>2.8577136215520639E-2</c:v>
                </c:pt>
                <c:pt idx="10">
                  <c:v>2.9045708307140341E-2</c:v>
                </c:pt>
                <c:pt idx="11">
                  <c:v>3.0151694267354031E-2</c:v>
                </c:pt>
                <c:pt idx="12">
                  <c:v>3.1278274774940933E-2</c:v>
                </c:pt>
                <c:pt idx="13">
                  <c:v>3.2623144271831599E-2</c:v>
                </c:pt>
                <c:pt idx="14">
                  <c:v>3.2081452766552027E-2</c:v>
                </c:pt>
                <c:pt idx="15">
                  <c:v>2.8476513020004542E-2</c:v>
                </c:pt>
                <c:pt idx="16">
                  <c:v>2.889792926206242E-2</c:v>
                </c:pt>
                <c:pt idx="17">
                  <c:v>2.8572345272906731E-2</c:v>
                </c:pt>
                <c:pt idx="18">
                  <c:v>2.758215728763419E-2</c:v>
                </c:pt>
                <c:pt idx="19">
                  <c:v>2.6684207925807661E-2</c:v>
                </c:pt>
                <c:pt idx="20">
                  <c:v>2.507409816863837E-2</c:v>
                </c:pt>
                <c:pt idx="21">
                  <c:v>3.7053775555914388E-2</c:v>
                </c:pt>
                <c:pt idx="22">
                  <c:v>4.1201839145334811E-2</c:v>
                </c:pt>
                <c:pt idx="23">
                  <c:v>3.952108516249337E-2</c:v>
                </c:pt>
                <c:pt idx="24">
                  <c:v>3.301132678213544E-2</c:v>
                </c:pt>
                <c:pt idx="25">
                  <c:v>3.4672282379825628E-2</c:v>
                </c:pt>
                <c:pt idx="26">
                  <c:v>3.6478521099227869E-2</c:v>
                </c:pt>
                <c:pt idx="27">
                  <c:v>3.1719960612283417E-2</c:v>
                </c:pt>
                <c:pt idx="28">
                  <c:v>2.9844699099281859E-2</c:v>
                </c:pt>
                <c:pt idx="29">
                  <c:v>2.824703792935155E-2</c:v>
                </c:pt>
                <c:pt idx="30">
                  <c:v>2.3926861689124789E-2</c:v>
                </c:pt>
                <c:pt idx="31">
                  <c:v>2.077067140814904E-2</c:v>
                </c:pt>
                <c:pt idx="32">
                  <c:v>2.3460558709885782E-2</c:v>
                </c:pt>
                <c:pt idx="33">
                  <c:v>3.042796286207031E-2</c:v>
                </c:pt>
                <c:pt idx="34">
                  <c:v>3.1037706913624011E-2</c:v>
                </c:pt>
                <c:pt idx="35">
                  <c:v>2.928997264422914E-2</c:v>
                </c:pt>
                <c:pt idx="36">
                  <c:v>2.9697936908540851E-2</c:v>
                </c:pt>
                <c:pt idx="37">
                  <c:v>3.0248130900335801E-2</c:v>
                </c:pt>
                <c:pt idx="38">
                  <c:v>3.5070387750061743E-2</c:v>
                </c:pt>
                <c:pt idx="39">
                  <c:v>3.120833777020552E-2</c:v>
                </c:pt>
                <c:pt idx="40">
                  <c:v>2.682679016675503E-2</c:v>
                </c:pt>
                <c:pt idx="41">
                  <c:v>2.4203784771293649E-2</c:v>
                </c:pt>
                <c:pt idx="42">
                  <c:v>2.4098053977022381E-2</c:v>
                </c:pt>
                <c:pt idx="43">
                  <c:v>2.4523754132153151E-2</c:v>
                </c:pt>
                <c:pt idx="44">
                  <c:v>2.2379504666963371E-2</c:v>
                </c:pt>
                <c:pt idx="45">
                  <c:v>2.104065524243157E-2</c:v>
                </c:pt>
                <c:pt idx="46">
                  <c:v>2.202824012890214E-2</c:v>
                </c:pt>
                <c:pt idx="47">
                  <c:v>2.3321641522021069E-2</c:v>
                </c:pt>
                <c:pt idx="48">
                  <c:v>2.5721900660138009E-2</c:v>
                </c:pt>
                <c:pt idx="49">
                  <c:v>2.4967370312040962E-2</c:v>
                </c:pt>
                <c:pt idx="50">
                  <c:v>2.603335979145837E-2</c:v>
                </c:pt>
                <c:pt idx="51">
                  <c:v>2.5702227757022279E-2</c:v>
                </c:pt>
              </c:numCache>
            </c:numRef>
          </c:yVal>
          <c:smooth val="0"/>
          <c:extLst>
            <c:ext xmlns:c16="http://schemas.microsoft.com/office/drawing/2014/chart" uri="{C3380CC4-5D6E-409C-BE32-E72D297353CC}">
              <c16:uniqueId val="{00000002-096C-4121-9522-6AB7243CCAAE}"/>
            </c:ext>
          </c:extLst>
        </c:ser>
        <c:ser>
          <c:idx val="2"/>
          <c:order val="2"/>
          <c:tx>
            <c:strRef>
              <c:f>Sheet1!$B$15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0:$A$161</c:f>
              <c:numCache>
                <c:formatCode>General</c:formatCode>
                <c:ptCount val="2"/>
                <c:pt idx="0">
                  <c:v>0</c:v>
                </c:pt>
                <c:pt idx="1">
                  <c:v>0.1108820277239114</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5-096C-4121-9522-6AB7243CCAAE}"/>
            </c:ext>
          </c:extLst>
        </c:ser>
        <c:ser>
          <c:idx val="3"/>
          <c:order val="3"/>
          <c:tx>
            <c:strRef>
              <c:f>Sheet1!$B$16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0.1108820277239114</c:v>
                </c:pt>
                <c:pt idx="1">
                  <c:v>0.1108820277239114</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8:$A$169</c:f>
              <c:numCache>
                <c:formatCode>General</c:formatCode>
                <c:ptCount val="2"/>
                <c:pt idx="0">
                  <c:v>0</c:v>
                </c:pt>
                <c:pt idx="1">
                  <c:v>0.11732114474802791</c:v>
                </c:pt>
              </c:numCache>
            </c:numRef>
          </c:xVal>
          <c:yVal>
            <c:numRef>
              <c:f>Sheet1!$B$168:$B$169</c:f>
              <c:numCache>
                <c:formatCode>General</c:formatCode>
                <c:ptCount val="2"/>
                <c:pt idx="0">
                  <c:v>3.1101577984060609E-2</c:v>
                </c:pt>
                <c:pt idx="1">
                  <c:v>3.1101577984060609E-2</c:v>
                </c:pt>
              </c:numCache>
            </c:numRef>
          </c:yVal>
          <c:smooth val="0"/>
          <c:extLst>
            <c:ext xmlns:c16="http://schemas.microsoft.com/office/drawing/2014/chart" uri="{C3380CC4-5D6E-409C-BE32-E72D297353CC}">
              <c16:uniqueId val="{0000000D-096C-4121-9522-6AB7243CCAAE}"/>
            </c:ext>
          </c:extLst>
        </c:ser>
        <c:ser>
          <c:idx val="5"/>
          <c:order val="5"/>
          <c:tx>
            <c:strRef>
              <c:f>Sheet1!$B$17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0.11732114474802791</c:v>
                </c:pt>
                <c:pt idx="1">
                  <c:v>0.11732114474802791</c:v>
                </c:pt>
              </c:numCache>
            </c:numRef>
          </c:xVal>
          <c:yVal>
            <c:numRef>
              <c:f>Sheet1!$B$172:$B$173</c:f>
              <c:numCache>
                <c:formatCode>General</c:formatCode>
                <c:ptCount val="2"/>
                <c:pt idx="0">
                  <c:v>3.1101577984060609E-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6:$A$177</c:f>
              <c:numCache>
                <c:formatCode>General</c:formatCode>
                <c:ptCount val="2"/>
                <c:pt idx="0">
                  <c:v>0</c:v>
                </c:pt>
                <c:pt idx="1">
                  <c:v>0.13512234665834599</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5-096C-4121-9522-6AB7243CCAAE}"/>
            </c:ext>
          </c:extLst>
        </c:ser>
        <c:ser>
          <c:idx val="7"/>
          <c:order val="7"/>
          <c:tx>
            <c:strRef>
              <c:f>Sheet1!$B$17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0:$A$181</c:f>
              <c:numCache>
                <c:formatCode>General</c:formatCode>
                <c:ptCount val="2"/>
                <c:pt idx="0">
                  <c:v>0.13512234665834599</c:v>
                </c:pt>
                <c:pt idx="1">
                  <c:v>0.13512234665834599</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4:$A$238</c:f>
              <c:numCache>
                <c:formatCode>General</c:formatCode>
                <c:ptCount val="55"/>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pt idx="52">
                  <c:v>0.11732114474802791</c:v>
                </c:pt>
                <c:pt idx="53">
                  <c:v>0.1108820277239114</c:v>
                </c:pt>
                <c:pt idx="54">
                  <c:v>0.13512234665834599</c:v>
                </c:pt>
              </c:numCache>
            </c:numRef>
          </c:xVal>
          <c:yVal>
            <c:numRef>
              <c:f>Sheet1!$B$184:$B$238</c:f>
              <c:numCache>
                <c:formatCode>General</c:formatCode>
                <c:ptCount val="55"/>
                <c:pt idx="0">
                  <c:v>3.1620668745252142E-2</c:v>
                </c:pt>
                <c:pt idx="1">
                  <c:v>3.1654790245678951E-2</c:v>
                </c:pt>
                <c:pt idx="2">
                  <c:v>3.2783325344754151E-2</c:v>
                </c:pt>
                <c:pt idx="3">
                  <c:v>3.022688607526958E-2</c:v>
                </c:pt>
                <c:pt idx="4">
                  <c:v>2.8540776744242852E-2</c:v>
                </c:pt>
                <c:pt idx="5">
                  <c:v>2.8198639317480349E-2</c:v>
                </c:pt>
                <c:pt idx="6">
                  <c:v>2.8149354774764782E-2</c:v>
                </c:pt>
                <c:pt idx="7">
                  <c:v>2.8199004366077019E-2</c:v>
                </c:pt>
                <c:pt idx="8">
                  <c:v>3.0157282303857849E-2</c:v>
                </c:pt>
                <c:pt idx="9">
                  <c:v>2.9717490317624731E-2</c:v>
                </c:pt>
                <c:pt idx="10">
                  <c:v>2.880162617160174E-2</c:v>
                </c:pt>
                <c:pt idx="11">
                  <c:v>3.0799476543192809E-2</c:v>
                </c:pt>
                <c:pt idx="12">
                  <c:v>2.8080121278043681E-2</c:v>
                </c:pt>
                <c:pt idx="13">
                  <c:v>2.8247092051713919E-2</c:v>
                </c:pt>
                <c:pt idx="14">
                  <c:v>2.639540124703324E-2</c:v>
                </c:pt>
                <c:pt idx="15">
                  <c:v>1.9220157910636009E-2</c:v>
                </c:pt>
                <c:pt idx="16">
                  <c:v>2.9292926757015069E-2</c:v>
                </c:pt>
                <c:pt idx="17">
                  <c:v>2.9541107656935999E-2</c:v>
                </c:pt>
                <c:pt idx="18">
                  <c:v>3.1154431279754719E-2</c:v>
                </c:pt>
                <c:pt idx="19">
                  <c:v>2.9461129531890291E-2</c:v>
                </c:pt>
                <c:pt idx="20">
                  <c:v>3.0313783713891131E-2</c:v>
                </c:pt>
                <c:pt idx="21">
                  <c:v>3.3508822667282862E-2</c:v>
                </c:pt>
                <c:pt idx="22">
                  <c:v>3.4739165058279807E-2</c:v>
                </c:pt>
                <c:pt idx="23">
                  <c:v>3.3561500120319547E-2</c:v>
                </c:pt>
                <c:pt idx="24">
                  <c:v>3.0961282548418428E-2</c:v>
                </c:pt>
                <c:pt idx="25">
                  <c:v>3.325613118609181E-2</c:v>
                </c:pt>
                <c:pt idx="26">
                  <c:v>3.230935798656305E-2</c:v>
                </c:pt>
                <c:pt idx="27">
                  <c:v>3.0186042242885399E-2</c:v>
                </c:pt>
                <c:pt idx="28">
                  <c:v>2.9826699740302571E-2</c:v>
                </c:pt>
                <c:pt idx="29">
                  <c:v>2.8461825588360749E-2</c:v>
                </c:pt>
                <c:pt idx="30">
                  <c:v>2.6667445839888119E-2</c:v>
                </c:pt>
                <c:pt idx="31">
                  <c:v>2.9333797528733729E-2</c:v>
                </c:pt>
                <c:pt idx="32">
                  <c:v>2.8469462201818171E-2</c:v>
                </c:pt>
                <c:pt idx="33">
                  <c:v>3.1278574864500211E-2</c:v>
                </c:pt>
                <c:pt idx="34">
                  <c:v>3.362517184260494E-2</c:v>
                </c:pt>
                <c:pt idx="35">
                  <c:v>3.1259339751075838E-2</c:v>
                </c:pt>
                <c:pt idx="36">
                  <c:v>3.2466678789921898E-2</c:v>
                </c:pt>
                <c:pt idx="37">
                  <c:v>3.336561461501103E-2</c:v>
                </c:pt>
                <c:pt idx="38">
                  <c:v>3.1897061212580187E-2</c:v>
                </c:pt>
                <c:pt idx="39">
                  <c:v>3.0591232179052279E-2</c:v>
                </c:pt>
                <c:pt idx="40">
                  <c:v>2.6490890509876141E-2</c:v>
                </c:pt>
                <c:pt idx="41">
                  <c:v>2.5005655171483909E-2</c:v>
                </c:pt>
                <c:pt idx="42">
                  <c:v>2.471524594195228E-2</c:v>
                </c:pt>
                <c:pt idx="43">
                  <c:v>2.5740688254943609E-2</c:v>
                </c:pt>
                <c:pt idx="44">
                  <c:v>2.534241769031121E-2</c:v>
                </c:pt>
                <c:pt idx="45">
                  <c:v>2.5785004878787769E-2</c:v>
                </c:pt>
                <c:pt idx="46">
                  <c:v>2.6712805427711591E-2</c:v>
                </c:pt>
                <c:pt idx="47">
                  <c:v>2.6016063432124481E-2</c:v>
                </c:pt>
                <c:pt idx="48">
                  <c:v>2.645901837190287E-2</c:v>
                </c:pt>
                <c:pt idx="49">
                  <c:v>2.253097533810856E-2</c:v>
                </c:pt>
                <c:pt idx="50">
                  <c:v>2.3407974477709061E-2</c:v>
                </c:pt>
                <c:pt idx="51">
                  <c:v>2.5267129597052979E-2</c:v>
                </c:pt>
                <c:pt idx="52">
                  <c:v>3.1101577984060599E-2</c:v>
                </c:pt>
                <c:pt idx="53">
                  <c:v>3.3390590546211449E-2</c:v>
                </c:pt>
                <c:pt idx="54">
                  <c:v>2.47735092998775E-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18089307194123574"/>
          <c:min val="7.5697543274504286E-2"/>
        </c:scaling>
        <c:delete val="0"/>
        <c:axPos val="b"/>
        <c:title>
          <c:tx>
            <c:rich>
              <a:bodyPr rot="0" spcFirstLastPara="1" vertOverflow="ellipsis" vert="horz" wrap="square" anchor="ctr" anchorCtr="1"/>
              <a:lstStyle/>
              <a:p>
                <a:pPr>
                  <a:defRPr sz="800" b="0">
                    <a:solidFill>
                      <a:srgbClr val="575555"/>
                    </a:solidFill>
                    <a:latin typeface="Nexa Bold"/>
                  </a:defRPr>
                </a:pPr>
                <a:r>
                  <a:rPr lang="en-US"/>
                  <a:t>Price Ix vs. Gillette Fusion5</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3084051742229012</c:v>
                </c:pt>
                <c:pt idx="1">
                  <c:v>0.31591786351078627</c:v>
                </c:pt>
                <c:pt idx="2">
                  <c:v>0.32058023334902946</c:v>
                </c:pt>
                <c:pt idx="3">
                  <c:v>0.31551466024025998</c:v>
                </c:pt>
                <c:pt idx="4">
                  <c:v>0.31248983133575575</c:v>
                </c:pt>
                <c:pt idx="5">
                  <c:v>0.31209899175068745</c:v>
                </c:pt>
                <c:pt idx="6">
                  <c:v>0.31243915630070307</c:v>
                </c:pt>
                <c:pt idx="7">
                  <c:v>0.3133619793471481</c:v>
                </c:pt>
                <c:pt idx="8">
                  <c:v>0.31671907756813417</c:v>
                </c:pt>
                <c:pt idx="9">
                  <c:v>0.31082322826247477</c:v>
                </c:pt>
                <c:pt idx="10">
                  <c:v>0.31047212859141043</c:v>
                </c:pt>
                <c:pt idx="11">
                  <c:v>0.30851195946449417</c:v>
                </c:pt>
                <c:pt idx="12">
                  <c:v>0.30743476600274672</c:v>
                </c:pt>
                <c:pt idx="13">
                  <c:v>0.30557876018361524</c:v>
                </c:pt>
                <c:pt idx="14">
                  <c:v>0.30608180521683359</c:v>
                </c:pt>
                <c:pt idx="15">
                  <c:v>0.30537959003209308</c:v>
                </c:pt>
                <c:pt idx="16">
                  <c:v>0.30479028449342177</c:v>
                </c:pt>
                <c:pt idx="17">
                  <c:v>0.30535697989231286</c:v>
                </c:pt>
                <c:pt idx="18">
                  <c:v>0.30758733419811496</c:v>
                </c:pt>
                <c:pt idx="19">
                  <c:v>0.30384356418742708</c:v>
                </c:pt>
                <c:pt idx="20">
                  <c:v>0.30255871389344829</c:v>
                </c:pt>
                <c:pt idx="21">
                  <c:v>0.30131492720175512</c:v>
                </c:pt>
                <c:pt idx="22">
                  <c:v>0.30402402402402401</c:v>
                </c:pt>
                <c:pt idx="23">
                  <c:v>0.3041818228723267</c:v>
                </c:pt>
                <c:pt idx="24">
                  <c:v>0.30380595989557657</c:v>
                </c:pt>
                <c:pt idx="25">
                  <c:v>0.30266464709715091</c:v>
                </c:pt>
                <c:pt idx="26">
                  <c:v>0.30198090992432275</c:v>
                </c:pt>
                <c:pt idx="27">
                  <c:v>0.30261018186645428</c:v>
                </c:pt>
                <c:pt idx="28">
                  <c:v>0.30379475941413642</c:v>
                </c:pt>
                <c:pt idx="29">
                  <c:v>0.30510575091808745</c:v>
                </c:pt>
                <c:pt idx="30">
                  <c:v>0.30547263681592041</c:v>
                </c:pt>
                <c:pt idx="31">
                  <c:v>0.30191808942530629</c:v>
                </c:pt>
                <c:pt idx="32">
                  <c:v>0.30004016835781272</c:v>
                </c:pt>
                <c:pt idx="33">
                  <c:v>0.30140260803244229</c:v>
                </c:pt>
                <c:pt idx="34">
                  <c:v>0.30315931183998879</c:v>
                </c:pt>
                <c:pt idx="35">
                  <c:v>0.30423707530585153</c:v>
                </c:pt>
                <c:pt idx="36">
                  <c:v>0.30339368848493503</c:v>
                </c:pt>
                <c:pt idx="37">
                  <c:v>0.30312142377964563</c:v>
                </c:pt>
                <c:pt idx="38">
                  <c:v>0.30421477922015827</c:v>
                </c:pt>
                <c:pt idx="39">
                  <c:v>0.30360700245050509</c:v>
                </c:pt>
                <c:pt idx="40">
                  <c:v>0.30482776067799466</c:v>
                </c:pt>
                <c:pt idx="41">
                  <c:v>0.30496561046396053</c:v>
                </c:pt>
                <c:pt idx="42">
                  <c:v>0.30474260101509459</c:v>
                </c:pt>
                <c:pt idx="43">
                  <c:v>0.30487658997567685</c:v>
                </c:pt>
                <c:pt idx="44">
                  <c:v>0.30417377406912238</c:v>
                </c:pt>
                <c:pt idx="45">
                  <c:v>0.30429474182711519</c:v>
                </c:pt>
                <c:pt idx="46">
                  <c:v>0.30416987037597953</c:v>
                </c:pt>
                <c:pt idx="47">
                  <c:v>0.30177142857142858</c:v>
                </c:pt>
                <c:pt idx="48">
                  <c:v>0.30034428178139644</c:v>
                </c:pt>
                <c:pt idx="49">
                  <c:v>0.30020553910468561</c:v>
                </c:pt>
                <c:pt idx="50">
                  <c:v>0.30020393921120919</c:v>
                </c:pt>
                <c:pt idx="51">
                  <c:v>0.30029572161037082</c:v>
                </c:pt>
                <c:pt idx="52">
                  <c:v>0.30085731375024921</c:v>
                </c:pt>
                <c:pt idx="53">
                  <c:v>0.30374794069192751</c:v>
                </c:pt>
                <c:pt idx="54">
                  <c:v>0.30475569923731716</c:v>
                </c:pt>
                <c:pt idx="55">
                  <c:v>0.30484411191281596</c:v>
                </c:pt>
                <c:pt idx="56">
                  <c:v>0.29666067320451317</c:v>
                </c:pt>
                <c:pt idx="57">
                  <c:v>0.25400835544515327</c:v>
                </c:pt>
                <c:pt idx="58">
                  <c:v>0.23382400369980466</c:v>
                </c:pt>
                <c:pt idx="59">
                  <c:v>0.23943026116791946</c:v>
                </c:pt>
                <c:pt idx="60">
                  <c:v>0.25369491863085675</c:v>
                </c:pt>
                <c:pt idx="61">
                  <c:v>0.26335839430757868</c:v>
                </c:pt>
                <c:pt idx="62">
                  <c:v>0.24811366501794199</c:v>
                </c:pt>
                <c:pt idx="63">
                  <c:v>0.25331883600138116</c:v>
                </c:pt>
                <c:pt idx="64">
                  <c:v>0.27606841827999473</c:v>
                </c:pt>
                <c:pt idx="65">
                  <c:v>0.28160478817918266</c:v>
                </c:pt>
                <c:pt idx="66">
                  <c:v>0.29229782021117312</c:v>
                </c:pt>
                <c:pt idx="67">
                  <c:v>0.30127414335954045</c:v>
                </c:pt>
                <c:pt idx="68">
                  <c:v>0.30305886879569066</c:v>
                </c:pt>
                <c:pt idx="69">
                  <c:v>0.30492991022208221</c:v>
                </c:pt>
                <c:pt idx="70">
                  <c:v>0.30628978911194849</c:v>
                </c:pt>
                <c:pt idx="71">
                  <c:v>0.30507690665654685</c:v>
                </c:pt>
                <c:pt idx="72">
                  <c:v>0.30607670596048481</c:v>
                </c:pt>
                <c:pt idx="73">
                  <c:v>0.3116373241246056</c:v>
                </c:pt>
                <c:pt idx="74">
                  <c:v>0.31424842998124136</c:v>
                </c:pt>
                <c:pt idx="75">
                  <c:v>0.31320176754871626</c:v>
                </c:pt>
                <c:pt idx="76">
                  <c:v>0.31380953870863448</c:v>
                </c:pt>
                <c:pt idx="77">
                  <c:v>0.32590348409435188</c:v>
                </c:pt>
                <c:pt idx="78">
                  <c:v>0.33061711871301291</c:v>
                </c:pt>
                <c:pt idx="79">
                  <c:v>0.33376024237416513</c:v>
                </c:pt>
                <c:pt idx="80">
                  <c:v>0.334863282523373</c:v>
                </c:pt>
                <c:pt idx="81">
                  <c:v>0.33732775797715603</c:v>
                </c:pt>
                <c:pt idx="82">
                  <c:v>0.3340239432262419</c:v>
                </c:pt>
                <c:pt idx="83">
                  <c:v>0.32813911724353323</c:v>
                </c:pt>
                <c:pt idx="84">
                  <c:v>0.32451377453380215</c:v>
                </c:pt>
                <c:pt idx="85">
                  <c:v>0.3242920313313794</c:v>
                </c:pt>
                <c:pt idx="86">
                  <c:v>0.32834757834757833</c:v>
                </c:pt>
                <c:pt idx="87">
                  <c:v>0.33024565689467972</c:v>
                </c:pt>
                <c:pt idx="88">
                  <c:v>0.33047076978575868</c:v>
                </c:pt>
                <c:pt idx="89">
                  <c:v>0.32960364974033468</c:v>
                </c:pt>
                <c:pt idx="90">
                  <c:v>0.32877782475231143</c:v>
                </c:pt>
                <c:pt idx="91">
                  <c:v>0.33265505668454848</c:v>
                </c:pt>
                <c:pt idx="92">
                  <c:v>0.33383080669232584</c:v>
                </c:pt>
                <c:pt idx="93">
                  <c:v>0.33445095599479496</c:v>
                </c:pt>
                <c:pt idx="94">
                  <c:v>0.33425385899470356</c:v>
                </c:pt>
                <c:pt idx="95">
                  <c:v>0.33302358553829059</c:v>
                </c:pt>
                <c:pt idx="96">
                  <c:v>0.3331230702831911</c:v>
                </c:pt>
                <c:pt idx="97">
                  <c:v>0.33248279672509923</c:v>
                </c:pt>
                <c:pt idx="98">
                  <c:v>0.33184443040565192</c:v>
                </c:pt>
                <c:pt idx="99">
                  <c:v>0.31234357273380736</c:v>
                </c:pt>
                <c:pt idx="100">
                  <c:v>0.30123106937136429</c:v>
                </c:pt>
                <c:pt idx="101">
                  <c:v>0.30056872662328632</c:v>
                </c:pt>
              </c:numCache>
            </c:numRef>
          </c:xVal>
          <c:yVal>
            <c:numRef>
              <c:f>Sheet1!$B$2:$B$103</c:f>
              <c:numCache>
                <c:formatCode>General</c:formatCode>
                <c:ptCount val="102"/>
                <c:pt idx="0">
                  <c:v>3.1549194168607006E-2</c:v>
                </c:pt>
                <c:pt idx="1">
                  <c:v>2.5925076493376501E-2</c:v>
                </c:pt>
                <c:pt idx="2">
                  <c:v>1.9457371147598559E-2</c:v>
                </c:pt>
                <c:pt idx="3">
                  <c:v>2.1005226955186754E-2</c:v>
                </c:pt>
                <c:pt idx="4">
                  <c:v>2.3683174888924508E-2</c:v>
                </c:pt>
                <c:pt idx="5">
                  <c:v>2.4814911692122233E-2</c:v>
                </c:pt>
                <c:pt idx="6">
                  <c:v>2.2966901329024649E-2</c:v>
                </c:pt>
                <c:pt idx="7">
                  <c:v>2.1693356757167159E-2</c:v>
                </c:pt>
                <c:pt idx="8">
                  <c:v>2.508474647577718E-2</c:v>
                </c:pt>
                <c:pt idx="9">
                  <c:v>3.2219360006132694E-2</c:v>
                </c:pt>
                <c:pt idx="10">
                  <c:v>3.3455366889535383E-2</c:v>
                </c:pt>
                <c:pt idx="11">
                  <c:v>3.0774205038558523E-2</c:v>
                </c:pt>
                <c:pt idx="12">
                  <c:v>3.166311843777065E-2</c:v>
                </c:pt>
                <c:pt idx="13">
                  <c:v>2.9573633835338665E-2</c:v>
                </c:pt>
                <c:pt idx="14">
                  <c:v>2.9438294749618857E-2</c:v>
                </c:pt>
                <c:pt idx="15">
                  <c:v>3.2326555355538883E-2</c:v>
                </c:pt>
                <c:pt idx="16">
                  <c:v>3.0454183212358377E-2</c:v>
                </c:pt>
                <c:pt idx="17">
                  <c:v>3.0177244147381318E-2</c:v>
                </c:pt>
                <c:pt idx="18">
                  <c:v>3.0949579617420526E-2</c:v>
                </c:pt>
                <c:pt idx="19">
                  <c:v>3.3044676701229417E-2</c:v>
                </c:pt>
                <c:pt idx="20">
                  <c:v>3.4502368865567047E-2</c:v>
                </c:pt>
                <c:pt idx="21">
                  <c:v>3.8171203781773647E-2</c:v>
                </c:pt>
                <c:pt idx="22">
                  <c:v>3.2633840746857157E-2</c:v>
                </c:pt>
                <c:pt idx="23">
                  <c:v>3.22851825867847E-2</c:v>
                </c:pt>
                <c:pt idx="24">
                  <c:v>3.4293774474369265E-2</c:v>
                </c:pt>
                <c:pt idx="25">
                  <c:v>3.3493331489235549E-2</c:v>
                </c:pt>
                <c:pt idx="26">
                  <c:v>3.2256296982208908E-2</c:v>
                </c:pt>
                <c:pt idx="27">
                  <c:v>3.256327154323236E-2</c:v>
                </c:pt>
                <c:pt idx="28">
                  <c:v>3.0215972855570965E-2</c:v>
                </c:pt>
                <c:pt idx="29">
                  <c:v>2.971323515475446E-2</c:v>
                </c:pt>
                <c:pt idx="30">
                  <c:v>2.9886044202056927E-2</c:v>
                </c:pt>
                <c:pt idx="31">
                  <c:v>3.0113049153545669E-2</c:v>
                </c:pt>
                <c:pt idx="32">
                  <c:v>3.0121682992946059E-2</c:v>
                </c:pt>
                <c:pt idx="33">
                  <c:v>2.8704102443482309E-2</c:v>
                </c:pt>
                <c:pt idx="34">
                  <c:v>3.0602403901330309E-2</c:v>
                </c:pt>
                <c:pt idx="35">
                  <c:v>3.1456536502498786E-2</c:v>
                </c:pt>
                <c:pt idx="36">
                  <c:v>3.1516667937295108E-2</c:v>
                </c:pt>
                <c:pt idx="37">
                  <c:v>3.3226585884057164E-2</c:v>
                </c:pt>
                <c:pt idx="38">
                  <c:v>3.3016326225624587E-2</c:v>
                </c:pt>
                <c:pt idx="39">
                  <c:v>3.0075909553288729E-2</c:v>
                </c:pt>
                <c:pt idx="40">
                  <c:v>3.0308227143147046E-2</c:v>
                </c:pt>
                <c:pt idx="41">
                  <c:v>3.1273537834975489E-2</c:v>
                </c:pt>
                <c:pt idx="42">
                  <c:v>3.0059016900147784E-2</c:v>
                </c:pt>
                <c:pt idx="43">
                  <c:v>3.0573863083611635E-2</c:v>
                </c:pt>
                <c:pt idx="44">
                  <c:v>3.254448153409624E-2</c:v>
                </c:pt>
                <c:pt idx="45">
                  <c:v>3.2420025270644671E-2</c:v>
                </c:pt>
                <c:pt idx="46">
                  <c:v>3.0841270586476857E-2</c:v>
                </c:pt>
                <c:pt idx="47">
                  <c:v>3.4545476528939606E-2</c:v>
                </c:pt>
                <c:pt idx="48">
                  <c:v>3.9378011399146942E-2</c:v>
                </c:pt>
                <c:pt idx="49">
                  <c:v>3.4585845792310457E-2</c:v>
                </c:pt>
                <c:pt idx="50">
                  <c:v>3.6889295123608744E-2</c:v>
                </c:pt>
                <c:pt idx="51">
                  <c:v>3.516974061970235E-2</c:v>
                </c:pt>
                <c:pt idx="52">
                  <c:v>3.3440411726256954E-2</c:v>
                </c:pt>
                <c:pt idx="53">
                  <c:v>3.0775515895011849E-2</c:v>
                </c:pt>
                <c:pt idx="54">
                  <c:v>2.856172806220978E-2</c:v>
                </c:pt>
                <c:pt idx="55">
                  <c:v>2.9260191711765828E-2</c:v>
                </c:pt>
                <c:pt idx="56">
                  <c:v>3.1178692703543048E-2</c:v>
                </c:pt>
                <c:pt idx="57">
                  <c:v>3.7031471681131703E-2</c:v>
                </c:pt>
                <c:pt idx="58">
                  <c:v>3.9909501581123753E-2</c:v>
                </c:pt>
                <c:pt idx="59">
                  <c:v>3.3090443177845791E-2</c:v>
                </c:pt>
                <c:pt idx="60">
                  <c:v>2.0429936026239697E-2</c:v>
                </c:pt>
                <c:pt idx="61">
                  <c:v>1.5942339180034886E-2</c:v>
                </c:pt>
                <c:pt idx="62">
                  <c:v>2.6561543645322632E-2</c:v>
                </c:pt>
                <c:pt idx="63">
                  <c:v>3.5068893654044385E-2</c:v>
                </c:pt>
                <c:pt idx="64">
                  <c:v>3.0967228847484717E-2</c:v>
                </c:pt>
                <c:pt idx="65">
                  <c:v>2.6027056162994167E-2</c:v>
                </c:pt>
                <c:pt idx="66">
                  <c:v>2.5871503741223587E-2</c:v>
                </c:pt>
                <c:pt idx="67">
                  <c:v>2.691260699372984E-2</c:v>
                </c:pt>
                <c:pt idx="68">
                  <c:v>2.5874418970458959E-2</c:v>
                </c:pt>
                <c:pt idx="69">
                  <c:v>2.3193315376484971E-2</c:v>
                </c:pt>
                <c:pt idx="70">
                  <c:v>2.2686657383630057E-2</c:v>
                </c:pt>
                <c:pt idx="71">
                  <c:v>2.6189284143623485E-2</c:v>
                </c:pt>
                <c:pt idx="72">
                  <c:v>2.7336338114147821E-2</c:v>
                </c:pt>
                <c:pt idx="73">
                  <c:v>2.7740990571672709E-2</c:v>
                </c:pt>
                <c:pt idx="74">
                  <c:v>2.8775273119844166E-2</c:v>
                </c:pt>
                <c:pt idx="75">
                  <c:v>2.8510329318482425E-2</c:v>
                </c:pt>
                <c:pt idx="76">
                  <c:v>2.7909474603405617E-2</c:v>
                </c:pt>
                <c:pt idx="77">
                  <c:v>2.354699792786898E-2</c:v>
                </c:pt>
                <c:pt idx="78">
                  <c:v>2.3516397046911525E-2</c:v>
                </c:pt>
                <c:pt idx="79">
                  <c:v>2.2115174941799768E-2</c:v>
                </c:pt>
                <c:pt idx="80">
                  <c:v>2.2268202762568419E-2</c:v>
                </c:pt>
                <c:pt idx="81">
                  <c:v>2.1244426266941792E-2</c:v>
                </c:pt>
                <c:pt idx="82">
                  <c:v>3.1177386289303839E-2</c:v>
                </c:pt>
                <c:pt idx="83">
                  <c:v>2.6306476866990773E-2</c:v>
                </c:pt>
                <c:pt idx="84">
                  <c:v>2.5524833007679375E-2</c:v>
                </c:pt>
                <c:pt idx="85">
                  <c:v>2.6871534411513368E-2</c:v>
                </c:pt>
                <c:pt idx="86">
                  <c:v>2.6338851413823878E-2</c:v>
                </c:pt>
                <c:pt idx="87">
                  <c:v>2.4648701089615546E-2</c:v>
                </c:pt>
                <c:pt idx="88">
                  <c:v>2.6238033764437702E-2</c:v>
                </c:pt>
                <c:pt idx="89">
                  <c:v>3.0191859532939729E-2</c:v>
                </c:pt>
                <c:pt idx="90">
                  <c:v>3.0716851696320817E-2</c:v>
                </c:pt>
                <c:pt idx="91">
                  <c:v>3.1790352756617284E-2</c:v>
                </c:pt>
                <c:pt idx="92">
                  <c:v>2.9789485452214992E-2</c:v>
                </c:pt>
                <c:pt idx="93">
                  <c:v>2.7419432969366012E-2</c:v>
                </c:pt>
                <c:pt idx="94">
                  <c:v>2.5375304588112154E-2</c:v>
                </c:pt>
                <c:pt idx="95">
                  <c:v>2.7271435244645044E-2</c:v>
                </c:pt>
                <c:pt idx="96">
                  <c:v>2.4300725205733124E-2</c:v>
                </c:pt>
                <c:pt idx="97">
                  <c:v>2.5953063658202231E-2</c:v>
                </c:pt>
                <c:pt idx="98">
                  <c:v>2.870484051773789E-2</c:v>
                </c:pt>
                <c:pt idx="99">
                  <c:v>3.0161179689259059E-2</c:v>
                </c:pt>
                <c:pt idx="100">
                  <c:v>3.7558407981539428E-2</c:v>
                </c:pt>
                <c:pt idx="101">
                  <c:v>3.5796970668813106E-2</c:v>
                </c:pt>
              </c:numCache>
            </c:numRef>
          </c:yVal>
          <c:smooth val="0"/>
          <c:extLst>
            <c:ext xmlns:c16="http://schemas.microsoft.com/office/drawing/2014/chart" uri="{C3380CC4-5D6E-409C-BE32-E72D297353CC}">
              <c16:uniqueId val="{00000000-F32D-48B7-BC20-E66FC6253BAD}"/>
            </c:ext>
          </c:extLst>
        </c:ser>
        <c:ser>
          <c:idx val="1"/>
          <c:order val="1"/>
          <c:tx>
            <c:strRef>
              <c:f>Sheet1!$B$10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6:$A$157</c:f>
              <c:numCache>
                <c:formatCode>General</c:formatCode>
                <c:ptCount val="52"/>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numCache>
            </c:numRef>
          </c:xVal>
          <c:yVal>
            <c:numRef>
              <c:f>Sheet1!$B$106:$B$157</c:f>
              <c:numCache>
                <c:formatCode>General</c:formatCode>
                <c:ptCount val="52"/>
                <c:pt idx="0">
                  <c:v>3.3379430772150658E-2</c:v>
                </c:pt>
                <c:pt idx="1">
                  <c:v>3.5297770608354727E-2</c:v>
                </c:pt>
                <c:pt idx="2">
                  <c:v>3.603152077608085E-2</c:v>
                </c:pt>
                <c:pt idx="3">
                  <c:v>3.0978674639028675E-2</c:v>
                </c:pt>
                <c:pt idx="4">
                  <c:v>2.8133515753956471E-2</c:v>
                </c:pt>
                <c:pt idx="5">
                  <c:v>2.7512069607189618E-2</c:v>
                </c:pt>
                <c:pt idx="6">
                  <c:v>2.7535908601076187E-2</c:v>
                </c:pt>
                <c:pt idx="7">
                  <c:v>2.7306049137985969E-2</c:v>
                </c:pt>
                <c:pt idx="8">
                  <c:v>2.6838607545871734E-2</c:v>
                </c:pt>
                <c:pt idx="9">
                  <c:v>2.8577136215520643E-2</c:v>
                </c:pt>
                <c:pt idx="10">
                  <c:v>2.9045708307140341E-2</c:v>
                </c:pt>
                <c:pt idx="11">
                  <c:v>3.0151694267354034E-2</c:v>
                </c:pt>
                <c:pt idx="12">
                  <c:v>3.1278274774940926E-2</c:v>
                </c:pt>
                <c:pt idx="13">
                  <c:v>3.2623144271831599E-2</c:v>
                </c:pt>
                <c:pt idx="14">
                  <c:v>3.2081452766552027E-2</c:v>
                </c:pt>
                <c:pt idx="15">
                  <c:v>2.8476513020004538E-2</c:v>
                </c:pt>
                <c:pt idx="16">
                  <c:v>2.8897929262062423E-2</c:v>
                </c:pt>
                <c:pt idx="17">
                  <c:v>2.8572345272906727E-2</c:v>
                </c:pt>
                <c:pt idx="18">
                  <c:v>2.7582157287634194E-2</c:v>
                </c:pt>
                <c:pt idx="19">
                  <c:v>2.6684207925807661E-2</c:v>
                </c:pt>
                <c:pt idx="20">
                  <c:v>2.5074098168638374E-2</c:v>
                </c:pt>
                <c:pt idx="21">
                  <c:v>3.7053775555914395E-2</c:v>
                </c:pt>
                <c:pt idx="22">
                  <c:v>4.1201839145334811E-2</c:v>
                </c:pt>
                <c:pt idx="23">
                  <c:v>3.952108516249337E-2</c:v>
                </c:pt>
                <c:pt idx="24">
                  <c:v>3.301132678213544E-2</c:v>
                </c:pt>
                <c:pt idx="25">
                  <c:v>3.4672282379825628E-2</c:v>
                </c:pt>
                <c:pt idx="26">
                  <c:v>3.6478521099227869E-2</c:v>
                </c:pt>
                <c:pt idx="27">
                  <c:v>3.1719960612283417E-2</c:v>
                </c:pt>
                <c:pt idx="28">
                  <c:v>2.9844699099281863E-2</c:v>
                </c:pt>
                <c:pt idx="29">
                  <c:v>2.8247037929351546E-2</c:v>
                </c:pt>
                <c:pt idx="30">
                  <c:v>2.3926861689124793E-2</c:v>
                </c:pt>
                <c:pt idx="31">
                  <c:v>2.0770671408149036E-2</c:v>
                </c:pt>
                <c:pt idx="32">
                  <c:v>2.3460558709885785E-2</c:v>
                </c:pt>
                <c:pt idx="33">
                  <c:v>3.0427962862070307E-2</c:v>
                </c:pt>
                <c:pt idx="34">
                  <c:v>3.1037706913624008E-2</c:v>
                </c:pt>
                <c:pt idx="35">
                  <c:v>2.928997264422914E-2</c:v>
                </c:pt>
                <c:pt idx="36">
                  <c:v>2.9697936908540855E-2</c:v>
                </c:pt>
                <c:pt idx="37">
                  <c:v>3.0248130900335804E-2</c:v>
                </c:pt>
                <c:pt idx="38">
                  <c:v>3.5070387750061743E-2</c:v>
                </c:pt>
                <c:pt idx="39">
                  <c:v>3.1208337770205517E-2</c:v>
                </c:pt>
                <c:pt idx="40">
                  <c:v>2.6826790166755026E-2</c:v>
                </c:pt>
                <c:pt idx="41">
                  <c:v>2.4203784771293646E-2</c:v>
                </c:pt>
                <c:pt idx="42">
                  <c:v>2.4098053977022377E-2</c:v>
                </c:pt>
                <c:pt idx="43">
                  <c:v>2.4523754132153155E-2</c:v>
                </c:pt>
                <c:pt idx="44">
                  <c:v>2.2379504666963371E-2</c:v>
                </c:pt>
                <c:pt idx="45">
                  <c:v>2.104065524243157E-2</c:v>
                </c:pt>
                <c:pt idx="46">
                  <c:v>2.2028240128902143E-2</c:v>
                </c:pt>
                <c:pt idx="47">
                  <c:v>2.3321641522021073E-2</c:v>
                </c:pt>
                <c:pt idx="48">
                  <c:v>2.5721900660138006E-2</c:v>
                </c:pt>
                <c:pt idx="49">
                  <c:v>2.4967370312040958E-2</c:v>
                </c:pt>
                <c:pt idx="50">
                  <c:v>2.6033359791458374E-2</c:v>
                </c:pt>
                <c:pt idx="51">
                  <c:v>2.5702227757022279E-2</c:v>
                </c:pt>
              </c:numCache>
            </c:numRef>
          </c:yVal>
          <c:smooth val="0"/>
          <c:extLst>
            <c:ext xmlns:c16="http://schemas.microsoft.com/office/drawing/2014/chart" uri="{C3380CC4-5D6E-409C-BE32-E72D297353CC}">
              <c16:uniqueId val="{00000002-F32D-48B7-BC20-E66FC6253BAD}"/>
            </c:ext>
          </c:extLst>
        </c:ser>
        <c:ser>
          <c:idx val="2"/>
          <c:order val="2"/>
          <c:tx>
            <c:strRef>
              <c:f>Sheet1!$B$159</c:f>
              <c:strCache>
                <c:ptCount val="1"/>
                <c:pt idx="0">
                  <c:v>Custom Linep3yQ</c:v>
                </c:pt>
              </c:strCache>
            </c:strRef>
          </c:tx>
          <c:spPr>
            <a:ln w="19050" cap="rnd">
              <a:solidFill>
                <a:srgbClr val="C00000"/>
              </a:solidFill>
              <a:prstDash val="sysDot"/>
              <a:round/>
            </a:ln>
            <a:effectLst/>
          </c:spPr>
          <c:marker>
            <c:symbol val="none"/>
          </c:marker>
          <c:xVal>
            <c:numRef>
              <c:f>Sheet1!$A$160:$A$161</c:f>
              <c:numCache>
                <c:formatCode>General</c:formatCode>
                <c:ptCount val="2"/>
                <c:pt idx="0">
                  <c:v>0</c:v>
                </c:pt>
                <c:pt idx="1">
                  <c:v>0.27575744047645689</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3-F32D-48B7-BC20-E66FC6253BAD}"/>
            </c:ext>
          </c:extLst>
        </c:ser>
        <c:ser>
          <c:idx val="3"/>
          <c:order val="3"/>
          <c:tx>
            <c:strRef>
              <c:f>Sheet1!$B$16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0.27575744047645689</c:v>
                </c:pt>
                <c:pt idx="1">
                  <c:v>0.27575744047645689</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8:$A$169</c:f>
              <c:numCache>
                <c:formatCode>General</c:formatCode>
                <c:ptCount val="2"/>
                <c:pt idx="0">
                  <c:v>0</c:v>
                </c:pt>
                <c:pt idx="1">
                  <c:v>0.28987004975079905</c:v>
                </c:pt>
              </c:numCache>
            </c:numRef>
          </c:xVal>
          <c:yVal>
            <c:numRef>
              <c:f>Sheet1!$B$168:$B$169</c:f>
              <c:numCache>
                <c:formatCode>General</c:formatCode>
                <c:ptCount val="2"/>
                <c:pt idx="0">
                  <c:v>3.1101577984060606E-2</c:v>
                </c:pt>
                <c:pt idx="1">
                  <c:v>3.1101577984060606E-2</c:v>
                </c:pt>
              </c:numCache>
            </c:numRef>
          </c:yVal>
          <c:smooth val="0"/>
          <c:extLst>
            <c:ext xmlns:c16="http://schemas.microsoft.com/office/drawing/2014/chart" uri="{C3380CC4-5D6E-409C-BE32-E72D297353CC}">
              <c16:uniqueId val="{0000000A-F32D-48B7-BC20-E66FC6253BAD}"/>
            </c:ext>
          </c:extLst>
        </c:ser>
        <c:ser>
          <c:idx val="5"/>
          <c:order val="5"/>
          <c:tx>
            <c:strRef>
              <c:f>Sheet1!$B$17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0.28987004975079905</c:v>
                </c:pt>
                <c:pt idx="1">
                  <c:v>0.28987004975079905</c:v>
                </c:pt>
              </c:numCache>
            </c:numRef>
          </c:xVal>
          <c:yVal>
            <c:numRef>
              <c:f>Sheet1!$B$172:$B$173</c:f>
              <c:numCache>
                <c:formatCode>General</c:formatCode>
                <c:ptCount val="2"/>
                <c:pt idx="0">
                  <c:v>3.1101577984060606E-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6:$A$177</c:f>
              <c:numCache>
                <c:formatCode>General</c:formatCode>
                <c:ptCount val="2"/>
                <c:pt idx="0">
                  <c:v>0</c:v>
                </c:pt>
                <c:pt idx="1">
                  <c:v>0.32888493428125432</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1-F32D-48B7-BC20-E66FC6253BAD}"/>
            </c:ext>
          </c:extLst>
        </c:ser>
        <c:ser>
          <c:idx val="7"/>
          <c:order val="7"/>
          <c:tx>
            <c:strRef>
              <c:f>Sheet1!$B$17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0:$A$181</c:f>
              <c:numCache>
                <c:formatCode>General</c:formatCode>
                <c:ptCount val="2"/>
                <c:pt idx="0">
                  <c:v>0.32888493428125432</c:v>
                </c:pt>
                <c:pt idx="1">
                  <c:v>0.32888493428125432</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4:$A$238</c:f>
              <c:numCache>
                <c:formatCode>General</c:formatCode>
                <c:ptCount val="55"/>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pt idx="52">
                  <c:v>0.28987004975079905</c:v>
                </c:pt>
                <c:pt idx="53">
                  <c:v>0.27575744047645689</c:v>
                </c:pt>
                <c:pt idx="54">
                  <c:v>0.32888493428125432</c:v>
                </c:pt>
              </c:numCache>
            </c:numRef>
          </c:xVal>
          <c:yVal>
            <c:numRef>
              <c:f>Sheet1!$B$184:$B$238</c:f>
              <c:numCache>
                <c:formatCode>General</c:formatCode>
                <c:ptCount val="55"/>
                <c:pt idx="0">
                  <c:v>2.9413873016704839E-2</c:v>
                </c:pt>
                <c:pt idx="1">
                  <c:v>2.9896344890080709E-2</c:v>
                </c:pt>
                <c:pt idx="2">
                  <c:v>3.0155656486461964E-2</c:v>
                </c:pt>
                <c:pt idx="3">
                  <c:v>2.7109900331363727E-2</c:v>
                </c:pt>
                <c:pt idx="4">
                  <c:v>2.4371775225560388E-2</c:v>
                </c:pt>
                <c:pt idx="5">
                  <c:v>2.4094268404047922E-2</c:v>
                </c:pt>
                <c:pt idx="6">
                  <c:v>2.4322183284519114E-2</c:v>
                </c:pt>
                <c:pt idx="7">
                  <c:v>2.5263903460272262E-2</c:v>
                </c:pt>
                <c:pt idx="8">
                  <c:v>2.7533717749061021E-2</c:v>
                </c:pt>
                <c:pt idx="9">
                  <c:v>2.9136059572005948E-2</c:v>
                </c:pt>
                <c:pt idx="10">
                  <c:v>2.8439725189245424E-2</c:v>
                </c:pt>
                <c:pt idx="11">
                  <c:v>2.8481575446516888E-2</c:v>
                </c:pt>
                <c:pt idx="12">
                  <c:v>3.0108594349578348E-2</c:v>
                </c:pt>
                <c:pt idx="13">
                  <c:v>3.169054387055209E-2</c:v>
                </c:pt>
                <c:pt idx="14">
                  <c:v>3.1465934595702259E-2</c:v>
                </c:pt>
                <c:pt idx="15">
                  <c:v>3.1477667841337743E-2</c:v>
                </c:pt>
                <c:pt idx="16">
                  <c:v>3.1573121681829512E-2</c:v>
                </c:pt>
                <c:pt idx="17">
                  <c:v>3.1532924296196564E-2</c:v>
                </c:pt>
                <c:pt idx="18">
                  <c:v>3.0515660900336583E-2</c:v>
                </c:pt>
                <c:pt idx="19">
                  <c:v>3.0211789143868836E-2</c:v>
                </c:pt>
                <c:pt idx="20">
                  <c:v>2.8955614795748236E-2</c:v>
                </c:pt>
                <c:pt idx="21">
                  <c:v>3.2772131418724967E-2</c:v>
                </c:pt>
                <c:pt idx="22">
                  <c:v>3.3542665870490845E-2</c:v>
                </c:pt>
                <c:pt idx="23">
                  <c:v>3.3435184307609174E-2</c:v>
                </c:pt>
                <c:pt idx="24">
                  <c:v>3.268271460365052E-2</c:v>
                </c:pt>
                <c:pt idx="25">
                  <c:v>3.3870059534782497E-2</c:v>
                </c:pt>
                <c:pt idx="26">
                  <c:v>3.3073079926514877E-2</c:v>
                </c:pt>
                <c:pt idx="27">
                  <c:v>3.1808643842456727E-2</c:v>
                </c:pt>
                <c:pt idx="28">
                  <c:v>3.0502176751221188E-2</c:v>
                </c:pt>
                <c:pt idx="29">
                  <c:v>2.7906678470255915E-2</c:v>
                </c:pt>
                <c:pt idx="30">
                  <c:v>2.5033266393526828E-2</c:v>
                </c:pt>
                <c:pt idx="31">
                  <c:v>2.630903103630991E-2</c:v>
                </c:pt>
                <c:pt idx="32">
                  <c:v>2.8693045313762239E-2</c:v>
                </c:pt>
                <c:pt idx="33">
                  <c:v>3.2596808075387743E-2</c:v>
                </c:pt>
                <c:pt idx="34">
                  <c:v>3.3462836223474769E-2</c:v>
                </c:pt>
                <c:pt idx="35">
                  <c:v>3.1780988069129081E-2</c:v>
                </c:pt>
                <c:pt idx="36">
                  <c:v>3.2997078119396075E-2</c:v>
                </c:pt>
                <c:pt idx="37">
                  <c:v>3.4241810296995578E-2</c:v>
                </c:pt>
                <c:pt idx="38">
                  <c:v>3.5259393566231922E-2</c:v>
                </c:pt>
                <c:pt idx="39">
                  <c:v>3.2524924643797831E-2</c:v>
                </c:pt>
                <c:pt idx="40">
                  <c:v>2.8308242375685959E-2</c:v>
                </c:pt>
                <c:pt idx="41">
                  <c:v>2.54404048951909E-2</c:v>
                </c:pt>
                <c:pt idx="42">
                  <c:v>2.3287513921568817E-2</c:v>
                </c:pt>
                <c:pt idx="43">
                  <c:v>2.3365554652546534E-2</c:v>
                </c:pt>
                <c:pt idx="44">
                  <c:v>2.3054756675168077E-2</c:v>
                </c:pt>
                <c:pt idx="45">
                  <c:v>2.3566114628330095E-2</c:v>
                </c:pt>
                <c:pt idx="46">
                  <c:v>2.5888630394799238E-2</c:v>
                </c:pt>
                <c:pt idx="47">
                  <c:v>2.6265547596405793E-2</c:v>
                </c:pt>
                <c:pt idx="48">
                  <c:v>2.7412822111043234E-2</c:v>
                </c:pt>
                <c:pt idx="49">
                  <c:v>2.5962622488181153E-2</c:v>
                </c:pt>
                <c:pt idx="50">
                  <c:v>2.4525712064247307E-2</c:v>
                </c:pt>
                <c:pt idx="51">
                  <c:v>2.4473274634488791E-2</c:v>
                </c:pt>
                <c:pt idx="52">
                  <c:v>3.1101577984060602E-2</c:v>
                </c:pt>
                <c:pt idx="53">
                  <c:v>3.3390590546211449E-2</c:v>
                </c:pt>
                <c:pt idx="54">
                  <c:v>2.4773509299877497E-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40737801608579088"/>
          <c:min val="0.18705920295984374"/>
        </c:scaling>
        <c:delete val="0"/>
        <c:axPos val="b"/>
        <c:title>
          <c:tx>
            <c:rich>
              <a:bodyPr rot="0" spcFirstLastPara="1" vertOverflow="ellipsis" vert="horz" wrap="square" anchor="ctr" anchorCtr="1"/>
              <a:lstStyle/>
              <a:p>
                <a:pPr>
                  <a:defRPr sz="800" b="0">
                    <a:latin typeface="Nexa Bold"/>
                  </a:defRPr>
                </a:pPr>
                <a:r>
                  <a:rPr lang="en-US"/>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1291069944164441</c:v>
                </c:pt>
                <c:pt idx="1">
                  <c:v>0.13485892486555889</c:v>
                </c:pt>
                <c:pt idx="2">
                  <c:v>0.13361697278764331</c:v>
                </c:pt>
                <c:pt idx="3">
                  <c:v>0.13181455947245191</c:v>
                </c:pt>
                <c:pt idx="4">
                  <c:v>0.13079849733141291</c:v>
                </c:pt>
                <c:pt idx="5">
                  <c:v>0.12786527339341361</c:v>
                </c:pt>
                <c:pt idx="6">
                  <c:v>0.13389772495720559</c:v>
                </c:pt>
                <c:pt idx="7">
                  <c:v>0.1359519354250221</c:v>
                </c:pt>
                <c:pt idx="8">
                  <c:v>0.13408395448492219</c:v>
                </c:pt>
                <c:pt idx="9">
                  <c:v>0.1272173036352085</c:v>
                </c:pt>
                <c:pt idx="10">
                  <c:v>0.12580154817273331</c:v>
                </c:pt>
                <c:pt idx="11">
                  <c:v>0.1247833670603628</c:v>
                </c:pt>
                <c:pt idx="12">
                  <c:v>0.12616612542700109</c:v>
                </c:pt>
                <c:pt idx="13">
                  <c:v>0.13426073846412021</c:v>
                </c:pt>
                <c:pt idx="14">
                  <c:v>0.13040345544745011</c:v>
                </c:pt>
                <c:pt idx="15">
                  <c:v>0.12568196098787579</c:v>
                </c:pt>
                <c:pt idx="16">
                  <c:v>0.1284543866213313</c:v>
                </c:pt>
                <c:pt idx="17">
                  <c:v>0.13252000199740169</c:v>
                </c:pt>
                <c:pt idx="18">
                  <c:v>0.12612196270786419</c:v>
                </c:pt>
                <c:pt idx="19">
                  <c:v>0.13496886950214251</c:v>
                </c:pt>
                <c:pt idx="20">
                  <c:v>0.13064933940560819</c:v>
                </c:pt>
                <c:pt idx="21">
                  <c:v>0.12635635491031241</c:v>
                </c:pt>
                <c:pt idx="22">
                  <c:v>0.12863609693980929</c:v>
                </c:pt>
                <c:pt idx="23">
                  <c:v>0.13116494310893009</c:v>
                </c:pt>
                <c:pt idx="24">
                  <c:v>0.1278058186678292</c:v>
                </c:pt>
                <c:pt idx="25">
                  <c:v>0.1235932293079324</c:v>
                </c:pt>
                <c:pt idx="26">
                  <c:v>0.12290934252239009</c:v>
                </c:pt>
                <c:pt idx="27">
                  <c:v>0.12109503765009599</c:v>
                </c:pt>
                <c:pt idx="28">
                  <c:v>0.12207135397276341</c:v>
                </c:pt>
                <c:pt idx="29">
                  <c:v>0.1263122981136704</c:v>
                </c:pt>
                <c:pt idx="30">
                  <c:v>0.1263263635992006</c:v>
                </c:pt>
                <c:pt idx="31">
                  <c:v>0.12476889875077329</c:v>
                </c:pt>
                <c:pt idx="32">
                  <c:v>0.12674353123399981</c:v>
                </c:pt>
                <c:pt idx="33">
                  <c:v>0.12588695742723971</c:v>
                </c:pt>
                <c:pt idx="34">
                  <c:v>0.12390000002667199</c:v>
                </c:pt>
                <c:pt idx="35">
                  <c:v>0.12440850519118039</c:v>
                </c:pt>
                <c:pt idx="36">
                  <c:v>0.12336288941275771</c:v>
                </c:pt>
                <c:pt idx="37">
                  <c:v>0.1236579395008299</c:v>
                </c:pt>
                <c:pt idx="38">
                  <c:v>0.1244360084590832</c:v>
                </c:pt>
                <c:pt idx="39">
                  <c:v>0.12224083915887329</c:v>
                </c:pt>
                <c:pt idx="40">
                  <c:v>0.1219327444047168</c:v>
                </c:pt>
                <c:pt idx="41">
                  <c:v>0.1250560323566518</c:v>
                </c:pt>
                <c:pt idx="42">
                  <c:v>0.12745512740440279</c:v>
                </c:pt>
                <c:pt idx="43">
                  <c:v>0.1211984894858895</c:v>
                </c:pt>
                <c:pt idx="44">
                  <c:v>0.1258670226690102</c:v>
                </c:pt>
                <c:pt idx="45">
                  <c:v>0.1272339848348821</c:v>
                </c:pt>
                <c:pt idx="46">
                  <c:v>0.13490346412193621</c:v>
                </c:pt>
                <c:pt idx="47">
                  <c:v>0.1232399985423943</c:v>
                </c:pt>
                <c:pt idx="48">
                  <c:v>0.12311641114157899</c:v>
                </c:pt>
                <c:pt idx="49">
                  <c:v>0.1234350759255986</c:v>
                </c:pt>
                <c:pt idx="50">
                  <c:v>0.12419744604278141</c:v>
                </c:pt>
                <c:pt idx="51">
                  <c:v>0.13145508336915421</c:v>
                </c:pt>
                <c:pt idx="52">
                  <c:v>0.13109930113357529</c:v>
                </c:pt>
                <c:pt idx="53">
                  <c:v>0.13568928560863899</c:v>
                </c:pt>
                <c:pt idx="54">
                  <c:v>0.1285210371531505</c:v>
                </c:pt>
                <c:pt idx="55">
                  <c:v>0.1300753516373136</c:v>
                </c:pt>
                <c:pt idx="56">
                  <c:v>0.12489749950473671</c:v>
                </c:pt>
                <c:pt idx="57">
                  <c:v>0.10266521645136149</c:v>
                </c:pt>
                <c:pt idx="58">
                  <c:v>9.4621929093130358E-2</c:v>
                </c:pt>
                <c:pt idx="59">
                  <c:v>9.8212612965823731E-2</c:v>
                </c:pt>
                <c:pt idx="60">
                  <c:v>0.1102654339127445</c:v>
                </c:pt>
                <c:pt idx="61">
                  <c:v>0.1086326326560431</c:v>
                </c:pt>
                <c:pt idx="62">
                  <c:v>0.10273100071317991</c:v>
                </c:pt>
                <c:pt idx="63">
                  <c:v>0.1056131313298932</c:v>
                </c:pt>
                <c:pt idx="64">
                  <c:v>0.116037952360732</c:v>
                </c:pt>
                <c:pt idx="65">
                  <c:v>0.13065683342069531</c:v>
                </c:pt>
                <c:pt idx="66">
                  <c:v>0.132712182958446</c:v>
                </c:pt>
                <c:pt idx="67">
                  <c:v>0.12498087731066</c:v>
                </c:pt>
                <c:pt idx="68">
                  <c:v>0.1318623648264734</c:v>
                </c:pt>
                <c:pt idx="69">
                  <c:v>0.13405085209231629</c:v>
                </c:pt>
                <c:pt idx="70">
                  <c:v>0.12663942767242409</c:v>
                </c:pt>
                <c:pt idx="71">
                  <c:v>0.13715997078444109</c:v>
                </c:pt>
                <c:pt idx="72">
                  <c:v>0.1312699287114284</c:v>
                </c:pt>
                <c:pt idx="73">
                  <c:v>0.1290474255800157</c:v>
                </c:pt>
                <c:pt idx="74">
                  <c:v>0.12976627424972709</c:v>
                </c:pt>
                <c:pt idx="75">
                  <c:v>0.12686829869724861</c:v>
                </c:pt>
                <c:pt idx="76">
                  <c:v>0.1253623579280761</c:v>
                </c:pt>
                <c:pt idx="77">
                  <c:v>0.12968156222074531</c:v>
                </c:pt>
                <c:pt idx="78">
                  <c:v>0.12750329032649099</c:v>
                </c:pt>
                <c:pt idx="79">
                  <c:v>0.12461050546445129</c:v>
                </c:pt>
                <c:pt idx="80">
                  <c:v>0.12900335189603049</c:v>
                </c:pt>
                <c:pt idx="81">
                  <c:v>0.12741746962889991</c:v>
                </c:pt>
                <c:pt idx="82">
                  <c:v>0.1227246355993528</c:v>
                </c:pt>
                <c:pt idx="83">
                  <c:v>0.12325497363003669</c:v>
                </c:pt>
                <c:pt idx="84">
                  <c:v>0.1237777050026681</c:v>
                </c:pt>
                <c:pt idx="85">
                  <c:v>0.1227618684932686</c:v>
                </c:pt>
                <c:pt idx="86">
                  <c:v>0.12625273778634091</c:v>
                </c:pt>
                <c:pt idx="87">
                  <c:v>0.12848401925218161</c:v>
                </c:pt>
                <c:pt idx="88">
                  <c:v>0.12808991008793849</c:v>
                </c:pt>
                <c:pt idx="89">
                  <c:v>0.12669599383578639</c:v>
                </c:pt>
                <c:pt idx="90">
                  <c:v>0.128457244567205</c:v>
                </c:pt>
                <c:pt idx="91">
                  <c:v>0.1287495738807907</c:v>
                </c:pt>
                <c:pt idx="92">
                  <c:v>0.12753778198649329</c:v>
                </c:pt>
                <c:pt idx="93">
                  <c:v>0.12858384689357691</c:v>
                </c:pt>
                <c:pt idx="94">
                  <c:v>0.13053873342212541</c:v>
                </c:pt>
                <c:pt idx="95">
                  <c:v>0.1283681251237693</c:v>
                </c:pt>
                <c:pt idx="96">
                  <c:v>0.12712219330013799</c:v>
                </c:pt>
                <c:pt idx="97">
                  <c:v>0.12537888942730019</c:v>
                </c:pt>
                <c:pt idx="98">
                  <c:v>0.12745921704595151</c:v>
                </c:pt>
                <c:pt idx="99">
                  <c:v>0.1212266665697815</c:v>
                </c:pt>
                <c:pt idx="100">
                  <c:v>0.1141728668578047</c:v>
                </c:pt>
                <c:pt idx="101">
                  <c:v>0.115957494325048</c:v>
                </c:pt>
              </c:numCache>
            </c:numRef>
          </c:xVal>
          <c:yVal>
            <c:numRef>
              <c:f>Sheet1!$B$2:$B$103</c:f>
              <c:numCache>
                <c:formatCode>General</c:formatCode>
                <c:ptCount val="102"/>
                <c:pt idx="0">
                  <c:v>3.1549194168607013E-2</c:v>
                </c:pt>
                <c:pt idx="1">
                  <c:v>2.5925076493376501E-2</c:v>
                </c:pt>
                <c:pt idx="2">
                  <c:v>1.9457371147598559E-2</c:v>
                </c:pt>
                <c:pt idx="3">
                  <c:v>2.1005226955186751E-2</c:v>
                </c:pt>
                <c:pt idx="4">
                  <c:v>2.3683174888924512E-2</c:v>
                </c:pt>
                <c:pt idx="5">
                  <c:v>2.481491169212223E-2</c:v>
                </c:pt>
                <c:pt idx="6">
                  <c:v>2.2966901329024649E-2</c:v>
                </c:pt>
                <c:pt idx="7">
                  <c:v>2.1693356757167159E-2</c:v>
                </c:pt>
                <c:pt idx="8">
                  <c:v>2.508474647577718E-2</c:v>
                </c:pt>
                <c:pt idx="9">
                  <c:v>3.2219360006132687E-2</c:v>
                </c:pt>
                <c:pt idx="10">
                  <c:v>3.3455366889535383E-2</c:v>
                </c:pt>
                <c:pt idx="11">
                  <c:v>3.077420503855852E-2</c:v>
                </c:pt>
                <c:pt idx="12">
                  <c:v>3.166311843777065E-2</c:v>
                </c:pt>
                <c:pt idx="13">
                  <c:v>2.9573633835338661E-2</c:v>
                </c:pt>
                <c:pt idx="14">
                  <c:v>2.943829474961886E-2</c:v>
                </c:pt>
                <c:pt idx="15">
                  <c:v>3.2326555355538883E-2</c:v>
                </c:pt>
                <c:pt idx="16">
                  <c:v>3.045418321235838E-2</c:v>
                </c:pt>
                <c:pt idx="17">
                  <c:v>3.0177244147381321E-2</c:v>
                </c:pt>
                <c:pt idx="18">
                  <c:v>3.0949579617420529E-2</c:v>
                </c:pt>
                <c:pt idx="19">
                  <c:v>3.3044676701229417E-2</c:v>
                </c:pt>
                <c:pt idx="20">
                  <c:v>3.4502368865567047E-2</c:v>
                </c:pt>
                <c:pt idx="21">
                  <c:v>3.8171203781773647E-2</c:v>
                </c:pt>
                <c:pt idx="22">
                  <c:v>3.2633840746857157E-2</c:v>
                </c:pt>
                <c:pt idx="23">
                  <c:v>3.22851825867847E-2</c:v>
                </c:pt>
                <c:pt idx="24">
                  <c:v>3.4293774474369272E-2</c:v>
                </c:pt>
                <c:pt idx="25">
                  <c:v>3.3493331489235549E-2</c:v>
                </c:pt>
                <c:pt idx="26">
                  <c:v>3.2256296982208908E-2</c:v>
                </c:pt>
                <c:pt idx="27">
                  <c:v>3.256327154323236E-2</c:v>
                </c:pt>
                <c:pt idx="28">
                  <c:v>3.0215972855570969E-2</c:v>
                </c:pt>
                <c:pt idx="29">
                  <c:v>2.971323515475446E-2</c:v>
                </c:pt>
                <c:pt idx="30">
                  <c:v>2.9886044202056931E-2</c:v>
                </c:pt>
                <c:pt idx="31">
                  <c:v>3.0113049153545669E-2</c:v>
                </c:pt>
                <c:pt idx="32">
                  <c:v>3.0121682992946059E-2</c:v>
                </c:pt>
                <c:pt idx="33">
                  <c:v>2.8704102443482309E-2</c:v>
                </c:pt>
                <c:pt idx="34">
                  <c:v>3.0602403901330309E-2</c:v>
                </c:pt>
                <c:pt idx="35">
                  <c:v>3.1456536502498793E-2</c:v>
                </c:pt>
                <c:pt idx="36">
                  <c:v>3.1516667937295108E-2</c:v>
                </c:pt>
                <c:pt idx="37">
                  <c:v>3.3226585884057157E-2</c:v>
                </c:pt>
                <c:pt idx="38">
                  <c:v>3.3016326225624587E-2</c:v>
                </c:pt>
                <c:pt idx="39">
                  <c:v>3.0075909553288729E-2</c:v>
                </c:pt>
                <c:pt idx="40">
                  <c:v>3.030822714314705E-2</c:v>
                </c:pt>
                <c:pt idx="41">
                  <c:v>3.1273537834975489E-2</c:v>
                </c:pt>
                <c:pt idx="42">
                  <c:v>3.005901690014778E-2</c:v>
                </c:pt>
                <c:pt idx="43">
                  <c:v>3.0573863083611631E-2</c:v>
                </c:pt>
                <c:pt idx="44">
                  <c:v>3.254448153409624E-2</c:v>
                </c:pt>
                <c:pt idx="45">
                  <c:v>3.2420025270644671E-2</c:v>
                </c:pt>
                <c:pt idx="46">
                  <c:v>3.0841270586476861E-2</c:v>
                </c:pt>
                <c:pt idx="47">
                  <c:v>3.4545476528939613E-2</c:v>
                </c:pt>
                <c:pt idx="48">
                  <c:v>3.9378011399146942E-2</c:v>
                </c:pt>
                <c:pt idx="49">
                  <c:v>3.4585845792310457E-2</c:v>
                </c:pt>
                <c:pt idx="50">
                  <c:v>3.6889295123608737E-2</c:v>
                </c:pt>
                <c:pt idx="51">
                  <c:v>3.516974061970235E-2</c:v>
                </c:pt>
                <c:pt idx="52">
                  <c:v>3.3440411726256947E-2</c:v>
                </c:pt>
                <c:pt idx="53">
                  <c:v>3.0775515895011849E-2</c:v>
                </c:pt>
                <c:pt idx="54">
                  <c:v>2.856172806220978E-2</c:v>
                </c:pt>
                <c:pt idx="55">
                  <c:v>2.9260191711765832E-2</c:v>
                </c:pt>
                <c:pt idx="56">
                  <c:v>3.1178692703543051E-2</c:v>
                </c:pt>
                <c:pt idx="57">
                  <c:v>3.7031471681131703E-2</c:v>
                </c:pt>
                <c:pt idx="58">
                  <c:v>3.9909501581123753E-2</c:v>
                </c:pt>
                <c:pt idx="59">
                  <c:v>3.3090443177845791E-2</c:v>
                </c:pt>
                <c:pt idx="60">
                  <c:v>2.0429936026239701E-2</c:v>
                </c:pt>
                <c:pt idx="61">
                  <c:v>1.594233918003489E-2</c:v>
                </c:pt>
                <c:pt idx="62">
                  <c:v>2.6561543645322629E-2</c:v>
                </c:pt>
                <c:pt idx="63">
                  <c:v>3.5068893654044378E-2</c:v>
                </c:pt>
                <c:pt idx="64">
                  <c:v>3.0967228847484721E-2</c:v>
                </c:pt>
                <c:pt idx="65">
                  <c:v>2.602705616299417E-2</c:v>
                </c:pt>
                <c:pt idx="66">
                  <c:v>2.587150374122359E-2</c:v>
                </c:pt>
                <c:pt idx="67">
                  <c:v>2.691260699372984E-2</c:v>
                </c:pt>
                <c:pt idx="68">
                  <c:v>2.5874418970458959E-2</c:v>
                </c:pt>
                <c:pt idx="69">
                  <c:v>2.3193315376484971E-2</c:v>
                </c:pt>
                <c:pt idx="70">
                  <c:v>2.2686657383630061E-2</c:v>
                </c:pt>
                <c:pt idx="71">
                  <c:v>2.6189284143623481E-2</c:v>
                </c:pt>
                <c:pt idx="72">
                  <c:v>2.7336338114147821E-2</c:v>
                </c:pt>
                <c:pt idx="73">
                  <c:v>2.7740990571672709E-2</c:v>
                </c:pt>
                <c:pt idx="74">
                  <c:v>2.877527311984417E-2</c:v>
                </c:pt>
                <c:pt idx="75">
                  <c:v>2.8510329318482429E-2</c:v>
                </c:pt>
                <c:pt idx="76">
                  <c:v>2.7909474603405621E-2</c:v>
                </c:pt>
                <c:pt idx="77">
                  <c:v>2.354699792786898E-2</c:v>
                </c:pt>
                <c:pt idx="78">
                  <c:v>2.3516397046911521E-2</c:v>
                </c:pt>
                <c:pt idx="79">
                  <c:v>2.2115174941799771E-2</c:v>
                </c:pt>
                <c:pt idx="80">
                  <c:v>2.2268202762568419E-2</c:v>
                </c:pt>
                <c:pt idx="81">
                  <c:v>2.1244426266941788E-2</c:v>
                </c:pt>
                <c:pt idx="82">
                  <c:v>3.1177386289303839E-2</c:v>
                </c:pt>
                <c:pt idx="83">
                  <c:v>2.630647686699077E-2</c:v>
                </c:pt>
                <c:pt idx="84">
                  <c:v>2.5524833007679371E-2</c:v>
                </c:pt>
                <c:pt idx="85">
                  <c:v>2.6871534411513371E-2</c:v>
                </c:pt>
                <c:pt idx="86">
                  <c:v>2.6338851413823881E-2</c:v>
                </c:pt>
                <c:pt idx="87">
                  <c:v>2.464870108961555E-2</c:v>
                </c:pt>
                <c:pt idx="88">
                  <c:v>2.6238033764437702E-2</c:v>
                </c:pt>
                <c:pt idx="89">
                  <c:v>3.0191859532939729E-2</c:v>
                </c:pt>
                <c:pt idx="90">
                  <c:v>3.071685169632082E-2</c:v>
                </c:pt>
                <c:pt idx="91">
                  <c:v>3.1790352756617277E-2</c:v>
                </c:pt>
                <c:pt idx="92">
                  <c:v>2.9789485452214989E-2</c:v>
                </c:pt>
                <c:pt idx="93">
                  <c:v>2.7419432969366012E-2</c:v>
                </c:pt>
                <c:pt idx="94">
                  <c:v>2.5375304588112151E-2</c:v>
                </c:pt>
                <c:pt idx="95">
                  <c:v>2.727143524464504E-2</c:v>
                </c:pt>
                <c:pt idx="96">
                  <c:v>2.430072520573312E-2</c:v>
                </c:pt>
                <c:pt idx="97">
                  <c:v>2.5953063658202231E-2</c:v>
                </c:pt>
                <c:pt idx="98">
                  <c:v>2.870484051773789E-2</c:v>
                </c:pt>
                <c:pt idx="99">
                  <c:v>3.0161179689259059E-2</c:v>
                </c:pt>
                <c:pt idx="100">
                  <c:v>3.7558407981539428E-2</c:v>
                </c:pt>
                <c:pt idx="101">
                  <c:v>3.5796970668813113E-2</c:v>
                </c:pt>
              </c:numCache>
            </c:numRef>
          </c:yVal>
          <c:smooth val="0"/>
          <c:extLst>
            <c:ext xmlns:c16="http://schemas.microsoft.com/office/drawing/2014/chart" uri="{C3380CC4-5D6E-409C-BE32-E72D297353CC}">
              <c16:uniqueId val="{00000000-096C-4121-9522-6AB7243CCAAE}"/>
            </c:ext>
          </c:extLst>
        </c:ser>
        <c:ser>
          <c:idx val="1"/>
          <c:order val="1"/>
          <c:tx>
            <c:strRef>
              <c:f>Sheet1!$B$10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6:$A$157</c:f>
              <c:numCache>
                <c:formatCode>General</c:formatCode>
                <c:ptCount val="52"/>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numCache>
            </c:numRef>
          </c:xVal>
          <c:yVal>
            <c:numRef>
              <c:f>Sheet1!$B$106:$B$157</c:f>
              <c:numCache>
                <c:formatCode>General</c:formatCode>
                <c:ptCount val="52"/>
                <c:pt idx="0">
                  <c:v>3.3379430772150658E-2</c:v>
                </c:pt>
                <c:pt idx="1">
                  <c:v>3.5297770608354727E-2</c:v>
                </c:pt>
                <c:pt idx="2">
                  <c:v>3.603152077608085E-2</c:v>
                </c:pt>
                <c:pt idx="3">
                  <c:v>3.0978674639028671E-2</c:v>
                </c:pt>
                <c:pt idx="4">
                  <c:v>2.8133515753956471E-2</c:v>
                </c:pt>
                <c:pt idx="5">
                  <c:v>2.7512069607189622E-2</c:v>
                </c:pt>
                <c:pt idx="6">
                  <c:v>2.753590860107619E-2</c:v>
                </c:pt>
                <c:pt idx="7">
                  <c:v>2.7306049137985969E-2</c:v>
                </c:pt>
                <c:pt idx="8">
                  <c:v>2.683860754587173E-2</c:v>
                </c:pt>
                <c:pt idx="9">
                  <c:v>2.8577136215520639E-2</c:v>
                </c:pt>
                <c:pt idx="10">
                  <c:v>2.9045708307140341E-2</c:v>
                </c:pt>
                <c:pt idx="11">
                  <c:v>3.0151694267354031E-2</c:v>
                </c:pt>
                <c:pt idx="12">
                  <c:v>3.1278274774940933E-2</c:v>
                </c:pt>
                <c:pt idx="13">
                  <c:v>3.2623144271831599E-2</c:v>
                </c:pt>
                <c:pt idx="14">
                  <c:v>3.2081452766552027E-2</c:v>
                </c:pt>
                <c:pt idx="15">
                  <c:v>2.8476513020004542E-2</c:v>
                </c:pt>
                <c:pt idx="16">
                  <c:v>2.889792926206242E-2</c:v>
                </c:pt>
                <c:pt idx="17">
                  <c:v>2.8572345272906731E-2</c:v>
                </c:pt>
                <c:pt idx="18">
                  <c:v>2.758215728763419E-2</c:v>
                </c:pt>
                <c:pt idx="19">
                  <c:v>2.6684207925807661E-2</c:v>
                </c:pt>
                <c:pt idx="20">
                  <c:v>2.507409816863837E-2</c:v>
                </c:pt>
                <c:pt idx="21">
                  <c:v>3.7053775555914388E-2</c:v>
                </c:pt>
                <c:pt idx="22">
                  <c:v>4.1201839145334811E-2</c:v>
                </c:pt>
                <c:pt idx="23">
                  <c:v>3.952108516249337E-2</c:v>
                </c:pt>
                <c:pt idx="24">
                  <c:v>3.301132678213544E-2</c:v>
                </c:pt>
                <c:pt idx="25">
                  <c:v>3.4672282379825628E-2</c:v>
                </c:pt>
                <c:pt idx="26">
                  <c:v>3.6478521099227869E-2</c:v>
                </c:pt>
                <c:pt idx="27">
                  <c:v>3.1719960612283417E-2</c:v>
                </c:pt>
                <c:pt idx="28">
                  <c:v>2.9844699099281859E-2</c:v>
                </c:pt>
                <c:pt idx="29">
                  <c:v>2.824703792935155E-2</c:v>
                </c:pt>
                <c:pt idx="30">
                  <c:v>2.3926861689124789E-2</c:v>
                </c:pt>
                <c:pt idx="31">
                  <c:v>2.077067140814904E-2</c:v>
                </c:pt>
                <c:pt idx="32">
                  <c:v>2.3460558709885782E-2</c:v>
                </c:pt>
                <c:pt idx="33">
                  <c:v>3.042796286207031E-2</c:v>
                </c:pt>
                <c:pt idx="34">
                  <c:v>3.1037706913624011E-2</c:v>
                </c:pt>
                <c:pt idx="35">
                  <c:v>2.928997264422914E-2</c:v>
                </c:pt>
                <c:pt idx="36">
                  <c:v>2.9697936908540851E-2</c:v>
                </c:pt>
                <c:pt idx="37">
                  <c:v>3.0248130900335801E-2</c:v>
                </c:pt>
                <c:pt idx="38">
                  <c:v>3.5070387750061743E-2</c:v>
                </c:pt>
                <c:pt idx="39">
                  <c:v>3.120833777020552E-2</c:v>
                </c:pt>
                <c:pt idx="40">
                  <c:v>2.682679016675503E-2</c:v>
                </c:pt>
                <c:pt idx="41">
                  <c:v>2.4203784771293649E-2</c:v>
                </c:pt>
                <c:pt idx="42">
                  <c:v>2.4098053977022381E-2</c:v>
                </c:pt>
                <c:pt idx="43">
                  <c:v>2.4523754132153151E-2</c:v>
                </c:pt>
                <c:pt idx="44">
                  <c:v>2.2379504666963371E-2</c:v>
                </c:pt>
                <c:pt idx="45">
                  <c:v>2.104065524243157E-2</c:v>
                </c:pt>
                <c:pt idx="46">
                  <c:v>2.202824012890214E-2</c:v>
                </c:pt>
                <c:pt idx="47">
                  <c:v>2.3321641522021069E-2</c:v>
                </c:pt>
                <c:pt idx="48">
                  <c:v>2.5721900660138009E-2</c:v>
                </c:pt>
                <c:pt idx="49">
                  <c:v>2.4967370312040962E-2</c:v>
                </c:pt>
                <c:pt idx="50">
                  <c:v>2.603335979145837E-2</c:v>
                </c:pt>
                <c:pt idx="51">
                  <c:v>2.5702227757022279E-2</c:v>
                </c:pt>
              </c:numCache>
            </c:numRef>
          </c:yVal>
          <c:smooth val="0"/>
          <c:extLst>
            <c:ext xmlns:c16="http://schemas.microsoft.com/office/drawing/2014/chart" uri="{C3380CC4-5D6E-409C-BE32-E72D297353CC}">
              <c16:uniqueId val="{00000002-096C-4121-9522-6AB7243CCAAE}"/>
            </c:ext>
          </c:extLst>
        </c:ser>
        <c:ser>
          <c:idx val="2"/>
          <c:order val="2"/>
          <c:tx>
            <c:strRef>
              <c:f>Sheet1!$B$15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0:$A$161</c:f>
              <c:numCache>
                <c:formatCode>General</c:formatCode>
                <c:ptCount val="2"/>
                <c:pt idx="0">
                  <c:v>0</c:v>
                </c:pt>
                <c:pt idx="1">
                  <c:v>0.1108820277239114</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5-096C-4121-9522-6AB7243CCAAE}"/>
            </c:ext>
          </c:extLst>
        </c:ser>
        <c:ser>
          <c:idx val="3"/>
          <c:order val="3"/>
          <c:tx>
            <c:strRef>
              <c:f>Sheet1!$B$16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0.1108820277239114</c:v>
                </c:pt>
                <c:pt idx="1">
                  <c:v>0.1108820277239114</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8:$A$169</c:f>
              <c:numCache>
                <c:formatCode>General</c:formatCode>
                <c:ptCount val="2"/>
                <c:pt idx="0">
                  <c:v>0</c:v>
                </c:pt>
                <c:pt idx="1">
                  <c:v>0.11732114474802791</c:v>
                </c:pt>
              </c:numCache>
            </c:numRef>
          </c:xVal>
          <c:yVal>
            <c:numRef>
              <c:f>Sheet1!$B$168:$B$169</c:f>
              <c:numCache>
                <c:formatCode>General</c:formatCode>
                <c:ptCount val="2"/>
                <c:pt idx="0">
                  <c:v>3.1101577984060609E-2</c:v>
                </c:pt>
                <c:pt idx="1">
                  <c:v>3.1101577984060609E-2</c:v>
                </c:pt>
              </c:numCache>
            </c:numRef>
          </c:yVal>
          <c:smooth val="0"/>
          <c:extLst>
            <c:ext xmlns:c16="http://schemas.microsoft.com/office/drawing/2014/chart" uri="{C3380CC4-5D6E-409C-BE32-E72D297353CC}">
              <c16:uniqueId val="{0000000D-096C-4121-9522-6AB7243CCAAE}"/>
            </c:ext>
          </c:extLst>
        </c:ser>
        <c:ser>
          <c:idx val="5"/>
          <c:order val="5"/>
          <c:tx>
            <c:strRef>
              <c:f>Sheet1!$B$17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0.11732114474802791</c:v>
                </c:pt>
                <c:pt idx="1">
                  <c:v>0.11732114474802791</c:v>
                </c:pt>
              </c:numCache>
            </c:numRef>
          </c:xVal>
          <c:yVal>
            <c:numRef>
              <c:f>Sheet1!$B$172:$B$173</c:f>
              <c:numCache>
                <c:formatCode>General</c:formatCode>
                <c:ptCount val="2"/>
                <c:pt idx="0">
                  <c:v>3.1101577984060609E-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6:$A$177</c:f>
              <c:numCache>
                <c:formatCode>General</c:formatCode>
                <c:ptCount val="2"/>
                <c:pt idx="0">
                  <c:v>0</c:v>
                </c:pt>
                <c:pt idx="1">
                  <c:v>0.13512234665834599</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5-096C-4121-9522-6AB7243CCAAE}"/>
            </c:ext>
          </c:extLst>
        </c:ser>
        <c:ser>
          <c:idx val="7"/>
          <c:order val="7"/>
          <c:tx>
            <c:strRef>
              <c:f>Sheet1!$B$17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0:$A$181</c:f>
              <c:numCache>
                <c:formatCode>General</c:formatCode>
                <c:ptCount val="2"/>
                <c:pt idx="0">
                  <c:v>0.13512234665834599</c:v>
                </c:pt>
                <c:pt idx="1">
                  <c:v>0.13512234665834599</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4:$A$238</c:f>
              <c:numCache>
                <c:formatCode>General</c:formatCode>
                <c:ptCount val="55"/>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pt idx="52">
                  <c:v>0.11732114474802791</c:v>
                </c:pt>
                <c:pt idx="53">
                  <c:v>0.1108820277239114</c:v>
                </c:pt>
                <c:pt idx="54">
                  <c:v>0.13512234665834599</c:v>
                </c:pt>
              </c:numCache>
            </c:numRef>
          </c:xVal>
          <c:yVal>
            <c:numRef>
              <c:f>Sheet1!$B$184:$B$238</c:f>
              <c:numCache>
                <c:formatCode>General</c:formatCode>
                <c:ptCount val="55"/>
                <c:pt idx="0">
                  <c:v>3.1620668745252142E-2</c:v>
                </c:pt>
                <c:pt idx="1">
                  <c:v>3.1654790245678951E-2</c:v>
                </c:pt>
                <c:pt idx="2">
                  <c:v>3.2783325344754151E-2</c:v>
                </c:pt>
                <c:pt idx="3">
                  <c:v>3.022688607526958E-2</c:v>
                </c:pt>
                <c:pt idx="4">
                  <c:v>2.8540776744242852E-2</c:v>
                </c:pt>
                <c:pt idx="5">
                  <c:v>2.8198639317480349E-2</c:v>
                </c:pt>
                <c:pt idx="6">
                  <c:v>2.8149354774764782E-2</c:v>
                </c:pt>
                <c:pt idx="7">
                  <c:v>2.8199004366077019E-2</c:v>
                </c:pt>
                <c:pt idx="8">
                  <c:v>3.0157282303857849E-2</c:v>
                </c:pt>
                <c:pt idx="9">
                  <c:v>2.9717490317624731E-2</c:v>
                </c:pt>
                <c:pt idx="10">
                  <c:v>2.880162617160174E-2</c:v>
                </c:pt>
                <c:pt idx="11">
                  <c:v>3.0799476543192809E-2</c:v>
                </c:pt>
                <c:pt idx="12">
                  <c:v>2.8080121278043681E-2</c:v>
                </c:pt>
                <c:pt idx="13">
                  <c:v>2.8247092051713919E-2</c:v>
                </c:pt>
                <c:pt idx="14">
                  <c:v>2.639540124703324E-2</c:v>
                </c:pt>
                <c:pt idx="15">
                  <c:v>1.9220157910636009E-2</c:v>
                </c:pt>
                <c:pt idx="16">
                  <c:v>2.9292926757015069E-2</c:v>
                </c:pt>
                <c:pt idx="17">
                  <c:v>2.9541107656935999E-2</c:v>
                </c:pt>
                <c:pt idx="18">
                  <c:v>3.1154431279754719E-2</c:v>
                </c:pt>
                <c:pt idx="19">
                  <c:v>2.9461129531890291E-2</c:v>
                </c:pt>
                <c:pt idx="20">
                  <c:v>3.0313783713891131E-2</c:v>
                </c:pt>
                <c:pt idx="21">
                  <c:v>3.3508822667282862E-2</c:v>
                </c:pt>
                <c:pt idx="22">
                  <c:v>3.4739165058279807E-2</c:v>
                </c:pt>
                <c:pt idx="23">
                  <c:v>3.3561500120319547E-2</c:v>
                </c:pt>
                <c:pt idx="24">
                  <c:v>3.0961282548418428E-2</c:v>
                </c:pt>
                <c:pt idx="25">
                  <c:v>3.325613118609181E-2</c:v>
                </c:pt>
                <c:pt idx="26">
                  <c:v>3.230935798656305E-2</c:v>
                </c:pt>
                <c:pt idx="27">
                  <c:v>3.0186042242885399E-2</c:v>
                </c:pt>
                <c:pt idx="28">
                  <c:v>2.9826699740302571E-2</c:v>
                </c:pt>
                <c:pt idx="29">
                  <c:v>2.8461825588360749E-2</c:v>
                </c:pt>
                <c:pt idx="30">
                  <c:v>2.6667445839888119E-2</c:v>
                </c:pt>
                <c:pt idx="31">
                  <c:v>2.9333797528733729E-2</c:v>
                </c:pt>
                <c:pt idx="32">
                  <c:v>2.8469462201818171E-2</c:v>
                </c:pt>
                <c:pt idx="33">
                  <c:v>3.1278574864500211E-2</c:v>
                </c:pt>
                <c:pt idx="34">
                  <c:v>3.362517184260494E-2</c:v>
                </c:pt>
                <c:pt idx="35">
                  <c:v>3.1259339751075838E-2</c:v>
                </c:pt>
                <c:pt idx="36">
                  <c:v>3.2466678789921898E-2</c:v>
                </c:pt>
                <c:pt idx="37">
                  <c:v>3.336561461501103E-2</c:v>
                </c:pt>
                <c:pt idx="38">
                  <c:v>3.1897061212580187E-2</c:v>
                </c:pt>
                <c:pt idx="39">
                  <c:v>3.0591232179052279E-2</c:v>
                </c:pt>
                <c:pt idx="40">
                  <c:v>2.6490890509876141E-2</c:v>
                </c:pt>
                <c:pt idx="41">
                  <c:v>2.5005655171483909E-2</c:v>
                </c:pt>
                <c:pt idx="42">
                  <c:v>2.471524594195228E-2</c:v>
                </c:pt>
                <c:pt idx="43">
                  <c:v>2.5740688254943609E-2</c:v>
                </c:pt>
                <c:pt idx="44">
                  <c:v>2.534241769031121E-2</c:v>
                </c:pt>
                <c:pt idx="45">
                  <c:v>2.5785004878787769E-2</c:v>
                </c:pt>
                <c:pt idx="46">
                  <c:v>2.6712805427711591E-2</c:v>
                </c:pt>
                <c:pt idx="47">
                  <c:v>2.6016063432124481E-2</c:v>
                </c:pt>
                <c:pt idx="48">
                  <c:v>2.645901837190287E-2</c:v>
                </c:pt>
                <c:pt idx="49">
                  <c:v>2.253097533810856E-2</c:v>
                </c:pt>
                <c:pt idx="50">
                  <c:v>2.3407974477709061E-2</c:v>
                </c:pt>
                <c:pt idx="51">
                  <c:v>2.5267129597052979E-2</c:v>
                </c:pt>
                <c:pt idx="52">
                  <c:v>3.1101577984060599E-2</c:v>
                </c:pt>
                <c:pt idx="53">
                  <c:v>3.3390590546211449E-2</c:v>
                </c:pt>
                <c:pt idx="54">
                  <c:v>2.47735092998775E-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18089307194123574"/>
          <c:min val="7.5697543274504286E-2"/>
        </c:scaling>
        <c:delete val="0"/>
        <c:axPos val="b"/>
        <c:title>
          <c:tx>
            <c:rich>
              <a:bodyPr rot="0" spcFirstLastPara="1" vertOverflow="ellipsis" vert="horz" wrap="square" anchor="ctr" anchorCtr="1"/>
              <a:lstStyle/>
              <a:p>
                <a:pPr>
                  <a:defRPr sz="800" b="0">
                    <a:solidFill>
                      <a:srgbClr val="575555"/>
                    </a:solidFill>
                    <a:latin typeface="Nexa Bold"/>
                  </a:defRPr>
                </a:pPr>
                <a:r>
                  <a:rPr lang="en-US"/>
                  <a:t>Price Ix vs. Gillette Fusion5</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3084051742229012</c:v>
                </c:pt>
                <c:pt idx="1">
                  <c:v>0.31591786351078627</c:v>
                </c:pt>
                <c:pt idx="2">
                  <c:v>0.32058023334902946</c:v>
                </c:pt>
                <c:pt idx="3">
                  <c:v>0.31551466024025998</c:v>
                </c:pt>
                <c:pt idx="4">
                  <c:v>0.31248983133575575</c:v>
                </c:pt>
                <c:pt idx="5">
                  <c:v>0.31209899175068745</c:v>
                </c:pt>
                <c:pt idx="6">
                  <c:v>0.31243915630070307</c:v>
                </c:pt>
                <c:pt idx="7">
                  <c:v>0.3133619793471481</c:v>
                </c:pt>
                <c:pt idx="8">
                  <c:v>0.31671907756813417</c:v>
                </c:pt>
                <c:pt idx="9">
                  <c:v>0.31082322826247477</c:v>
                </c:pt>
                <c:pt idx="10">
                  <c:v>0.31047212859141043</c:v>
                </c:pt>
                <c:pt idx="11">
                  <c:v>0.30851195946449417</c:v>
                </c:pt>
                <c:pt idx="12">
                  <c:v>0.30743476600274672</c:v>
                </c:pt>
                <c:pt idx="13">
                  <c:v>0.30557876018361524</c:v>
                </c:pt>
                <c:pt idx="14">
                  <c:v>0.30608180521683359</c:v>
                </c:pt>
                <c:pt idx="15">
                  <c:v>0.30537959003209308</c:v>
                </c:pt>
                <c:pt idx="16">
                  <c:v>0.30479028449342177</c:v>
                </c:pt>
                <c:pt idx="17">
                  <c:v>0.30535697989231286</c:v>
                </c:pt>
                <c:pt idx="18">
                  <c:v>0.30758733419811496</c:v>
                </c:pt>
                <c:pt idx="19">
                  <c:v>0.30384356418742708</c:v>
                </c:pt>
                <c:pt idx="20">
                  <c:v>0.30255871389344829</c:v>
                </c:pt>
                <c:pt idx="21">
                  <c:v>0.30131492720175512</c:v>
                </c:pt>
                <c:pt idx="22">
                  <c:v>0.30402402402402401</c:v>
                </c:pt>
                <c:pt idx="23">
                  <c:v>0.3041818228723267</c:v>
                </c:pt>
                <c:pt idx="24">
                  <c:v>0.30380595989557657</c:v>
                </c:pt>
                <c:pt idx="25">
                  <c:v>0.30266464709715091</c:v>
                </c:pt>
                <c:pt idx="26">
                  <c:v>0.30198090992432275</c:v>
                </c:pt>
                <c:pt idx="27">
                  <c:v>0.30261018186645428</c:v>
                </c:pt>
                <c:pt idx="28">
                  <c:v>0.30379475941413642</c:v>
                </c:pt>
                <c:pt idx="29">
                  <c:v>0.30510575091808745</c:v>
                </c:pt>
                <c:pt idx="30">
                  <c:v>0.30547263681592041</c:v>
                </c:pt>
                <c:pt idx="31">
                  <c:v>0.30191808942530629</c:v>
                </c:pt>
                <c:pt idx="32">
                  <c:v>0.30004016835781272</c:v>
                </c:pt>
                <c:pt idx="33">
                  <c:v>0.30140260803244229</c:v>
                </c:pt>
                <c:pt idx="34">
                  <c:v>0.30315931183998879</c:v>
                </c:pt>
                <c:pt idx="35">
                  <c:v>0.30423707530585153</c:v>
                </c:pt>
                <c:pt idx="36">
                  <c:v>0.30339368848493503</c:v>
                </c:pt>
                <c:pt idx="37">
                  <c:v>0.30312142377964563</c:v>
                </c:pt>
                <c:pt idx="38">
                  <c:v>0.30421477922015827</c:v>
                </c:pt>
                <c:pt idx="39">
                  <c:v>0.30360700245050509</c:v>
                </c:pt>
                <c:pt idx="40">
                  <c:v>0.30482776067799466</c:v>
                </c:pt>
                <c:pt idx="41">
                  <c:v>0.30496561046396053</c:v>
                </c:pt>
                <c:pt idx="42">
                  <c:v>0.30474260101509459</c:v>
                </c:pt>
                <c:pt idx="43">
                  <c:v>0.30487658997567685</c:v>
                </c:pt>
                <c:pt idx="44">
                  <c:v>0.30417377406912238</c:v>
                </c:pt>
                <c:pt idx="45">
                  <c:v>0.30429474182711519</c:v>
                </c:pt>
                <c:pt idx="46">
                  <c:v>0.30416987037597953</c:v>
                </c:pt>
                <c:pt idx="47">
                  <c:v>0.30177142857142858</c:v>
                </c:pt>
                <c:pt idx="48">
                  <c:v>0.30034428178139644</c:v>
                </c:pt>
                <c:pt idx="49">
                  <c:v>0.30020553910468561</c:v>
                </c:pt>
                <c:pt idx="50">
                  <c:v>0.30020393921120919</c:v>
                </c:pt>
                <c:pt idx="51">
                  <c:v>0.30029572161037082</c:v>
                </c:pt>
                <c:pt idx="52">
                  <c:v>0.30085731375024921</c:v>
                </c:pt>
                <c:pt idx="53">
                  <c:v>0.30374794069192751</c:v>
                </c:pt>
                <c:pt idx="54">
                  <c:v>0.30475569923731716</c:v>
                </c:pt>
                <c:pt idx="55">
                  <c:v>0.30484411191281596</c:v>
                </c:pt>
                <c:pt idx="56">
                  <c:v>0.29666067320451317</c:v>
                </c:pt>
                <c:pt idx="57">
                  <c:v>0.25400835544515327</c:v>
                </c:pt>
                <c:pt idx="58">
                  <c:v>0.23382400369980466</c:v>
                </c:pt>
                <c:pt idx="59">
                  <c:v>0.23943026116791946</c:v>
                </c:pt>
                <c:pt idx="60">
                  <c:v>0.25369491863085675</c:v>
                </c:pt>
                <c:pt idx="61">
                  <c:v>0.26335839430757868</c:v>
                </c:pt>
                <c:pt idx="62">
                  <c:v>0.24811366501794199</c:v>
                </c:pt>
                <c:pt idx="63">
                  <c:v>0.25331883600138116</c:v>
                </c:pt>
                <c:pt idx="64">
                  <c:v>0.27606841827999473</c:v>
                </c:pt>
                <c:pt idx="65">
                  <c:v>0.28160478817918266</c:v>
                </c:pt>
                <c:pt idx="66">
                  <c:v>0.29229782021117312</c:v>
                </c:pt>
                <c:pt idx="67">
                  <c:v>0.30127414335954045</c:v>
                </c:pt>
                <c:pt idx="68">
                  <c:v>0.30305886879569066</c:v>
                </c:pt>
                <c:pt idx="69">
                  <c:v>0.30492991022208221</c:v>
                </c:pt>
                <c:pt idx="70">
                  <c:v>0.30628978911194849</c:v>
                </c:pt>
                <c:pt idx="71">
                  <c:v>0.30507690665654685</c:v>
                </c:pt>
                <c:pt idx="72">
                  <c:v>0.30607670596048481</c:v>
                </c:pt>
                <c:pt idx="73">
                  <c:v>0.3116373241246056</c:v>
                </c:pt>
                <c:pt idx="74">
                  <c:v>0.31424842998124136</c:v>
                </c:pt>
                <c:pt idx="75">
                  <c:v>0.31320176754871626</c:v>
                </c:pt>
                <c:pt idx="76">
                  <c:v>0.31380953870863448</c:v>
                </c:pt>
                <c:pt idx="77">
                  <c:v>0.32590348409435188</c:v>
                </c:pt>
                <c:pt idx="78">
                  <c:v>0.33061711871301291</c:v>
                </c:pt>
                <c:pt idx="79">
                  <c:v>0.33376024237416513</c:v>
                </c:pt>
                <c:pt idx="80">
                  <c:v>0.334863282523373</c:v>
                </c:pt>
                <c:pt idx="81">
                  <c:v>0.33732775797715603</c:v>
                </c:pt>
                <c:pt idx="82">
                  <c:v>0.3340239432262419</c:v>
                </c:pt>
                <c:pt idx="83">
                  <c:v>0.32813911724353323</c:v>
                </c:pt>
                <c:pt idx="84">
                  <c:v>0.32451377453380215</c:v>
                </c:pt>
                <c:pt idx="85">
                  <c:v>0.3242920313313794</c:v>
                </c:pt>
                <c:pt idx="86">
                  <c:v>0.32834757834757833</c:v>
                </c:pt>
                <c:pt idx="87">
                  <c:v>0.33024565689467972</c:v>
                </c:pt>
                <c:pt idx="88">
                  <c:v>0.33047076978575868</c:v>
                </c:pt>
                <c:pt idx="89">
                  <c:v>0.32960364974033468</c:v>
                </c:pt>
                <c:pt idx="90">
                  <c:v>0.32877782475231143</c:v>
                </c:pt>
                <c:pt idx="91">
                  <c:v>0.33265505668454848</c:v>
                </c:pt>
                <c:pt idx="92">
                  <c:v>0.33383080669232584</c:v>
                </c:pt>
                <c:pt idx="93">
                  <c:v>0.33445095599479496</c:v>
                </c:pt>
                <c:pt idx="94">
                  <c:v>0.33425385899470356</c:v>
                </c:pt>
                <c:pt idx="95">
                  <c:v>0.33302358553829059</c:v>
                </c:pt>
                <c:pt idx="96">
                  <c:v>0.3331230702831911</c:v>
                </c:pt>
                <c:pt idx="97">
                  <c:v>0.33248279672509923</c:v>
                </c:pt>
                <c:pt idx="98">
                  <c:v>0.33184443040565192</c:v>
                </c:pt>
                <c:pt idx="99">
                  <c:v>0.31234357273380736</c:v>
                </c:pt>
                <c:pt idx="100">
                  <c:v>0.30123106937136429</c:v>
                </c:pt>
                <c:pt idx="101">
                  <c:v>0.30056872662328632</c:v>
                </c:pt>
              </c:numCache>
            </c:numRef>
          </c:xVal>
          <c:yVal>
            <c:numRef>
              <c:f>Sheet1!$B$2:$B$103</c:f>
              <c:numCache>
                <c:formatCode>General</c:formatCode>
                <c:ptCount val="102"/>
                <c:pt idx="0">
                  <c:v>3.1549194168607006E-2</c:v>
                </c:pt>
                <c:pt idx="1">
                  <c:v>2.5925076493376501E-2</c:v>
                </c:pt>
                <c:pt idx="2">
                  <c:v>1.9457371147598559E-2</c:v>
                </c:pt>
                <c:pt idx="3">
                  <c:v>2.1005226955186754E-2</c:v>
                </c:pt>
                <c:pt idx="4">
                  <c:v>2.3683174888924508E-2</c:v>
                </c:pt>
                <c:pt idx="5">
                  <c:v>2.4814911692122233E-2</c:v>
                </c:pt>
                <c:pt idx="6">
                  <c:v>2.2966901329024649E-2</c:v>
                </c:pt>
                <c:pt idx="7">
                  <c:v>2.1693356757167159E-2</c:v>
                </c:pt>
                <c:pt idx="8">
                  <c:v>2.508474647577718E-2</c:v>
                </c:pt>
                <c:pt idx="9">
                  <c:v>3.2219360006132694E-2</c:v>
                </c:pt>
                <c:pt idx="10">
                  <c:v>3.3455366889535383E-2</c:v>
                </c:pt>
                <c:pt idx="11">
                  <c:v>3.0774205038558523E-2</c:v>
                </c:pt>
                <c:pt idx="12">
                  <c:v>3.166311843777065E-2</c:v>
                </c:pt>
                <c:pt idx="13">
                  <c:v>2.9573633835338665E-2</c:v>
                </c:pt>
                <c:pt idx="14">
                  <c:v>2.9438294749618857E-2</c:v>
                </c:pt>
                <c:pt idx="15">
                  <c:v>3.2326555355538883E-2</c:v>
                </c:pt>
                <c:pt idx="16">
                  <c:v>3.0454183212358377E-2</c:v>
                </c:pt>
                <c:pt idx="17">
                  <c:v>3.0177244147381318E-2</c:v>
                </c:pt>
                <c:pt idx="18">
                  <c:v>3.0949579617420526E-2</c:v>
                </c:pt>
                <c:pt idx="19">
                  <c:v>3.3044676701229417E-2</c:v>
                </c:pt>
                <c:pt idx="20">
                  <c:v>3.4502368865567047E-2</c:v>
                </c:pt>
                <c:pt idx="21">
                  <c:v>3.8171203781773647E-2</c:v>
                </c:pt>
                <c:pt idx="22">
                  <c:v>3.2633840746857157E-2</c:v>
                </c:pt>
                <c:pt idx="23">
                  <c:v>3.22851825867847E-2</c:v>
                </c:pt>
                <c:pt idx="24">
                  <c:v>3.4293774474369265E-2</c:v>
                </c:pt>
                <c:pt idx="25">
                  <c:v>3.3493331489235549E-2</c:v>
                </c:pt>
                <c:pt idx="26">
                  <c:v>3.2256296982208908E-2</c:v>
                </c:pt>
                <c:pt idx="27">
                  <c:v>3.256327154323236E-2</c:v>
                </c:pt>
                <c:pt idx="28">
                  <c:v>3.0215972855570965E-2</c:v>
                </c:pt>
                <c:pt idx="29">
                  <c:v>2.971323515475446E-2</c:v>
                </c:pt>
                <c:pt idx="30">
                  <c:v>2.9886044202056927E-2</c:v>
                </c:pt>
                <c:pt idx="31">
                  <c:v>3.0113049153545669E-2</c:v>
                </c:pt>
                <c:pt idx="32">
                  <c:v>3.0121682992946059E-2</c:v>
                </c:pt>
                <c:pt idx="33">
                  <c:v>2.8704102443482309E-2</c:v>
                </c:pt>
                <c:pt idx="34">
                  <c:v>3.0602403901330309E-2</c:v>
                </c:pt>
                <c:pt idx="35">
                  <c:v>3.1456536502498786E-2</c:v>
                </c:pt>
                <c:pt idx="36">
                  <c:v>3.1516667937295108E-2</c:v>
                </c:pt>
                <c:pt idx="37">
                  <c:v>3.3226585884057164E-2</c:v>
                </c:pt>
                <c:pt idx="38">
                  <c:v>3.3016326225624587E-2</c:v>
                </c:pt>
                <c:pt idx="39">
                  <c:v>3.0075909553288729E-2</c:v>
                </c:pt>
                <c:pt idx="40">
                  <c:v>3.0308227143147046E-2</c:v>
                </c:pt>
                <c:pt idx="41">
                  <c:v>3.1273537834975489E-2</c:v>
                </c:pt>
                <c:pt idx="42">
                  <c:v>3.0059016900147784E-2</c:v>
                </c:pt>
                <c:pt idx="43">
                  <c:v>3.0573863083611635E-2</c:v>
                </c:pt>
                <c:pt idx="44">
                  <c:v>3.254448153409624E-2</c:v>
                </c:pt>
                <c:pt idx="45">
                  <c:v>3.2420025270644671E-2</c:v>
                </c:pt>
                <c:pt idx="46">
                  <c:v>3.0841270586476857E-2</c:v>
                </c:pt>
                <c:pt idx="47">
                  <c:v>3.4545476528939606E-2</c:v>
                </c:pt>
                <c:pt idx="48">
                  <c:v>3.9378011399146942E-2</c:v>
                </c:pt>
                <c:pt idx="49">
                  <c:v>3.4585845792310457E-2</c:v>
                </c:pt>
                <c:pt idx="50">
                  <c:v>3.6889295123608744E-2</c:v>
                </c:pt>
                <c:pt idx="51">
                  <c:v>3.516974061970235E-2</c:v>
                </c:pt>
                <c:pt idx="52">
                  <c:v>3.3440411726256954E-2</c:v>
                </c:pt>
                <c:pt idx="53">
                  <c:v>3.0775515895011849E-2</c:v>
                </c:pt>
                <c:pt idx="54">
                  <c:v>2.856172806220978E-2</c:v>
                </c:pt>
                <c:pt idx="55">
                  <c:v>2.9260191711765828E-2</c:v>
                </c:pt>
                <c:pt idx="56">
                  <c:v>3.1178692703543048E-2</c:v>
                </c:pt>
                <c:pt idx="57">
                  <c:v>3.7031471681131703E-2</c:v>
                </c:pt>
                <c:pt idx="58">
                  <c:v>3.9909501581123753E-2</c:v>
                </c:pt>
                <c:pt idx="59">
                  <c:v>3.3090443177845791E-2</c:v>
                </c:pt>
                <c:pt idx="60">
                  <c:v>2.0429936026239697E-2</c:v>
                </c:pt>
                <c:pt idx="61">
                  <c:v>1.5942339180034886E-2</c:v>
                </c:pt>
                <c:pt idx="62">
                  <c:v>2.6561543645322632E-2</c:v>
                </c:pt>
                <c:pt idx="63">
                  <c:v>3.5068893654044385E-2</c:v>
                </c:pt>
                <c:pt idx="64">
                  <c:v>3.0967228847484717E-2</c:v>
                </c:pt>
                <c:pt idx="65">
                  <c:v>2.6027056162994167E-2</c:v>
                </c:pt>
                <c:pt idx="66">
                  <c:v>2.5871503741223587E-2</c:v>
                </c:pt>
                <c:pt idx="67">
                  <c:v>2.691260699372984E-2</c:v>
                </c:pt>
                <c:pt idx="68">
                  <c:v>2.5874418970458959E-2</c:v>
                </c:pt>
                <c:pt idx="69">
                  <c:v>2.3193315376484971E-2</c:v>
                </c:pt>
                <c:pt idx="70">
                  <c:v>2.2686657383630057E-2</c:v>
                </c:pt>
                <c:pt idx="71">
                  <c:v>2.6189284143623485E-2</c:v>
                </c:pt>
                <c:pt idx="72">
                  <c:v>2.7336338114147821E-2</c:v>
                </c:pt>
                <c:pt idx="73">
                  <c:v>2.7740990571672709E-2</c:v>
                </c:pt>
                <c:pt idx="74">
                  <c:v>2.8775273119844166E-2</c:v>
                </c:pt>
                <c:pt idx="75">
                  <c:v>2.8510329318482425E-2</c:v>
                </c:pt>
                <c:pt idx="76">
                  <c:v>2.7909474603405617E-2</c:v>
                </c:pt>
                <c:pt idx="77">
                  <c:v>2.354699792786898E-2</c:v>
                </c:pt>
                <c:pt idx="78">
                  <c:v>2.3516397046911525E-2</c:v>
                </c:pt>
                <c:pt idx="79">
                  <c:v>2.2115174941799768E-2</c:v>
                </c:pt>
                <c:pt idx="80">
                  <c:v>2.2268202762568419E-2</c:v>
                </c:pt>
                <c:pt idx="81">
                  <c:v>2.1244426266941792E-2</c:v>
                </c:pt>
                <c:pt idx="82">
                  <c:v>3.1177386289303839E-2</c:v>
                </c:pt>
                <c:pt idx="83">
                  <c:v>2.6306476866990773E-2</c:v>
                </c:pt>
                <c:pt idx="84">
                  <c:v>2.5524833007679375E-2</c:v>
                </c:pt>
                <c:pt idx="85">
                  <c:v>2.6871534411513368E-2</c:v>
                </c:pt>
                <c:pt idx="86">
                  <c:v>2.6338851413823878E-2</c:v>
                </c:pt>
                <c:pt idx="87">
                  <c:v>2.4648701089615546E-2</c:v>
                </c:pt>
                <c:pt idx="88">
                  <c:v>2.6238033764437702E-2</c:v>
                </c:pt>
                <c:pt idx="89">
                  <c:v>3.0191859532939729E-2</c:v>
                </c:pt>
                <c:pt idx="90">
                  <c:v>3.0716851696320817E-2</c:v>
                </c:pt>
                <c:pt idx="91">
                  <c:v>3.1790352756617284E-2</c:v>
                </c:pt>
                <c:pt idx="92">
                  <c:v>2.9789485452214992E-2</c:v>
                </c:pt>
                <c:pt idx="93">
                  <c:v>2.7419432969366012E-2</c:v>
                </c:pt>
                <c:pt idx="94">
                  <c:v>2.5375304588112154E-2</c:v>
                </c:pt>
                <c:pt idx="95">
                  <c:v>2.7271435244645044E-2</c:v>
                </c:pt>
                <c:pt idx="96">
                  <c:v>2.4300725205733124E-2</c:v>
                </c:pt>
                <c:pt idx="97">
                  <c:v>2.5953063658202231E-2</c:v>
                </c:pt>
                <c:pt idx="98">
                  <c:v>2.870484051773789E-2</c:v>
                </c:pt>
                <c:pt idx="99">
                  <c:v>3.0161179689259059E-2</c:v>
                </c:pt>
                <c:pt idx="100">
                  <c:v>3.7558407981539428E-2</c:v>
                </c:pt>
                <c:pt idx="101">
                  <c:v>3.5796970668813106E-2</c:v>
                </c:pt>
              </c:numCache>
            </c:numRef>
          </c:yVal>
          <c:smooth val="0"/>
          <c:extLst>
            <c:ext xmlns:c16="http://schemas.microsoft.com/office/drawing/2014/chart" uri="{C3380CC4-5D6E-409C-BE32-E72D297353CC}">
              <c16:uniqueId val="{00000000-F32D-48B7-BC20-E66FC6253BAD}"/>
            </c:ext>
          </c:extLst>
        </c:ser>
        <c:ser>
          <c:idx val="1"/>
          <c:order val="1"/>
          <c:tx>
            <c:strRef>
              <c:f>Sheet1!$B$10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6:$A$157</c:f>
              <c:numCache>
                <c:formatCode>General</c:formatCode>
                <c:ptCount val="52"/>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numCache>
            </c:numRef>
          </c:xVal>
          <c:yVal>
            <c:numRef>
              <c:f>Sheet1!$B$106:$B$157</c:f>
              <c:numCache>
                <c:formatCode>General</c:formatCode>
                <c:ptCount val="52"/>
                <c:pt idx="0">
                  <c:v>3.3379430772150658E-2</c:v>
                </c:pt>
                <c:pt idx="1">
                  <c:v>3.5297770608354727E-2</c:v>
                </c:pt>
                <c:pt idx="2">
                  <c:v>3.603152077608085E-2</c:v>
                </c:pt>
                <c:pt idx="3">
                  <c:v>3.0978674639028675E-2</c:v>
                </c:pt>
                <c:pt idx="4">
                  <c:v>2.8133515753956471E-2</c:v>
                </c:pt>
                <c:pt idx="5">
                  <c:v>2.7512069607189618E-2</c:v>
                </c:pt>
                <c:pt idx="6">
                  <c:v>2.7535908601076187E-2</c:v>
                </c:pt>
                <c:pt idx="7">
                  <c:v>2.7306049137985969E-2</c:v>
                </c:pt>
                <c:pt idx="8">
                  <c:v>2.6838607545871734E-2</c:v>
                </c:pt>
                <c:pt idx="9">
                  <c:v>2.8577136215520643E-2</c:v>
                </c:pt>
                <c:pt idx="10">
                  <c:v>2.9045708307140341E-2</c:v>
                </c:pt>
                <c:pt idx="11">
                  <c:v>3.0151694267354034E-2</c:v>
                </c:pt>
                <c:pt idx="12">
                  <c:v>3.1278274774940926E-2</c:v>
                </c:pt>
                <c:pt idx="13">
                  <c:v>3.2623144271831599E-2</c:v>
                </c:pt>
                <c:pt idx="14">
                  <c:v>3.2081452766552027E-2</c:v>
                </c:pt>
                <c:pt idx="15">
                  <c:v>2.8476513020004538E-2</c:v>
                </c:pt>
                <c:pt idx="16">
                  <c:v>2.8897929262062423E-2</c:v>
                </c:pt>
                <c:pt idx="17">
                  <c:v>2.8572345272906727E-2</c:v>
                </c:pt>
                <c:pt idx="18">
                  <c:v>2.7582157287634194E-2</c:v>
                </c:pt>
                <c:pt idx="19">
                  <c:v>2.6684207925807661E-2</c:v>
                </c:pt>
                <c:pt idx="20">
                  <c:v>2.5074098168638374E-2</c:v>
                </c:pt>
                <c:pt idx="21">
                  <c:v>3.7053775555914395E-2</c:v>
                </c:pt>
                <c:pt idx="22">
                  <c:v>4.1201839145334811E-2</c:v>
                </c:pt>
                <c:pt idx="23">
                  <c:v>3.952108516249337E-2</c:v>
                </c:pt>
                <c:pt idx="24">
                  <c:v>3.301132678213544E-2</c:v>
                </c:pt>
                <c:pt idx="25">
                  <c:v>3.4672282379825628E-2</c:v>
                </c:pt>
                <c:pt idx="26">
                  <c:v>3.6478521099227869E-2</c:v>
                </c:pt>
                <c:pt idx="27">
                  <c:v>3.1719960612283417E-2</c:v>
                </c:pt>
                <c:pt idx="28">
                  <c:v>2.9844699099281863E-2</c:v>
                </c:pt>
                <c:pt idx="29">
                  <c:v>2.8247037929351546E-2</c:v>
                </c:pt>
                <c:pt idx="30">
                  <c:v>2.3926861689124793E-2</c:v>
                </c:pt>
                <c:pt idx="31">
                  <c:v>2.0770671408149036E-2</c:v>
                </c:pt>
                <c:pt idx="32">
                  <c:v>2.3460558709885785E-2</c:v>
                </c:pt>
                <c:pt idx="33">
                  <c:v>3.0427962862070307E-2</c:v>
                </c:pt>
                <c:pt idx="34">
                  <c:v>3.1037706913624008E-2</c:v>
                </c:pt>
                <c:pt idx="35">
                  <c:v>2.928997264422914E-2</c:v>
                </c:pt>
                <c:pt idx="36">
                  <c:v>2.9697936908540855E-2</c:v>
                </c:pt>
                <c:pt idx="37">
                  <c:v>3.0248130900335804E-2</c:v>
                </c:pt>
                <c:pt idx="38">
                  <c:v>3.5070387750061743E-2</c:v>
                </c:pt>
                <c:pt idx="39">
                  <c:v>3.1208337770205517E-2</c:v>
                </c:pt>
                <c:pt idx="40">
                  <c:v>2.6826790166755026E-2</c:v>
                </c:pt>
                <c:pt idx="41">
                  <c:v>2.4203784771293646E-2</c:v>
                </c:pt>
                <c:pt idx="42">
                  <c:v>2.4098053977022377E-2</c:v>
                </c:pt>
                <c:pt idx="43">
                  <c:v>2.4523754132153155E-2</c:v>
                </c:pt>
                <c:pt idx="44">
                  <c:v>2.2379504666963371E-2</c:v>
                </c:pt>
                <c:pt idx="45">
                  <c:v>2.104065524243157E-2</c:v>
                </c:pt>
                <c:pt idx="46">
                  <c:v>2.2028240128902143E-2</c:v>
                </c:pt>
                <c:pt idx="47">
                  <c:v>2.3321641522021073E-2</c:v>
                </c:pt>
                <c:pt idx="48">
                  <c:v>2.5721900660138006E-2</c:v>
                </c:pt>
                <c:pt idx="49">
                  <c:v>2.4967370312040958E-2</c:v>
                </c:pt>
                <c:pt idx="50">
                  <c:v>2.6033359791458374E-2</c:v>
                </c:pt>
                <c:pt idx="51">
                  <c:v>2.5702227757022279E-2</c:v>
                </c:pt>
              </c:numCache>
            </c:numRef>
          </c:yVal>
          <c:smooth val="0"/>
          <c:extLst>
            <c:ext xmlns:c16="http://schemas.microsoft.com/office/drawing/2014/chart" uri="{C3380CC4-5D6E-409C-BE32-E72D297353CC}">
              <c16:uniqueId val="{00000002-F32D-48B7-BC20-E66FC6253BAD}"/>
            </c:ext>
          </c:extLst>
        </c:ser>
        <c:ser>
          <c:idx val="2"/>
          <c:order val="2"/>
          <c:tx>
            <c:strRef>
              <c:f>Sheet1!$B$159</c:f>
              <c:strCache>
                <c:ptCount val="1"/>
                <c:pt idx="0">
                  <c:v>Custom Linep3yQ</c:v>
                </c:pt>
              </c:strCache>
            </c:strRef>
          </c:tx>
          <c:spPr>
            <a:ln w="19050" cap="rnd">
              <a:solidFill>
                <a:srgbClr val="C00000"/>
              </a:solidFill>
              <a:prstDash val="sysDot"/>
              <a:round/>
            </a:ln>
            <a:effectLst/>
          </c:spPr>
          <c:marker>
            <c:symbol val="none"/>
          </c:marker>
          <c:xVal>
            <c:numRef>
              <c:f>Sheet1!$A$160:$A$161</c:f>
              <c:numCache>
                <c:formatCode>General</c:formatCode>
                <c:ptCount val="2"/>
                <c:pt idx="0">
                  <c:v>0</c:v>
                </c:pt>
                <c:pt idx="1">
                  <c:v>0.27575744047645689</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3-F32D-48B7-BC20-E66FC6253BAD}"/>
            </c:ext>
          </c:extLst>
        </c:ser>
        <c:ser>
          <c:idx val="3"/>
          <c:order val="3"/>
          <c:tx>
            <c:strRef>
              <c:f>Sheet1!$B$16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0.27575744047645689</c:v>
                </c:pt>
                <c:pt idx="1">
                  <c:v>0.27575744047645689</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8:$A$169</c:f>
              <c:numCache>
                <c:formatCode>General</c:formatCode>
                <c:ptCount val="2"/>
                <c:pt idx="0">
                  <c:v>0</c:v>
                </c:pt>
                <c:pt idx="1">
                  <c:v>0.28987004975079905</c:v>
                </c:pt>
              </c:numCache>
            </c:numRef>
          </c:xVal>
          <c:yVal>
            <c:numRef>
              <c:f>Sheet1!$B$168:$B$169</c:f>
              <c:numCache>
                <c:formatCode>General</c:formatCode>
                <c:ptCount val="2"/>
                <c:pt idx="0">
                  <c:v>3.1101577984060606E-2</c:v>
                </c:pt>
                <c:pt idx="1">
                  <c:v>3.1101577984060606E-2</c:v>
                </c:pt>
              </c:numCache>
            </c:numRef>
          </c:yVal>
          <c:smooth val="0"/>
          <c:extLst>
            <c:ext xmlns:c16="http://schemas.microsoft.com/office/drawing/2014/chart" uri="{C3380CC4-5D6E-409C-BE32-E72D297353CC}">
              <c16:uniqueId val="{0000000A-F32D-48B7-BC20-E66FC6253BAD}"/>
            </c:ext>
          </c:extLst>
        </c:ser>
        <c:ser>
          <c:idx val="5"/>
          <c:order val="5"/>
          <c:tx>
            <c:strRef>
              <c:f>Sheet1!$B$17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0.28987004975079905</c:v>
                </c:pt>
                <c:pt idx="1">
                  <c:v>0.28987004975079905</c:v>
                </c:pt>
              </c:numCache>
            </c:numRef>
          </c:xVal>
          <c:yVal>
            <c:numRef>
              <c:f>Sheet1!$B$172:$B$173</c:f>
              <c:numCache>
                <c:formatCode>General</c:formatCode>
                <c:ptCount val="2"/>
                <c:pt idx="0">
                  <c:v>3.1101577984060606E-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6:$A$177</c:f>
              <c:numCache>
                <c:formatCode>General</c:formatCode>
                <c:ptCount val="2"/>
                <c:pt idx="0">
                  <c:v>0</c:v>
                </c:pt>
                <c:pt idx="1">
                  <c:v>0.32888493428125432</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1-F32D-48B7-BC20-E66FC6253BAD}"/>
            </c:ext>
          </c:extLst>
        </c:ser>
        <c:ser>
          <c:idx val="7"/>
          <c:order val="7"/>
          <c:tx>
            <c:strRef>
              <c:f>Sheet1!$B$17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0:$A$181</c:f>
              <c:numCache>
                <c:formatCode>General</c:formatCode>
                <c:ptCount val="2"/>
                <c:pt idx="0">
                  <c:v>0.32888493428125432</c:v>
                </c:pt>
                <c:pt idx="1">
                  <c:v>0.32888493428125432</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4:$A$238</c:f>
              <c:numCache>
                <c:formatCode>General</c:formatCode>
                <c:ptCount val="55"/>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pt idx="52">
                  <c:v>0.28987004975079905</c:v>
                </c:pt>
                <c:pt idx="53">
                  <c:v>0.27575744047645689</c:v>
                </c:pt>
                <c:pt idx="54">
                  <c:v>0.32888493428125432</c:v>
                </c:pt>
              </c:numCache>
            </c:numRef>
          </c:xVal>
          <c:yVal>
            <c:numRef>
              <c:f>Sheet1!$B$184:$B$238</c:f>
              <c:numCache>
                <c:formatCode>General</c:formatCode>
                <c:ptCount val="55"/>
                <c:pt idx="0">
                  <c:v>2.9413873016704839E-2</c:v>
                </c:pt>
                <c:pt idx="1">
                  <c:v>2.9896344890080709E-2</c:v>
                </c:pt>
                <c:pt idx="2">
                  <c:v>3.0155656486461964E-2</c:v>
                </c:pt>
                <c:pt idx="3">
                  <c:v>2.7109900331363727E-2</c:v>
                </c:pt>
                <c:pt idx="4">
                  <c:v>2.4371775225560388E-2</c:v>
                </c:pt>
                <c:pt idx="5">
                  <c:v>2.4094268404047922E-2</c:v>
                </c:pt>
                <c:pt idx="6">
                  <c:v>2.4322183284519114E-2</c:v>
                </c:pt>
                <c:pt idx="7">
                  <c:v>2.5263903460272262E-2</c:v>
                </c:pt>
                <c:pt idx="8">
                  <c:v>2.7533717749061021E-2</c:v>
                </c:pt>
                <c:pt idx="9">
                  <c:v>2.9136059572005948E-2</c:v>
                </c:pt>
                <c:pt idx="10">
                  <c:v>2.8439725189245424E-2</c:v>
                </c:pt>
                <c:pt idx="11">
                  <c:v>2.8481575446516888E-2</c:v>
                </c:pt>
                <c:pt idx="12">
                  <c:v>3.0108594349578348E-2</c:v>
                </c:pt>
                <c:pt idx="13">
                  <c:v>3.169054387055209E-2</c:v>
                </c:pt>
                <c:pt idx="14">
                  <c:v>3.1465934595702259E-2</c:v>
                </c:pt>
                <c:pt idx="15">
                  <c:v>3.1477667841337743E-2</c:v>
                </c:pt>
                <c:pt idx="16">
                  <c:v>3.1573121681829512E-2</c:v>
                </c:pt>
                <c:pt idx="17">
                  <c:v>3.1532924296196564E-2</c:v>
                </c:pt>
                <c:pt idx="18">
                  <c:v>3.0515660900336583E-2</c:v>
                </c:pt>
                <c:pt idx="19">
                  <c:v>3.0211789143868836E-2</c:v>
                </c:pt>
                <c:pt idx="20">
                  <c:v>2.8955614795748236E-2</c:v>
                </c:pt>
                <c:pt idx="21">
                  <c:v>3.2772131418724967E-2</c:v>
                </c:pt>
                <c:pt idx="22">
                  <c:v>3.3542665870490845E-2</c:v>
                </c:pt>
                <c:pt idx="23">
                  <c:v>3.3435184307609174E-2</c:v>
                </c:pt>
                <c:pt idx="24">
                  <c:v>3.268271460365052E-2</c:v>
                </c:pt>
                <c:pt idx="25">
                  <c:v>3.3870059534782497E-2</c:v>
                </c:pt>
                <c:pt idx="26">
                  <c:v>3.3073079926514877E-2</c:v>
                </c:pt>
                <c:pt idx="27">
                  <c:v>3.1808643842456727E-2</c:v>
                </c:pt>
                <c:pt idx="28">
                  <c:v>3.0502176751221188E-2</c:v>
                </c:pt>
                <c:pt idx="29">
                  <c:v>2.7906678470255915E-2</c:v>
                </c:pt>
                <c:pt idx="30">
                  <c:v>2.5033266393526828E-2</c:v>
                </c:pt>
                <c:pt idx="31">
                  <c:v>2.630903103630991E-2</c:v>
                </c:pt>
                <c:pt idx="32">
                  <c:v>2.8693045313762239E-2</c:v>
                </c:pt>
                <c:pt idx="33">
                  <c:v>3.2596808075387743E-2</c:v>
                </c:pt>
                <c:pt idx="34">
                  <c:v>3.3462836223474769E-2</c:v>
                </c:pt>
                <c:pt idx="35">
                  <c:v>3.1780988069129081E-2</c:v>
                </c:pt>
                <c:pt idx="36">
                  <c:v>3.2997078119396075E-2</c:v>
                </c:pt>
                <c:pt idx="37">
                  <c:v>3.4241810296995578E-2</c:v>
                </c:pt>
                <c:pt idx="38">
                  <c:v>3.5259393566231922E-2</c:v>
                </c:pt>
                <c:pt idx="39">
                  <c:v>3.2524924643797831E-2</c:v>
                </c:pt>
                <c:pt idx="40">
                  <c:v>2.8308242375685959E-2</c:v>
                </c:pt>
                <c:pt idx="41">
                  <c:v>2.54404048951909E-2</c:v>
                </c:pt>
                <c:pt idx="42">
                  <c:v>2.3287513921568817E-2</c:v>
                </c:pt>
                <c:pt idx="43">
                  <c:v>2.3365554652546534E-2</c:v>
                </c:pt>
                <c:pt idx="44">
                  <c:v>2.3054756675168077E-2</c:v>
                </c:pt>
                <c:pt idx="45">
                  <c:v>2.3566114628330095E-2</c:v>
                </c:pt>
                <c:pt idx="46">
                  <c:v>2.5888630394799238E-2</c:v>
                </c:pt>
                <c:pt idx="47">
                  <c:v>2.6265547596405793E-2</c:v>
                </c:pt>
                <c:pt idx="48">
                  <c:v>2.7412822111043234E-2</c:v>
                </c:pt>
                <c:pt idx="49">
                  <c:v>2.5962622488181153E-2</c:v>
                </c:pt>
                <c:pt idx="50">
                  <c:v>2.4525712064247307E-2</c:v>
                </c:pt>
                <c:pt idx="51">
                  <c:v>2.4473274634488791E-2</c:v>
                </c:pt>
                <c:pt idx="52">
                  <c:v>3.1101577984060602E-2</c:v>
                </c:pt>
                <c:pt idx="53">
                  <c:v>3.3390590546211449E-2</c:v>
                </c:pt>
                <c:pt idx="54">
                  <c:v>2.4773509299877497E-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40737801608579088"/>
          <c:min val="0.18705920295984374"/>
        </c:scaling>
        <c:delete val="0"/>
        <c:axPos val="b"/>
        <c:title>
          <c:tx>
            <c:rich>
              <a:bodyPr rot="0" spcFirstLastPara="1" vertOverflow="ellipsis" vert="horz" wrap="square" anchor="ctr" anchorCtr="1"/>
              <a:lstStyle/>
              <a:p>
                <a:pPr>
                  <a:defRPr sz="800" b="0">
                    <a:latin typeface="Nexa Bold"/>
                  </a:defRPr>
                </a:pPr>
                <a:r>
                  <a:rPr lang="en-US"/>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1291069944164441</c:v>
                </c:pt>
                <c:pt idx="1">
                  <c:v>0.13485892486555889</c:v>
                </c:pt>
                <c:pt idx="2">
                  <c:v>0.13361697278764331</c:v>
                </c:pt>
                <c:pt idx="3">
                  <c:v>0.13181455947245191</c:v>
                </c:pt>
                <c:pt idx="4">
                  <c:v>0.13079849733141291</c:v>
                </c:pt>
                <c:pt idx="5">
                  <c:v>0.12786527339341361</c:v>
                </c:pt>
                <c:pt idx="6">
                  <c:v>0.13389772495720559</c:v>
                </c:pt>
                <c:pt idx="7">
                  <c:v>0.1359519354250221</c:v>
                </c:pt>
                <c:pt idx="8">
                  <c:v>0.13408395448492219</c:v>
                </c:pt>
                <c:pt idx="9">
                  <c:v>0.1272173036352085</c:v>
                </c:pt>
                <c:pt idx="10">
                  <c:v>0.12580154817273331</c:v>
                </c:pt>
                <c:pt idx="11">
                  <c:v>0.1247833670603628</c:v>
                </c:pt>
                <c:pt idx="12">
                  <c:v>0.12616612542700109</c:v>
                </c:pt>
                <c:pt idx="13">
                  <c:v>0.13426073846412021</c:v>
                </c:pt>
                <c:pt idx="14">
                  <c:v>0.13040345544745011</c:v>
                </c:pt>
                <c:pt idx="15">
                  <c:v>0.12568196098787579</c:v>
                </c:pt>
                <c:pt idx="16">
                  <c:v>0.1284543866213313</c:v>
                </c:pt>
                <c:pt idx="17">
                  <c:v>0.13252000199740169</c:v>
                </c:pt>
                <c:pt idx="18">
                  <c:v>0.12612196270786419</c:v>
                </c:pt>
                <c:pt idx="19">
                  <c:v>0.13496886950214251</c:v>
                </c:pt>
                <c:pt idx="20">
                  <c:v>0.13064933940560819</c:v>
                </c:pt>
                <c:pt idx="21">
                  <c:v>0.12635635491031241</c:v>
                </c:pt>
                <c:pt idx="22">
                  <c:v>0.12863609693980929</c:v>
                </c:pt>
                <c:pt idx="23">
                  <c:v>0.13116494310893009</c:v>
                </c:pt>
                <c:pt idx="24">
                  <c:v>0.1278058186678292</c:v>
                </c:pt>
                <c:pt idx="25">
                  <c:v>0.1235932293079324</c:v>
                </c:pt>
                <c:pt idx="26">
                  <c:v>0.12290934252239009</c:v>
                </c:pt>
                <c:pt idx="27">
                  <c:v>0.12109503765009599</c:v>
                </c:pt>
                <c:pt idx="28">
                  <c:v>0.12207135397276341</c:v>
                </c:pt>
                <c:pt idx="29">
                  <c:v>0.1263122981136704</c:v>
                </c:pt>
                <c:pt idx="30">
                  <c:v>0.1263263635992006</c:v>
                </c:pt>
                <c:pt idx="31">
                  <c:v>0.12476889875077329</c:v>
                </c:pt>
                <c:pt idx="32">
                  <c:v>0.12674353123399981</c:v>
                </c:pt>
                <c:pt idx="33">
                  <c:v>0.12588695742723971</c:v>
                </c:pt>
                <c:pt idx="34">
                  <c:v>0.12390000002667199</c:v>
                </c:pt>
                <c:pt idx="35">
                  <c:v>0.12440850519118039</c:v>
                </c:pt>
                <c:pt idx="36">
                  <c:v>0.12336288941275771</c:v>
                </c:pt>
                <c:pt idx="37">
                  <c:v>0.1236579395008299</c:v>
                </c:pt>
                <c:pt idx="38">
                  <c:v>0.1244360084590832</c:v>
                </c:pt>
                <c:pt idx="39">
                  <c:v>0.12224083915887329</c:v>
                </c:pt>
                <c:pt idx="40">
                  <c:v>0.1219327444047168</c:v>
                </c:pt>
                <c:pt idx="41">
                  <c:v>0.1250560323566518</c:v>
                </c:pt>
                <c:pt idx="42">
                  <c:v>0.12745512740440279</c:v>
                </c:pt>
                <c:pt idx="43">
                  <c:v>0.1211984894858895</c:v>
                </c:pt>
                <c:pt idx="44">
                  <c:v>0.1258670226690102</c:v>
                </c:pt>
                <c:pt idx="45">
                  <c:v>0.1272339848348821</c:v>
                </c:pt>
                <c:pt idx="46">
                  <c:v>0.13490346412193621</c:v>
                </c:pt>
                <c:pt idx="47">
                  <c:v>0.1232399985423943</c:v>
                </c:pt>
                <c:pt idx="48">
                  <c:v>0.12311641114157899</c:v>
                </c:pt>
                <c:pt idx="49">
                  <c:v>0.1234350759255986</c:v>
                </c:pt>
                <c:pt idx="50">
                  <c:v>0.12419744604278141</c:v>
                </c:pt>
                <c:pt idx="51">
                  <c:v>0.13145508336915421</c:v>
                </c:pt>
                <c:pt idx="52">
                  <c:v>0.13109930113357529</c:v>
                </c:pt>
                <c:pt idx="53">
                  <c:v>0.13568928560863899</c:v>
                </c:pt>
                <c:pt idx="54">
                  <c:v>0.1285210371531505</c:v>
                </c:pt>
                <c:pt idx="55">
                  <c:v>0.1300753516373136</c:v>
                </c:pt>
                <c:pt idx="56">
                  <c:v>0.12489749950473671</c:v>
                </c:pt>
                <c:pt idx="57">
                  <c:v>0.10266521645136149</c:v>
                </c:pt>
                <c:pt idx="58">
                  <c:v>9.4621929093130358E-2</c:v>
                </c:pt>
                <c:pt idx="59">
                  <c:v>9.8212612965823731E-2</c:v>
                </c:pt>
                <c:pt idx="60">
                  <c:v>0.1102654339127445</c:v>
                </c:pt>
                <c:pt idx="61">
                  <c:v>0.1086326326560431</c:v>
                </c:pt>
                <c:pt idx="62">
                  <c:v>0.10273100071317991</c:v>
                </c:pt>
                <c:pt idx="63">
                  <c:v>0.1056131313298932</c:v>
                </c:pt>
                <c:pt idx="64">
                  <c:v>0.116037952360732</c:v>
                </c:pt>
                <c:pt idx="65">
                  <c:v>0.13065683342069531</c:v>
                </c:pt>
                <c:pt idx="66">
                  <c:v>0.132712182958446</c:v>
                </c:pt>
                <c:pt idx="67">
                  <c:v>0.12498087731066</c:v>
                </c:pt>
                <c:pt idx="68">
                  <c:v>0.1318623648264734</c:v>
                </c:pt>
                <c:pt idx="69">
                  <c:v>0.13405085209231629</c:v>
                </c:pt>
                <c:pt idx="70">
                  <c:v>0.12663942767242409</c:v>
                </c:pt>
                <c:pt idx="71">
                  <c:v>0.13715997078444109</c:v>
                </c:pt>
                <c:pt idx="72">
                  <c:v>0.1312699287114284</c:v>
                </c:pt>
                <c:pt idx="73">
                  <c:v>0.1290474255800157</c:v>
                </c:pt>
                <c:pt idx="74">
                  <c:v>0.12976627424972709</c:v>
                </c:pt>
                <c:pt idx="75">
                  <c:v>0.12686829869724861</c:v>
                </c:pt>
                <c:pt idx="76">
                  <c:v>0.1253623579280761</c:v>
                </c:pt>
                <c:pt idx="77">
                  <c:v>0.12968156222074531</c:v>
                </c:pt>
                <c:pt idx="78">
                  <c:v>0.12750329032649099</c:v>
                </c:pt>
                <c:pt idx="79">
                  <c:v>0.12461050546445129</c:v>
                </c:pt>
                <c:pt idx="80">
                  <c:v>0.12900335189603049</c:v>
                </c:pt>
                <c:pt idx="81">
                  <c:v>0.12741746962889991</c:v>
                </c:pt>
                <c:pt idx="82">
                  <c:v>0.1227246355993528</c:v>
                </c:pt>
                <c:pt idx="83">
                  <c:v>0.12325497363003669</c:v>
                </c:pt>
                <c:pt idx="84">
                  <c:v>0.1237777050026681</c:v>
                </c:pt>
                <c:pt idx="85">
                  <c:v>0.1227618684932686</c:v>
                </c:pt>
                <c:pt idx="86">
                  <c:v>0.12625273778634091</c:v>
                </c:pt>
                <c:pt idx="87">
                  <c:v>0.12848401925218161</c:v>
                </c:pt>
                <c:pt idx="88">
                  <c:v>0.12808991008793849</c:v>
                </c:pt>
                <c:pt idx="89">
                  <c:v>0.12669599383578639</c:v>
                </c:pt>
                <c:pt idx="90">
                  <c:v>0.128457244567205</c:v>
                </c:pt>
                <c:pt idx="91">
                  <c:v>0.1287495738807907</c:v>
                </c:pt>
                <c:pt idx="92">
                  <c:v>0.12753778198649329</c:v>
                </c:pt>
                <c:pt idx="93">
                  <c:v>0.12858384689357691</c:v>
                </c:pt>
                <c:pt idx="94">
                  <c:v>0.13053873342212541</c:v>
                </c:pt>
                <c:pt idx="95">
                  <c:v>0.1283681251237693</c:v>
                </c:pt>
                <c:pt idx="96">
                  <c:v>0.12712219330013799</c:v>
                </c:pt>
                <c:pt idx="97">
                  <c:v>0.12537888942730019</c:v>
                </c:pt>
                <c:pt idx="98">
                  <c:v>0.12745921704595151</c:v>
                </c:pt>
                <c:pt idx="99">
                  <c:v>0.1212266665697815</c:v>
                </c:pt>
                <c:pt idx="100">
                  <c:v>0.1141728668578047</c:v>
                </c:pt>
                <c:pt idx="101">
                  <c:v>0.115957494325048</c:v>
                </c:pt>
              </c:numCache>
            </c:numRef>
          </c:xVal>
          <c:yVal>
            <c:numRef>
              <c:f>Sheet1!$B$2:$B$103</c:f>
              <c:numCache>
                <c:formatCode>General</c:formatCode>
                <c:ptCount val="102"/>
                <c:pt idx="0">
                  <c:v>3.1549194168607013E-2</c:v>
                </c:pt>
                <c:pt idx="1">
                  <c:v>2.5925076493376501E-2</c:v>
                </c:pt>
                <c:pt idx="2">
                  <c:v>1.9457371147598559E-2</c:v>
                </c:pt>
                <c:pt idx="3">
                  <c:v>2.1005226955186751E-2</c:v>
                </c:pt>
                <c:pt idx="4">
                  <c:v>2.3683174888924512E-2</c:v>
                </c:pt>
                <c:pt idx="5">
                  <c:v>2.481491169212223E-2</c:v>
                </c:pt>
                <c:pt idx="6">
                  <c:v>2.2966901329024649E-2</c:v>
                </c:pt>
                <c:pt idx="7">
                  <c:v>2.1693356757167159E-2</c:v>
                </c:pt>
                <c:pt idx="8">
                  <c:v>2.508474647577718E-2</c:v>
                </c:pt>
                <c:pt idx="9">
                  <c:v>3.2219360006132687E-2</c:v>
                </c:pt>
                <c:pt idx="10">
                  <c:v>3.3455366889535383E-2</c:v>
                </c:pt>
                <c:pt idx="11">
                  <c:v>3.077420503855852E-2</c:v>
                </c:pt>
                <c:pt idx="12">
                  <c:v>3.166311843777065E-2</c:v>
                </c:pt>
                <c:pt idx="13">
                  <c:v>2.9573633835338661E-2</c:v>
                </c:pt>
                <c:pt idx="14">
                  <c:v>2.943829474961886E-2</c:v>
                </c:pt>
                <c:pt idx="15">
                  <c:v>3.2326555355538883E-2</c:v>
                </c:pt>
                <c:pt idx="16">
                  <c:v>3.045418321235838E-2</c:v>
                </c:pt>
                <c:pt idx="17">
                  <c:v>3.0177244147381321E-2</c:v>
                </c:pt>
                <c:pt idx="18">
                  <c:v>3.0949579617420529E-2</c:v>
                </c:pt>
                <c:pt idx="19">
                  <c:v>3.3044676701229417E-2</c:v>
                </c:pt>
                <c:pt idx="20">
                  <c:v>3.4502368865567047E-2</c:v>
                </c:pt>
                <c:pt idx="21">
                  <c:v>3.8171203781773647E-2</c:v>
                </c:pt>
                <c:pt idx="22">
                  <c:v>3.2633840746857157E-2</c:v>
                </c:pt>
                <c:pt idx="23">
                  <c:v>3.22851825867847E-2</c:v>
                </c:pt>
                <c:pt idx="24">
                  <c:v>3.4293774474369272E-2</c:v>
                </c:pt>
                <c:pt idx="25">
                  <c:v>3.3493331489235549E-2</c:v>
                </c:pt>
                <c:pt idx="26">
                  <c:v>3.2256296982208908E-2</c:v>
                </c:pt>
                <c:pt idx="27">
                  <c:v>3.256327154323236E-2</c:v>
                </c:pt>
                <c:pt idx="28">
                  <c:v>3.0215972855570969E-2</c:v>
                </c:pt>
                <c:pt idx="29">
                  <c:v>2.971323515475446E-2</c:v>
                </c:pt>
                <c:pt idx="30">
                  <c:v>2.9886044202056931E-2</c:v>
                </c:pt>
                <c:pt idx="31">
                  <c:v>3.0113049153545669E-2</c:v>
                </c:pt>
                <c:pt idx="32">
                  <c:v>3.0121682992946059E-2</c:v>
                </c:pt>
                <c:pt idx="33">
                  <c:v>2.8704102443482309E-2</c:v>
                </c:pt>
                <c:pt idx="34">
                  <c:v>3.0602403901330309E-2</c:v>
                </c:pt>
                <c:pt idx="35">
                  <c:v>3.1456536502498793E-2</c:v>
                </c:pt>
                <c:pt idx="36">
                  <c:v>3.1516667937295108E-2</c:v>
                </c:pt>
                <c:pt idx="37">
                  <c:v>3.3226585884057157E-2</c:v>
                </c:pt>
                <c:pt idx="38">
                  <c:v>3.3016326225624587E-2</c:v>
                </c:pt>
                <c:pt idx="39">
                  <c:v>3.0075909553288729E-2</c:v>
                </c:pt>
                <c:pt idx="40">
                  <c:v>3.030822714314705E-2</c:v>
                </c:pt>
                <c:pt idx="41">
                  <c:v>3.1273537834975489E-2</c:v>
                </c:pt>
                <c:pt idx="42">
                  <c:v>3.005901690014778E-2</c:v>
                </c:pt>
                <c:pt idx="43">
                  <c:v>3.0573863083611631E-2</c:v>
                </c:pt>
                <c:pt idx="44">
                  <c:v>3.254448153409624E-2</c:v>
                </c:pt>
                <c:pt idx="45">
                  <c:v>3.2420025270644671E-2</c:v>
                </c:pt>
                <c:pt idx="46">
                  <c:v>3.0841270586476861E-2</c:v>
                </c:pt>
                <c:pt idx="47">
                  <c:v>3.4545476528939613E-2</c:v>
                </c:pt>
                <c:pt idx="48">
                  <c:v>3.9378011399146942E-2</c:v>
                </c:pt>
                <c:pt idx="49">
                  <c:v>3.4585845792310457E-2</c:v>
                </c:pt>
                <c:pt idx="50">
                  <c:v>3.6889295123608737E-2</c:v>
                </c:pt>
                <c:pt idx="51">
                  <c:v>3.516974061970235E-2</c:v>
                </c:pt>
                <c:pt idx="52">
                  <c:v>3.3440411726256947E-2</c:v>
                </c:pt>
                <c:pt idx="53">
                  <c:v>3.0775515895011849E-2</c:v>
                </c:pt>
                <c:pt idx="54">
                  <c:v>2.856172806220978E-2</c:v>
                </c:pt>
                <c:pt idx="55">
                  <c:v>2.9260191711765832E-2</c:v>
                </c:pt>
                <c:pt idx="56">
                  <c:v>3.1178692703543051E-2</c:v>
                </c:pt>
                <c:pt idx="57">
                  <c:v>3.7031471681131703E-2</c:v>
                </c:pt>
                <c:pt idx="58">
                  <c:v>3.9909501581123753E-2</c:v>
                </c:pt>
                <c:pt idx="59">
                  <c:v>3.3090443177845791E-2</c:v>
                </c:pt>
                <c:pt idx="60">
                  <c:v>2.0429936026239701E-2</c:v>
                </c:pt>
                <c:pt idx="61">
                  <c:v>1.594233918003489E-2</c:v>
                </c:pt>
                <c:pt idx="62">
                  <c:v>2.6561543645322629E-2</c:v>
                </c:pt>
                <c:pt idx="63">
                  <c:v>3.5068893654044378E-2</c:v>
                </c:pt>
                <c:pt idx="64">
                  <c:v>3.0967228847484721E-2</c:v>
                </c:pt>
                <c:pt idx="65">
                  <c:v>2.602705616299417E-2</c:v>
                </c:pt>
                <c:pt idx="66">
                  <c:v>2.587150374122359E-2</c:v>
                </c:pt>
                <c:pt idx="67">
                  <c:v>2.691260699372984E-2</c:v>
                </c:pt>
                <c:pt idx="68">
                  <c:v>2.5874418970458959E-2</c:v>
                </c:pt>
                <c:pt idx="69">
                  <c:v>2.3193315376484971E-2</c:v>
                </c:pt>
                <c:pt idx="70">
                  <c:v>2.2686657383630061E-2</c:v>
                </c:pt>
                <c:pt idx="71">
                  <c:v>2.6189284143623481E-2</c:v>
                </c:pt>
                <c:pt idx="72">
                  <c:v>2.7336338114147821E-2</c:v>
                </c:pt>
                <c:pt idx="73">
                  <c:v>2.7740990571672709E-2</c:v>
                </c:pt>
                <c:pt idx="74">
                  <c:v>2.877527311984417E-2</c:v>
                </c:pt>
                <c:pt idx="75">
                  <c:v>2.8510329318482429E-2</c:v>
                </c:pt>
                <c:pt idx="76">
                  <c:v>2.7909474603405621E-2</c:v>
                </c:pt>
                <c:pt idx="77">
                  <c:v>2.354699792786898E-2</c:v>
                </c:pt>
                <c:pt idx="78">
                  <c:v>2.3516397046911521E-2</c:v>
                </c:pt>
                <c:pt idx="79">
                  <c:v>2.2115174941799771E-2</c:v>
                </c:pt>
                <c:pt idx="80">
                  <c:v>2.2268202762568419E-2</c:v>
                </c:pt>
                <c:pt idx="81">
                  <c:v>2.1244426266941788E-2</c:v>
                </c:pt>
                <c:pt idx="82">
                  <c:v>3.1177386289303839E-2</c:v>
                </c:pt>
                <c:pt idx="83">
                  <c:v>2.630647686699077E-2</c:v>
                </c:pt>
                <c:pt idx="84">
                  <c:v>2.5524833007679371E-2</c:v>
                </c:pt>
                <c:pt idx="85">
                  <c:v>2.6871534411513371E-2</c:v>
                </c:pt>
                <c:pt idx="86">
                  <c:v>2.6338851413823881E-2</c:v>
                </c:pt>
                <c:pt idx="87">
                  <c:v>2.464870108961555E-2</c:v>
                </c:pt>
                <c:pt idx="88">
                  <c:v>2.6238033764437702E-2</c:v>
                </c:pt>
                <c:pt idx="89">
                  <c:v>3.0191859532939729E-2</c:v>
                </c:pt>
                <c:pt idx="90">
                  <c:v>3.071685169632082E-2</c:v>
                </c:pt>
                <c:pt idx="91">
                  <c:v>3.1790352756617277E-2</c:v>
                </c:pt>
                <c:pt idx="92">
                  <c:v>2.9789485452214989E-2</c:v>
                </c:pt>
                <c:pt idx="93">
                  <c:v>2.7419432969366012E-2</c:v>
                </c:pt>
                <c:pt idx="94">
                  <c:v>2.5375304588112151E-2</c:v>
                </c:pt>
                <c:pt idx="95">
                  <c:v>2.727143524464504E-2</c:v>
                </c:pt>
                <c:pt idx="96">
                  <c:v>2.430072520573312E-2</c:v>
                </c:pt>
                <c:pt idx="97">
                  <c:v>2.5953063658202231E-2</c:v>
                </c:pt>
                <c:pt idx="98">
                  <c:v>2.870484051773789E-2</c:v>
                </c:pt>
                <c:pt idx="99">
                  <c:v>3.0161179689259059E-2</c:v>
                </c:pt>
                <c:pt idx="100">
                  <c:v>3.7558407981539428E-2</c:v>
                </c:pt>
                <c:pt idx="101">
                  <c:v>3.5796970668813113E-2</c:v>
                </c:pt>
              </c:numCache>
            </c:numRef>
          </c:yVal>
          <c:smooth val="0"/>
          <c:extLst>
            <c:ext xmlns:c16="http://schemas.microsoft.com/office/drawing/2014/chart" uri="{C3380CC4-5D6E-409C-BE32-E72D297353CC}">
              <c16:uniqueId val="{00000000-096C-4121-9522-6AB7243CCAAE}"/>
            </c:ext>
          </c:extLst>
        </c:ser>
        <c:ser>
          <c:idx val="1"/>
          <c:order val="1"/>
          <c:tx>
            <c:strRef>
              <c:f>Sheet1!$B$10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6:$A$157</c:f>
              <c:numCache>
                <c:formatCode>General</c:formatCode>
                <c:ptCount val="52"/>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numCache>
            </c:numRef>
          </c:xVal>
          <c:yVal>
            <c:numRef>
              <c:f>Sheet1!$B$106:$B$157</c:f>
              <c:numCache>
                <c:formatCode>General</c:formatCode>
                <c:ptCount val="52"/>
                <c:pt idx="0">
                  <c:v>3.3379430772150658E-2</c:v>
                </c:pt>
                <c:pt idx="1">
                  <c:v>3.5297770608354727E-2</c:v>
                </c:pt>
                <c:pt idx="2">
                  <c:v>3.603152077608085E-2</c:v>
                </c:pt>
                <c:pt idx="3">
                  <c:v>3.0978674639028671E-2</c:v>
                </c:pt>
                <c:pt idx="4">
                  <c:v>2.8133515753956471E-2</c:v>
                </c:pt>
                <c:pt idx="5">
                  <c:v>2.7512069607189622E-2</c:v>
                </c:pt>
                <c:pt idx="6">
                  <c:v>2.753590860107619E-2</c:v>
                </c:pt>
                <c:pt idx="7">
                  <c:v>2.7306049137985969E-2</c:v>
                </c:pt>
                <c:pt idx="8">
                  <c:v>2.683860754587173E-2</c:v>
                </c:pt>
                <c:pt idx="9">
                  <c:v>2.8577136215520639E-2</c:v>
                </c:pt>
                <c:pt idx="10">
                  <c:v>2.9045708307140341E-2</c:v>
                </c:pt>
                <c:pt idx="11">
                  <c:v>3.0151694267354031E-2</c:v>
                </c:pt>
                <c:pt idx="12">
                  <c:v>3.1278274774940933E-2</c:v>
                </c:pt>
                <c:pt idx="13">
                  <c:v>3.2623144271831599E-2</c:v>
                </c:pt>
                <c:pt idx="14">
                  <c:v>3.2081452766552027E-2</c:v>
                </c:pt>
                <c:pt idx="15">
                  <c:v>2.8476513020004542E-2</c:v>
                </c:pt>
                <c:pt idx="16">
                  <c:v>2.889792926206242E-2</c:v>
                </c:pt>
                <c:pt idx="17">
                  <c:v>2.8572345272906731E-2</c:v>
                </c:pt>
                <c:pt idx="18">
                  <c:v>2.758215728763419E-2</c:v>
                </c:pt>
                <c:pt idx="19">
                  <c:v>2.6684207925807661E-2</c:v>
                </c:pt>
                <c:pt idx="20">
                  <c:v>2.507409816863837E-2</c:v>
                </c:pt>
                <c:pt idx="21">
                  <c:v>3.7053775555914388E-2</c:v>
                </c:pt>
                <c:pt idx="22">
                  <c:v>4.1201839145334811E-2</c:v>
                </c:pt>
                <c:pt idx="23">
                  <c:v>3.952108516249337E-2</c:v>
                </c:pt>
                <c:pt idx="24">
                  <c:v>3.301132678213544E-2</c:v>
                </c:pt>
                <c:pt idx="25">
                  <c:v>3.4672282379825628E-2</c:v>
                </c:pt>
                <c:pt idx="26">
                  <c:v>3.6478521099227869E-2</c:v>
                </c:pt>
                <c:pt idx="27">
                  <c:v>3.1719960612283417E-2</c:v>
                </c:pt>
                <c:pt idx="28">
                  <c:v>2.9844699099281859E-2</c:v>
                </c:pt>
                <c:pt idx="29">
                  <c:v>2.824703792935155E-2</c:v>
                </c:pt>
                <c:pt idx="30">
                  <c:v>2.3926861689124789E-2</c:v>
                </c:pt>
                <c:pt idx="31">
                  <c:v>2.077067140814904E-2</c:v>
                </c:pt>
                <c:pt idx="32">
                  <c:v>2.3460558709885782E-2</c:v>
                </c:pt>
                <c:pt idx="33">
                  <c:v>3.042796286207031E-2</c:v>
                </c:pt>
                <c:pt idx="34">
                  <c:v>3.1037706913624011E-2</c:v>
                </c:pt>
                <c:pt idx="35">
                  <c:v>2.928997264422914E-2</c:v>
                </c:pt>
                <c:pt idx="36">
                  <c:v>2.9697936908540851E-2</c:v>
                </c:pt>
                <c:pt idx="37">
                  <c:v>3.0248130900335801E-2</c:v>
                </c:pt>
                <c:pt idx="38">
                  <c:v>3.5070387750061743E-2</c:v>
                </c:pt>
                <c:pt idx="39">
                  <c:v>3.120833777020552E-2</c:v>
                </c:pt>
                <c:pt idx="40">
                  <c:v>2.682679016675503E-2</c:v>
                </c:pt>
                <c:pt idx="41">
                  <c:v>2.4203784771293649E-2</c:v>
                </c:pt>
                <c:pt idx="42">
                  <c:v>2.4098053977022381E-2</c:v>
                </c:pt>
                <c:pt idx="43">
                  <c:v>2.4523754132153151E-2</c:v>
                </c:pt>
                <c:pt idx="44">
                  <c:v>2.2379504666963371E-2</c:v>
                </c:pt>
                <c:pt idx="45">
                  <c:v>2.104065524243157E-2</c:v>
                </c:pt>
                <c:pt idx="46">
                  <c:v>2.202824012890214E-2</c:v>
                </c:pt>
                <c:pt idx="47">
                  <c:v>2.3321641522021069E-2</c:v>
                </c:pt>
                <c:pt idx="48">
                  <c:v>2.5721900660138009E-2</c:v>
                </c:pt>
                <c:pt idx="49">
                  <c:v>2.4967370312040962E-2</c:v>
                </c:pt>
                <c:pt idx="50">
                  <c:v>2.603335979145837E-2</c:v>
                </c:pt>
                <c:pt idx="51">
                  <c:v>2.5702227757022279E-2</c:v>
                </c:pt>
              </c:numCache>
            </c:numRef>
          </c:yVal>
          <c:smooth val="0"/>
          <c:extLst>
            <c:ext xmlns:c16="http://schemas.microsoft.com/office/drawing/2014/chart" uri="{C3380CC4-5D6E-409C-BE32-E72D297353CC}">
              <c16:uniqueId val="{00000002-096C-4121-9522-6AB7243CCAAE}"/>
            </c:ext>
          </c:extLst>
        </c:ser>
        <c:ser>
          <c:idx val="2"/>
          <c:order val="2"/>
          <c:tx>
            <c:strRef>
              <c:f>Sheet1!$B$15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0:$A$161</c:f>
              <c:numCache>
                <c:formatCode>General</c:formatCode>
                <c:ptCount val="2"/>
                <c:pt idx="0">
                  <c:v>0</c:v>
                </c:pt>
                <c:pt idx="1">
                  <c:v>0.1108820277239114</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5-096C-4121-9522-6AB7243CCAAE}"/>
            </c:ext>
          </c:extLst>
        </c:ser>
        <c:ser>
          <c:idx val="3"/>
          <c:order val="3"/>
          <c:tx>
            <c:strRef>
              <c:f>Sheet1!$B$16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0.1108820277239114</c:v>
                </c:pt>
                <c:pt idx="1">
                  <c:v>0.1108820277239114</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8:$A$169</c:f>
              <c:numCache>
                <c:formatCode>General</c:formatCode>
                <c:ptCount val="2"/>
                <c:pt idx="0">
                  <c:v>0</c:v>
                </c:pt>
                <c:pt idx="1">
                  <c:v>0.11732114474802791</c:v>
                </c:pt>
              </c:numCache>
            </c:numRef>
          </c:xVal>
          <c:yVal>
            <c:numRef>
              <c:f>Sheet1!$B$168:$B$169</c:f>
              <c:numCache>
                <c:formatCode>General</c:formatCode>
                <c:ptCount val="2"/>
                <c:pt idx="0">
                  <c:v>3.1101577984060609E-2</c:v>
                </c:pt>
                <c:pt idx="1">
                  <c:v>3.1101577984060609E-2</c:v>
                </c:pt>
              </c:numCache>
            </c:numRef>
          </c:yVal>
          <c:smooth val="0"/>
          <c:extLst>
            <c:ext xmlns:c16="http://schemas.microsoft.com/office/drawing/2014/chart" uri="{C3380CC4-5D6E-409C-BE32-E72D297353CC}">
              <c16:uniqueId val="{0000000D-096C-4121-9522-6AB7243CCAAE}"/>
            </c:ext>
          </c:extLst>
        </c:ser>
        <c:ser>
          <c:idx val="5"/>
          <c:order val="5"/>
          <c:tx>
            <c:strRef>
              <c:f>Sheet1!$B$17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0.11732114474802791</c:v>
                </c:pt>
                <c:pt idx="1">
                  <c:v>0.11732114474802791</c:v>
                </c:pt>
              </c:numCache>
            </c:numRef>
          </c:xVal>
          <c:yVal>
            <c:numRef>
              <c:f>Sheet1!$B$172:$B$173</c:f>
              <c:numCache>
                <c:formatCode>General</c:formatCode>
                <c:ptCount val="2"/>
                <c:pt idx="0">
                  <c:v>3.1101577984060609E-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6:$A$177</c:f>
              <c:numCache>
                <c:formatCode>General</c:formatCode>
                <c:ptCount val="2"/>
                <c:pt idx="0">
                  <c:v>0</c:v>
                </c:pt>
                <c:pt idx="1">
                  <c:v>0.13512234665834599</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5-096C-4121-9522-6AB7243CCAAE}"/>
            </c:ext>
          </c:extLst>
        </c:ser>
        <c:ser>
          <c:idx val="7"/>
          <c:order val="7"/>
          <c:tx>
            <c:strRef>
              <c:f>Sheet1!$B$17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0:$A$181</c:f>
              <c:numCache>
                <c:formatCode>General</c:formatCode>
                <c:ptCount val="2"/>
                <c:pt idx="0">
                  <c:v>0.13512234665834599</c:v>
                </c:pt>
                <c:pt idx="1">
                  <c:v>0.13512234665834599</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4:$A$238</c:f>
              <c:numCache>
                <c:formatCode>General</c:formatCode>
                <c:ptCount val="55"/>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pt idx="52">
                  <c:v>0.11732114474802791</c:v>
                </c:pt>
                <c:pt idx="53">
                  <c:v>0.1108820277239114</c:v>
                </c:pt>
                <c:pt idx="54">
                  <c:v>0.13512234665834599</c:v>
                </c:pt>
              </c:numCache>
            </c:numRef>
          </c:xVal>
          <c:yVal>
            <c:numRef>
              <c:f>Sheet1!$B$184:$B$238</c:f>
              <c:numCache>
                <c:formatCode>General</c:formatCode>
                <c:ptCount val="55"/>
                <c:pt idx="0">
                  <c:v>3.1620668745252142E-2</c:v>
                </c:pt>
                <c:pt idx="1">
                  <c:v>3.1654790245678951E-2</c:v>
                </c:pt>
                <c:pt idx="2">
                  <c:v>3.2783325344754151E-2</c:v>
                </c:pt>
                <c:pt idx="3">
                  <c:v>3.022688607526958E-2</c:v>
                </c:pt>
                <c:pt idx="4">
                  <c:v>2.8540776744242852E-2</c:v>
                </c:pt>
                <c:pt idx="5">
                  <c:v>2.8198639317480349E-2</c:v>
                </c:pt>
                <c:pt idx="6">
                  <c:v>2.8149354774764782E-2</c:v>
                </c:pt>
                <c:pt idx="7">
                  <c:v>2.8199004366077019E-2</c:v>
                </c:pt>
                <c:pt idx="8">
                  <c:v>3.0157282303857849E-2</c:v>
                </c:pt>
                <c:pt idx="9">
                  <c:v>2.9717490317624731E-2</c:v>
                </c:pt>
                <c:pt idx="10">
                  <c:v>2.880162617160174E-2</c:v>
                </c:pt>
                <c:pt idx="11">
                  <c:v>3.0799476543192809E-2</c:v>
                </c:pt>
                <c:pt idx="12">
                  <c:v>2.8080121278043681E-2</c:v>
                </c:pt>
                <c:pt idx="13">
                  <c:v>2.8247092051713919E-2</c:v>
                </c:pt>
                <c:pt idx="14">
                  <c:v>2.639540124703324E-2</c:v>
                </c:pt>
                <c:pt idx="15">
                  <c:v>1.9220157910636009E-2</c:v>
                </c:pt>
                <c:pt idx="16">
                  <c:v>2.9292926757015069E-2</c:v>
                </c:pt>
                <c:pt idx="17">
                  <c:v>2.9541107656935999E-2</c:v>
                </c:pt>
                <c:pt idx="18">
                  <c:v>3.1154431279754719E-2</c:v>
                </c:pt>
                <c:pt idx="19">
                  <c:v>2.9461129531890291E-2</c:v>
                </c:pt>
                <c:pt idx="20">
                  <c:v>3.0313783713891131E-2</c:v>
                </c:pt>
                <c:pt idx="21">
                  <c:v>3.3508822667282862E-2</c:v>
                </c:pt>
                <c:pt idx="22">
                  <c:v>3.4739165058279807E-2</c:v>
                </c:pt>
                <c:pt idx="23">
                  <c:v>3.3561500120319547E-2</c:v>
                </c:pt>
                <c:pt idx="24">
                  <c:v>3.0961282548418428E-2</c:v>
                </c:pt>
                <c:pt idx="25">
                  <c:v>3.325613118609181E-2</c:v>
                </c:pt>
                <c:pt idx="26">
                  <c:v>3.230935798656305E-2</c:v>
                </c:pt>
                <c:pt idx="27">
                  <c:v>3.0186042242885399E-2</c:v>
                </c:pt>
                <c:pt idx="28">
                  <c:v>2.9826699740302571E-2</c:v>
                </c:pt>
                <c:pt idx="29">
                  <c:v>2.8461825588360749E-2</c:v>
                </c:pt>
                <c:pt idx="30">
                  <c:v>2.6667445839888119E-2</c:v>
                </c:pt>
                <c:pt idx="31">
                  <c:v>2.9333797528733729E-2</c:v>
                </c:pt>
                <c:pt idx="32">
                  <c:v>2.8469462201818171E-2</c:v>
                </c:pt>
                <c:pt idx="33">
                  <c:v>3.1278574864500211E-2</c:v>
                </c:pt>
                <c:pt idx="34">
                  <c:v>3.362517184260494E-2</c:v>
                </c:pt>
                <c:pt idx="35">
                  <c:v>3.1259339751075838E-2</c:v>
                </c:pt>
                <c:pt idx="36">
                  <c:v>3.2466678789921898E-2</c:v>
                </c:pt>
                <c:pt idx="37">
                  <c:v>3.336561461501103E-2</c:v>
                </c:pt>
                <c:pt idx="38">
                  <c:v>3.1897061212580187E-2</c:v>
                </c:pt>
                <c:pt idx="39">
                  <c:v>3.0591232179052279E-2</c:v>
                </c:pt>
                <c:pt idx="40">
                  <c:v>2.6490890509876141E-2</c:v>
                </c:pt>
                <c:pt idx="41">
                  <c:v>2.5005655171483909E-2</c:v>
                </c:pt>
                <c:pt idx="42">
                  <c:v>2.471524594195228E-2</c:v>
                </c:pt>
                <c:pt idx="43">
                  <c:v>2.5740688254943609E-2</c:v>
                </c:pt>
                <c:pt idx="44">
                  <c:v>2.534241769031121E-2</c:v>
                </c:pt>
                <c:pt idx="45">
                  <c:v>2.5785004878787769E-2</c:v>
                </c:pt>
                <c:pt idx="46">
                  <c:v>2.6712805427711591E-2</c:v>
                </c:pt>
                <c:pt idx="47">
                  <c:v>2.6016063432124481E-2</c:v>
                </c:pt>
                <c:pt idx="48">
                  <c:v>2.645901837190287E-2</c:v>
                </c:pt>
                <c:pt idx="49">
                  <c:v>2.253097533810856E-2</c:v>
                </c:pt>
                <c:pt idx="50">
                  <c:v>2.3407974477709061E-2</c:v>
                </c:pt>
                <c:pt idx="51">
                  <c:v>2.5267129597052979E-2</c:v>
                </c:pt>
                <c:pt idx="52">
                  <c:v>3.1101577984060599E-2</c:v>
                </c:pt>
                <c:pt idx="53">
                  <c:v>3.3390590546211449E-2</c:v>
                </c:pt>
                <c:pt idx="54">
                  <c:v>2.47735092998775E-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18089307194123574"/>
          <c:min val="7.5697543274504286E-2"/>
        </c:scaling>
        <c:delete val="0"/>
        <c:axPos val="b"/>
        <c:title>
          <c:tx>
            <c:rich>
              <a:bodyPr rot="0" spcFirstLastPara="1" vertOverflow="ellipsis" vert="horz" wrap="square" anchor="ctr" anchorCtr="1"/>
              <a:lstStyle/>
              <a:p>
                <a:pPr>
                  <a:defRPr sz="800" b="0">
                    <a:solidFill>
                      <a:srgbClr val="575555"/>
                    </a:solidFill>
                    <a:latin typeface="Nexa Bold"/>
                  </a:defRPr>
                </a:pPr>
                <a:r>
                  <a:rPr lang="en-US"/>
                  <a:t>Price Ix vs. Gillette Fusion5</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3084051742229012</c:v>
                </c:pt>
                <c:pt idx="1">
                  <c:v>0.31591786351078627</c:v>
                </c:pt>
                <c:pt idx="2">
                  <c:v>0.32058023334902946</c:v>
                </c:pt>
                <c:pt idx="3">
                  <c:v>0.31551466024025998</c:v>
                </c:pt>
                <c:pt idx="4">
                  <c:v>0.31248983133575575</c:v>
                </c:pt>
                <c:pt idx="5">
                  <c:v>0.31209899175068745</c:v>
                </c:pt>
                <c:pt idx="6">
                  <c:v>0.31243915630070307</c:v>
                </c:pt>
                <c:pt idx="7">
                  <c:v>0.3133619793471481</c:v>
                </c:pt>
                <c:pt idx="8">
                  <c:v>0.31671907756813417</c:v>
                </c:pt>
                <c:pt idx="9">
                  <c:v>0.31082322826247477</c:v>
                </c:pt>
                <c:pt idx="10">
                  <c:v>0.31047212859141043</c:v>
                </c:pt>
                <c:pt idx="11">
                  <c:v>0.30851195946449417</c:v>
                </c:pt>
                <c:pt idx="12">
                  <c:v>0.30743476600274672</c:v>
                </c:pt>
                <c:pt idx="13">
                  <c:v>0.30557876018361524</c:v>
                </c:pt>
                <c:pt idx="14">
                  <c:v>0.30608180521683359</c:v>
                </c:pt>
                <c:pt idx="15">
                  <c:v>0.30537959003209308</c:v>
                </c:pt>
                <c:pt idx="16">
                  <c:v>0.30479028449342177</c:v>
                </c:pt>
                <c:pt idx="17">
                  <c:v>0.30535697989231286</c:v>
                </c:pt>
                <c:pt idx="18">
                  <c:v>0.30758733419811496</c:v>
                </c:pt>
                <c:pt idx="19">
                  <c:v>0.30384356418742708</c:v>
                </c:pt>
                <c:pt idx="20">
                  <c:v>0.30255871389344829</c:v>
                </c:pt>
                <c:pt idx="21">
                  <c:v>0.30131492720175512</c:v>
                </c:pt>
                <c:pt idx="22">
                  <c:v>0.30402402402402401</c:v>
                </c:pt>
                <c:pt idx="23">
                  <c:v>0.3041818228723267</c:v>
                </c:pt>
                <c:pt idx="24">
                  <c:v>0.30380595989557657</c:v>
                </c:pt>
                <c:pt idx="25">
                  <c:v>0.30266464709715091</c:v>
                </c:pt>
                <c:pt idx="26">
                  <c:v>0.30198090992432275</c:v>
                </c:pt>
                <c:pt idx="27">
                  <c:v>0.30261018186645428</c:v>
                </c:pt>
                <c:pt idx="28">
                  <c:v>0.30379475941413642</c:v>
                </c:pt>
                <c:pt idx="29">
                  <c:v>0.30510575091808745</c:v>
                </c:pt>
                <c:pt idx="30">
                  <c:v>0.30547263681592041</c:v>
                </c:pt>
                <c:pt idx="31">
                  <c:v>0.30191808942530629</c:v>
                </c:pt>
                <c:pt idx="32">
                  <c:v>0.30004016835781272</c:v>
                </c:pt>
                <c:pt idx="33">
                  <c:v>0.30140260803244229</c:v>
                </c:pt>
                <c:pt idx="34">
                  <c:v>0.30315931183998879</c:v>
                </c:pt>
                <c:pt idx="35">
                  <c:v>0.30423707530585153</c:v>
                </c:pt>
                <c:pt idx="36">
                  <c:v>0.30339368848493503</c:v>
                </c:pt>
                <c:pt idx="37">
                  <c:v>0.30312142377964563</c:v>
                </c:pt>
                <c:pt idx="38">
                  <c:v>0.30421477922015827</c:v>
                </c:pt>
                <c:pt idx="39">
                  <c:v>0.30360700245050509</c:v>
                </c:pt>
                <c:pt idx="40">
                  <c:v>0.30482776067799466</c:v>
                </c:pt>
                <c:pt idx="41">
                  <c:v>0.30496561046396053</c:v>
                </c:pt>
                <c:pt idx="42">
                  <c:v>0.30474260101509459</c:v>
                </c:pt>
                <c:pt idx="43">
                  <c:v>0.30487658997567685</c:v>
                </c:pt>
                <c:pt idx="44">
                  <c:v>0.30417377406912238</c:v>
                </c:pt>
                <c:pt idx="45">
                  <c:v>0.30429474182711519</c:v>
                </c:pt>
                <c:pt idx="46">
                  <c:v>0.30416987037597953</c:v>
                </c:pt>
                <c:pt idx="47">
                  <c:v>0.30177142857142858</c:v>
                </c:pt>
                <c:pt idx="48">
                  <c:v>0.30034428178139644</c:v>
                </c:pt>
                <c:pt idx="49">
                  <c:v>0.30020553910468561</c:v>
                </c:pt>
                <c:pt idx="50">
                  <c:v>0.30020393921120919</c:v>
                </c:pt>
                <c:pt idx="51">
                  <c:v>0.30029572161037082</c:v>
                </c:pt>
                <c:pt idx="52">
                  <c:v>0.30085731375024921</c:v>
                </c:pt>
                <c:pt idx="53">
                  <c:v>0.30374794069192751</c:v>
                </c:pt>
                <c:pt idx="54">
                  <c:v>0.30475569923731716</c:v>
                </c:pt>
                <c:pt idx="55">
                  <c:v>0.30484411191281596</c:v>
                </c:pt>
                <c:pt idx="56">
                  <c:v>0.29666067320451317</c:v>
                </c:pt>
                <c:pt idx="57">
                  <c:v>0.25400835544515327</c:v>
                </c:pt>
                <c:pt idx="58">
                  <c:v>0.23382400369980466</c:v>
                </c:pt>
                <c:pt idx="59">
                  <c:v>0.23943026116791946</c:v>
                </c:pt>
                <c:pt idx="60">
                  <c:v>0.25369491863085675</c:v>
                </c:pt>
                <c:pt idx="61">
                  <c:v>0.26335839430757868</c:v>
                </c:pt>
                <c:pt idx="62">
                  <c:v>0.24811366501794199</c:v>
                </c:pt>
                <c:pt idx="63">
                  <c:v>0.25331883600138116</c:v>
                </c:pt>
                <c:pt idx="64">
                  <c:v>0.27606841827999473</c:v>
                </c:pt>
                <c:pt idx="65">
                  <c:v>0.28160478817918266</c:v>
                </c:pt>
                <c:pt idx="66">
                  <c:v>0.29229782021117312</c:v>
                </c:pt>
                <c:pt idx="67">
                  <c:v>0.30127414335954045</c:v>
                </c:pt>
                <c:pt idx="68">
                  <c:v>0.30305886879569066</c:v>
                </c:pt>
                <c:pt idx="69">
                  <c:v>0.30492991022208221</c:v>
                </c:pt>
                <c:pt idx="70">
                  <c:v>0.30628978911194849</c:v>
                </c:pt>
                <c:pt idx="71">
                  <c:v>0.30507690665654685</c:v>
                </c:pt>
                <c:pt idx="72">
                  <c:v>0.30607670596048481</c:v>
                </c:pt>
                <c:pt idx="73">
                  <c:v>0.3116373241246056</c:v>
                </c:pt>
                <c:pt idx="74">
                  <c:v>0.31424842998124136</c:v>
                </c:pt>
                <c:pt idx="75">
                  <c:v>0.31320176754871626</c:v>
                </c:pt>
                <c:pt idx="76">
                  <c:v>0.31380953870863448</c:v>
                </c:pt>
                <c:pt idx="77">
                  <c:v>0.32590348409435188</c:v>
                </c:pt>
                <c:pt idx="78">
                  <c:v>0.33061711871301291</c:v>
                </c:pt>
                <c:pt idx="79">
                  <c:v>0.33376024237416513</c:v>
                </c:pt>
                <c:pt idx="80">
                  <c:v>0.334863282523373</c:v>
                </c:pt>
                <c:pt idx="81">
                  <c:v>0.33732775797715603</c:v>
                </c:pt>
                <c:pt idx="82">
                  <c:v>0.3340239432262419</c:v>
                </c:pt>
                <c:pt idx="83">
                  <c:v>0.32813911724353323</c:v>
                </c:pt>
                <c:pt idx="84">
                  <c:v>0.32451377453380215</c:v>
                </c:pt>
                <c:pt idx="85">
                  <c:v>0.3242920313313794</c:v>
                </c:pt>
                <c:pt idx="86">
                  <c:v>0.32834757834757833</c:v>
                </c:pt>
                <c:pt idx="87">
                  <c:v>0.33024565689467972</c:v>
                </c:pt>
                <c:pt idx="88">
                  <c:v>0.33047076978575868</c:v>
                </c:pt>
                <c:pt idx="89">
                  <c:v>0.32960364974033468</c:v>
                </c:pt>
                <c:pt idx="90">
                  <c:v>0.32877782475231143</c:v>
                </c:pt>
                <c:pt idx="91">
                  <c:v>0.33265505668454848</c:v>
                </c:pt>
                <c:pt idx="92">
                  <c:v>0.33383080669232584</c:v>
                </c:pt>
                <c:pt idx="93">
                  <c:v>0.33445095599479496</c:v>
                </c:pt>
                <c:pt idx="94">
                  <c:v>0.33425385899470356</c:v>
                </c:pt>
                <c:pt idx="95">
                  <c:v>0.33302358553829059</c:v>
                </c:pt>
                <c:pt idx="96">
                  <c:v>0.3331230702831911</c:v>
                </c:pt>
                <c:pt idx="97">
                  <c:v>0.33248279672509923</c:v>
                </c:pt>
                <c:pt idx="98">
                  <c:v>0.33184443040565192</c:v>
                </c:pt>
                <c:pt idx="99">
                  <c:v>0.31234357273380736</c:v>
                </c:pt>
                <c:pt idx="100">
                  <c:v>0.30123106937136429</c:v>
                </c:pt>
                <c:pt idx="101">
                  <c:v>0.30056872662328632</c:v>
                </c:pt>
              </c:numCache>
            </c:numRef>
          </c:xVal>
          <c:yVal>
            <c:numRef>
              <c:f>Sheet1!$B$2:$B$103</c:f>
              <c:numCache>
                <c:formatCode>General</c:formatCode>
                <c:ptCount val="102"/>
                <c:pt idx="0">
                  <c:v>3.1549194168607006E-2</c:v>
                </c:pt>
                <c:pt idx="1">
                  <c:v>2.5925076493376501E-2</c:v>
                </c:pt>
                <c:pt idx="2">
                  <c:v>1.9457371147598559E-2</c:v>
                </c:pt>
                <c:pt idx="3">
                  <c:v>2.1005226955186754E-2</c:v>
                </c:pt>
                <c:pt idx="4">
                  <c:v>2.3683174888924508E-2</c:v>
                </c:pt>
                <c:pt idx="5">
                  <c:v>2.4814911692122233E-2</c:v>
                </c:pt>
                <c:pt idx="6">
                  <c:v>2.2966901329024649E-2</c:v>
                </c:pt>
                <c:pt idx="7">
                  <c:v>2.1693356757167159E-2</c:v>
                </c:pt>
                <c:pt idx="8">
                  <c:v>2.508474647577718E-2</c:v>
                </c:pt>
                <c:pt idx="9">
                  <c:v>3.2219360006132694E-2</c:v>
                </c:pt>
                <c:pt idx="10">
                  <c:v>3.3455366889535383E-2</c:v>
                </c:pt>
                <c:pt idx="11">
                  <c:v>3.0774205038558523E-2</c:v>
                </c:pt>
                <c:pt idx="12">
                  <c:v>3.166311843777065E-2</c:v>
                </c:pt>
                <c:pt idx="13">
                  <c:v>2.9573633835338665E-2</c:v>
                </c:pt>
                <c:pt idx="14">
                  <c:v>2.9438294749618857E-2</c:v>
                </c:pt>
                <c:pt idx="15">
                  <c:v>3.2326555355538883E-2</c:v>
                </c:pt>
                <c:pt idx="16">
                  <c:v>3.0454183212358377E-2</c:v>
                </c:pt>
                <c:pt idx="17">
                  <c:v>3.0177244147381318E-2</c:v>
                </c:pt>
                <c:pt idx="18">
                  <c:v>3.0949579617420526E-2</c:v>
                </c:pt>
                <c:pt idx="19">
                  <c:v>3.3044676701229417E-2</c:v>
                </c:pt>
                <c:pt idx="20">
                  <c:v>3.4502368865567047E-2</c:v>
                </c:pt>
                <c:pt idx="21">
                  <c:v>3.8171203781773647E-2</c:v>
                </c:pt>
                <c:pt idx="22">
                  <c:v>3.2633840746857157E-2</c:v>
                </c:pt>
                <c:pt idx="23">
                  <c:v>3.22851825867847E-2</c:v>
                </c:pt>
                <c:pt idx="24">
                  <c:v>3.4293774474369265E-2</c:v>
                </c:pt>
                <c:pt idx="25">
                  <c:v>3.3493331489235549E-2</c:v>
                </c:pt>
                <c:pt idx="26">
                  <c:v>3.2256296982208908E-2</c:v>
                </c:pt>
                <c:pt idx="27">
                  <c:v>3.256327154323236E-2</c:v>
                </c:pt>
                <c:pt idx="28">
                  <c:v>3.0215972855570965E-2</c:v>
                </c:pt>
                <c:pt idx="29">
                  <c:v>2.971323515475446E-2</c:v>
                </c:pt>
                <c:pt idx="30">
                  <c:v>2.9886044202056927E-2</c:v>
                </c:pt>
                <c:pt idx="31">
                  <c:v>3.0113049153545669E-2</c:v>
                </c:pt>
                <c:pt idx="32">
                  <c:v>3.0121682992946059E-2</c:v>
                </c:pt>
                <c:pt idx="33">
                  <c:v>2.8704102443482309E-2</c:v>
                </c:pt>
                <c:pt idx="34">
                  <c:v>3.0602403901330309E-2</c:v>
                </c:pt>
                <c:pt idx="35">
                  <c:v>3.1456536502498786E-2</c:v>
                </c:pt>
                <c:pt idx="36">
                  <c:v>3.1516667937295108E-2</c:v>
                </c:pt>
                <c:pt idx="37">
                  <c:v>3.3226585884057164E-2</c:v>
                </c:pt>
                <c:pt idx="38">
                  <c:v>3.3016326225624587E-2</c:v>
                </c:pt>
                <c:pt idx="39">
                  <c:v>3.0075909553288729E-2</c:v>
                </c:pt>
                <c:pt idx="40">
                  <c:v>3.0308227143147046E-2</c:v>
                </c:pt>
                <c:pt idx="41">
                  <c:v>3.1273537834975489E-2</c:v>
                </c:pt>
                <c:pt idx="42">
                  <c:v>3.0059016900147784E-2</c:v>
                </c:pt>
                <c:pt idx="43">
                  <c:v>3.0573863083611635E-2</c:v>
                </c:pt>
                <c:pt idx="44">
                  <c:v>3.254448153409624E-2</c:v>
                </c:pt>
                <c:pt idx="45">
                  <c:v>3.2420025270644671E-2</c:v>
                </c:pt>
                <c:pt idx="46">
                  <c:v>3.0841270586476857E-2</c:v>
                </c:pt>
                <c:pt idx="47">
                  <c:v>3.4545476528939606E-2</c:v>
                </c:pt>
                <c:pt idx="48">
                  <c:v>3.9378011399146942E-2</c:v>
                </c:pt>
                <c:pt idx="49">
                  <c:v>3.4585845792310457E-2</c:v>
                </c:pt>
                <c:pt idx="50">
                  <c:v>3.6889295123608744E-2</c:v>
                </c:pt>
                <c:pt idx="51">
                  <c:v>3.516974061970235E-2</c:v>
                </c:pt>
                <c:pt idx="52">
                  <c:v>3.3440411726256954E-2</c:v>
                </c:pt>
                <c:pt idx="53">
                  <c:v>3.0775515895011849E-2</c:v>
                </c:pt>
                <c:pt idx="54">
                  <c:v>2.856172806220978E-2</c:v>
                </c:pt>
                <c:pt idx="55">
                  <c:v>2.9260191711765828E-2</c:v>
                </c:pt>
                <c:pt idx="56">
                  <c:v>3.1178692703543048E-2</c:v>
                </c:pt>
                <c:pt idx="57">
                  <c:v>3.7031471681131703E-2</c:v>
                </c:pt>
                <c:pt idx="58">
                  <c:v>3.9909501581123753E-2</c:v>
                </c:pt>
                <c:pt idx="59">
                  <c:v>3.3090443177845791E-2</c:v>
                </c:pt>
                <c:pt idx="60">
                  <c:v>2.0429936026239697E-2</c:v>
                </c:pt>
                <c:pt idx="61">
                  <c:v>1.5942339180034886E-2</c:v>
                </c:pt>
                <c:pt idx="62">
                  <c:v>2.6561543645322632E-2</c:v>
                </c:pt>
                <c:pt idx="63">
                  <c:v>3.5068893654044385E-2</c:v>
                </c:pt>
                <c:pt idx="64">
                  <c:v>3.0967228847484717E-2</c:v>
                </c:pt>
                <c:pt idx="65">
                  <c:v>2.6027056162994167E-2</c:v>
                </c:pt>
                <c:pt idx="66">
                  <c:v>2.5871503741223587E-2</c:v>
                </c:pt>
                <c:pt idx="67">
                  <c:v>2.691260699372984E-2</c:v>
                </c:pt>
                <c:pt idx="68">
                  <c:v>2.5874418970458959E-2</c:v>
                </c:pt>
                <c:pt idx="69">
                  <c:v>2.3193315376484971E-2</c:v>
                </c:pt>
                <c:pt idx="70">
                  <c:v>2.2686657383630057E-2</c:v>
                </c:pt>
                <c:pt idx="71">
                  <c:v>2.6189284143623485E-2</c:v>
                </c:pt>
                <c:pt idx="72">
                  <c:v>2.7336338114147821E-2</c:v>
                </c:pt>
                <c:pt idx="73">
                  <c:v>2.7740990571672709E-2</c:v>
                </c:pt>
                <c:pt idx="74">
                  <c:v>2.8775273119844166E-2</c:v>
                </c:pt>
                <c:pt idx="75">
                  <c:v>2.8510329318482425E-2</c:v>
                </c:pt>
                <c:pt idx="76">
                  <c:v>2.7909474603405617E-2</c:v>
                </c:pt>
                <c:pt idx="77">
                  <c:v>2.354699792786898E-2</c:v>
                </c:pt>
                <c:pt idx="78">
                  <c:v>2.3516397046911525E-2</c:v>
                </c:pt>
                <c:pt idx="79">
                  <c:v>2.2115174941799768E-2</c:v>
                </c:pt>
                <c:pt idx="80">
                  <c:v>2.2268202762568419E-2</c:v>
                </c:pt>
                <c:pt idx="81">
                  <c:v>2.1244426266941792E-2</c:v>
                </c:pt>
                <c:pt idx="82">
                  <c:v>3.1177386289303839E-2</c:v>
                </c:pt>
                <c:pt idx="83">
                  <c:v>2.6306476866990773E-2</c:v>
                </c:pt>
                <c:pt idx="84">
                  <c:v>2.5524833007679375E-2</c:v>
                </c:pt>
                <c:pt idx="85">
                  <c:v>2.6871534411513368E-2</c:v>
                </c:pt>
                <c:pt idx="86">
                  <c:v>2.6338851413823878E-2</c:v>
                </c:pt>
                <c:pt idx="87">
                  <c:v>2.4648701089615546E-2</c:v>
                </c:pt>
                <c:pt idx="88">
                  <c:v>2.6238033764437702E-2</c:v>
                </c:pt>
                <c:pt idx="89">
                  <c:v>3.0191859532939729E-2</c:v>
                </c:pt>
                <c:pt idx="90">
                  <c:v>3.0716851696320817E-2</c:v>
                </c:pt>
                <c:pt idx="91">
                  <c:v>3.1790352756617284E-2</c:v>
                </c:pt>
                <c:pt idx="92">
                  <c:v>2.9789485452214992E-2</c:v>
                </c:pt>
                <c:pt idx="93">
                  <c:v>2.7419432969366012E-2</c:v>
                </c:pt>
                <c:pt idx="94">
                  <c:v>2.5375304588112154E-2</c:v>
                </c:pt>
                <c:pt idx="95">
                  <c:v>2.7271435244645044E-2</c:v>
                </c:pt>
                <c:pt idx="96">
                  <c:v>2.4300725205733124E-2</c:v>
                </c:pt>
                <c:pt idx="97">
                  <c:v>2.5953063658202231E-2</c:v>
                </c:pt>
                <c:pt idx="98">
                  <c:v>2.870484051773789E-2</c:v>
                </c:pt>
                <c:pt idx="99">
                  <c:v>3.0161179689259059E-2</c:v>
                </c:pt>
                <c:pt idx="100">
                  <c:v>3.7558407981539428E-2</c:v>
                </c:pt>
                <c:pt idx="101">
                  <c:v>3.5796970668813106E-2</c:v>
                </c:pt>
              </c:numCache>
            </c:numRef>
          </c:yVal>
          <c:smooth val="0"/>
          <c:extLst>
            <c:ext xmlns:c16="http://schemas.microsoft.com/office/drawing/2014/chart" uri="{C3380CC4-5D6E-409C-BE32-E72D297353CC}">
              <c16:uniqueId val="{00000000-F32D-48B7-BC20-E66FC6253BAD}"/>
            </c:ext>
          </c:extLst>
        </c:ser>
        <c:ser>
          <c:idx val="1"/>
          <c:order val="1"/>
          <c:tx>
            <c:strRef>
              <c:f>Sheet1!$B$10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6:$A$157</c:f>
              <c:numCache>
                <c:formatCode>General</c:formatCode>
                <c:ptCount val="52"/>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numCache>
            </c:numRef>
          </c:xVal>
          <c:yVal>
            <c:numRef>
              <c:f>Sheet1!$B$106:$B$157</c:f>
              <c:numCache>
                <c:formatCode>General</c:formatCode>
                <c:ptCount val="52"/>
                <c:pt idx="0">
                  <c:v>3.3379430772150658E-2</c:v>
                </c:pt>
                <c:pt idx="1">
                  <c:v>3.5297770608354727E-2</c:v>
                </c:pt>
                <c:pt idx="2">
                  <c:v>3.603152077608085E-2</c:v>
                </c:pt>
                <c:pt idx="3">
                  <c:v>3.0978674639028675E-2</c:v>
                </c:pt>
                <c:pt idx="4">
                  <c:v>2.8133515753956471E-2</c:v>
                </c:pt>
                <c:pt idx="5">
                  <c:v>2.7512069607189618E-2</c:v>
                </c:pt>
                <c:pt idx="6">
                  <c:v>2.7535908601076187E-2</c:v>
                </c:pt>
                <c:pt idx="7">
                  <c:v>2.7306049137985969E-2</c:v>
                </c:pt>
                <c:pt idx="8">
                  <c:v>2.6838607545871734E-2</c:v>
                </c:pt>
                <c:pt idx="9">
                  <c:v>2.8577136215520643E-2</c:v>
                </c:pt>
                <c:pt idx="10">
                  <c:v>2.9045708307140341E-2</c:v>
                </c:pt>
                <c:pt idx="11">
                  <c:v>3.0151694267354034E-2</c:v>
                </c:pt>
                <c:pt idx="12">
                  <c:v>3.1278274774940926E-2</c:v>
                </c:pt>
                <c:pt idx="13">
                  <c:v>3.2623144271831599E-2</c:v>
                </c:pt>
                <c:pt idx="14">
                  <c:v>3.2081452766552027E-2</c:v>
                </c:pt>
                <c:pt idx="15">
                  <c:v>2.8476513020004538E-2</c:v>
                </c:pt>
                <c:pt idx="16">
                  <c:v>2.8897929262062423E-2</c:v>
                </c:pt>
                <c:pt idx="17">
                  <c:v>2.8572345272906727E-2</c:v>
                </c:pt>
                <c:pt idx="18">
                  <c:v>2.7582157287634194E-2</c:v>
                </c:pt>
                <c:pt idx="19">
                  <c:v>2.6684207925807661E-2</c:v>
                </c:pt>
                <c:pt idx="20">
                  <c:v>2.5074098168638374E-2</c:v>
                </c:pt>
                <c:pt idx="21">
                  <c:v>3.7053775555914395E-2</c:v>
                </c:pt>
                <c:pt idx="22">
                  <c:v>4.1201839145334811E-2</c:v>
                </c:pt>
                <c:pt idx="23">
                  <c:v>3.952108516249337E-2</c:v>
                </c:pt>
                <c:pt idx="24">
                  <c:v>3.301132678213544E-2</c:v>
                </c:pt>
                <c:pt idx="25">
                  <c:v>3.4672282379825628E-2</c:v>
                </c:pt>
                <c:pt idx="26">
                  <c:v>3.6478521099227869E-2</c:v>
                </c:pt>
                <c:pt idx="27">
                  <c:v>3.1719960612283417E-2</c:v>
                </c:pt>
                <c:pt idx="28">
                  <c:v>2.9844699099281863E-2</c:v>
                </c:pt>
                <c:pt idx="29">
                  <c:v>2.8247037929351546E-2</c:v>
                </c:pt>
                <c:pt idx="30">
                  <c:v>2.3926861689124793E-2</c:v>
                </c:pt>
                <c:pt idx="31">
                  <c:v>2.0770671408149036E-2</c:v>
                </c:pt>
                <c:pt idx="32">
                  <c:v>2.3460558709885785E-2</c:v>
                </c:pt>
                <c:pt idx="33">
                  <c:v>3.0427962862070307E-2</c:v>
                </c:pt>
                <c:pt idx="34">
                  <c:v>3.1037706913624008E-2</c:v>
                </c:pt>
                <c:pt idx="35">
                  <c:v>2.928997264422914E-2</c:v>
                </c:pt>
                <c:pt idx="36">
                  <c:v>2.9697936908540855E-2</c:v>
                </c:pt>
                <c:pt idx="37">
                  <c:v>3.0248130900335804E-2</c:v>
                </c:pt>
                <c:pt idx="38">
                  <c:v>3.5070387750061743E-2</c:v>
                </c:pt>
                <c:pt idx="39">
                  <c:v>3.1208337770205517E-2</c:v>
                </c:pt>
                <c:pt idx="40">
                  <c:v>2.6826790166755026E-2</c:v>
                </c:pt>
                <c:pt idx="41">
                  <c:v>2.4203784771293646E-2</c:v>
                </c:pt>
                <c:pt idx="42">
                  <c:v>2.4098053977022377E-2</c:v>
                </c:pt>
                <c:pt idx="43">
                  <c:v>2.4523754132153155E-2</c:v>
                </c:pt>
                <c:pt idx="44">
                  <c:v>2.2379504666963371E-2</c:v>
                </c:pt>
                <c:pt idx="45">
                  <c:v>2.104065524243157E-2</c:v>
                </c:pt>
                <c:pt idx="46">
                  <c:v>2.2028240128902143E-2</c:v>
                </c:pt>
                <c:pt idx="47">
                  <c:v>2.3321641522021073E-2</c:v>
                </c:pt>
                <c:pt idx="48">
                  <c:v>2.5721900660138006E-2</c:v>
                </c:pt>
                <c:pt idx="49">
                  <c:v>2.4967370312040958E-2</c:v>
                </c:pt>
                <c:pt idx="50">
                  <c:v>2.6033359791458374E-2</c:v>
                </c:pt>
                <c:pt idx="51">
                  <c:v>2.5702227757022279E-2</c:v>
                </c:pt>
              </c:numCache>
            </c:numRef>
          </c:yVal>
          <c:smooth val="0"/>
          <c:extLst>
            <c:ext xmlns:c16="http://schemas.microsoft.com/office/drawing/2014/chart" uri="{C3380CC4-5D6E-409C-BE32-E72D297353CC}">
              <c16:uniqueId val="{00000002-F32D-48B7-BC20-E66FC6253BAD}"/>
            </c:ext>
          </c:extLst>
        </c:ser>
        <c:ser>
          <c:idx val="2"/>
          <c:order val="2"/>
          <c:tx>
            <c:strRef>
              <c:f>Sheet1!$B$159</c:f>
              <c:strCache>
                <c:ptCount val="1"/>
                <c:pt idx="0">
                  <c:v>Custom Linep3yQ</c:v>
                </c:pt>
              </c:strCache>
            </c:strRef>
          </c:tx>
          <c:spPr>
            <a:ln w="19050" cap="rnd">
              <a:solidFill>
                <a:srgbClr val="C00000"/>
              </a:solidFill>
              <a:prstDash val="sysDot"/>
              <a:round/>
            </a:ln>
            <a:effectLst/>
          </c:spPr>
          <c:marker>
            <c:symbol val="none"/>
          </c:marker>
          <c:xVal>
            <c:numRef>
              <c:f>Sheet1!$A$160:$A$161</c:f>
              <c:numCache>
                <c:formatCode>General</c:formatCode>
                <c:ptCount val="2"/>
                <c:pt idx="0">
                  <c:v>0</c:v>
                </c:pt>
                <c:pt idx="1">
                  <c:v>0.27575744047645689</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3-F32D-48B7-BC20-E66FC6253BAD}"/>
            </c:ext>
          </c:extLst>
        </c:ser>
        <c:ser>
          <c:idx val="3"/>
          <c:order val="3"/>
          <c:tx>
            <c:strRef>
              <c:f>Sheet1!$B$16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0.27575744047645689</c:v>
                </c:pt>
                <c:pt idx="1">
                  <c:v>0.27575744047645689</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8:$A$169</c:f>
              <c:numCache>
                <c:formatCode>General</c:formatCode>
                <c:ptCount val="2"/>
                <c:pt idx="0">
                  <c:v>0</c:v>
                </c:pt>
                <c:pt idx="1">
                  <c:v>0.28987004975079905</c:v>
                </c:pt>
              </c:numCache>
            </c:numRef>
          </c:xVal>
          <c:yVal>
            <c:numRef>
              <c:f>Sheet1!$B$168:$B$169</c:f>
              <c:numCache>
                <c:formatCode>General</c:formatCode>
                <c:ptCount val="2"/>
                <c:pt idx="0">
                  <c:v>3.1101577984060606E-2</c:v>
                </c:pt>
                <c:pt idx="1">
                  <c:v>3.1101577984060606E-2</c:v>
                </c:pt>
              </c:numCache>
            </c:numRef>
          </c:yVal>
          <c:smooth val="0"/>
          <c:extLst>
            <c:ext xmlns:c16="http://schemas.microsoft.com/office/drawing/2014/chart" uri="{C3380CC4-5D6E-409C-BE32-E72D297353CC}">
              <c16:uniqueId val="{0000000A-F32D-48B7-BC20-E66FC6253BAD}"/>
            </c:ext>
          </c:extLst>
        </c:ser>
        <c:ser>
          <c:idx val="5"/>
          <c:order val="5"/>
          <c:tx>
            <c:strRef>
              <c:f>Sheet1!$B$17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0.28987004975079905</c:v>
                </c:pt>
                <c:pt idx="1">
                  <c:v>0.28987004975079905</c:v>
                </c:pt>
              </c:numCache>
            </c:numRef>
          </c:xVal>
          <c:yVal>
            <c:numRef>
              <c:f>Sheet1!$B$172:$B$173</c:f>
              <c:numCache>
                <c:formatCode>General</c:formatCode>
                <c:ptCount val="2"/>
                <c:pt idx="0">
                  <c:v>3.1101577984060606E-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6:$A$177</c:f>
              <c:numCache>
                <c:formatCode>General</c:formatCode>
                <c:ptCount val="2"/>
                <c:pt idx="0">
                  <c:v>0</c:v>
                </c:pt>
                <c:pt idx="1">
                  <c:v>0.32888493428125432</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1-F32D-48B7-BC20-E66FC6253BAD}"/>
            </c:ext>
          </c:extLst>
        </c:ser>
        <c:ser>
          <c:idx val="7"/>
          <c:order val="7"/>
          <c:tx>
            <c:strRef>
              <c:f>Sheet1!$B$17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0:$A$181</c:f>
              <c:numCache>
                <c:formatCode>General</c:formatCode>
                <c:ptCount val="2"/>
                <c:pt idx="0">
                  <c:v>0.32888493428125432</c:v>
                </c:pt>
                <c:pt idx="1">
                  <c:v>0.32888493428125432</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4:$A$238</c:f>
              <c:numCache>
                <c:formatCode>General</c:formatCode>
                <c:ptCount val="55"/>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pt idx="52">
                  <c:v>0.28987004975079905</c:v>
                </c:pt>
                <c:pt idx="53">
                  <c:v>0.27575744047645689</c:v>
                </c:pt>
                <c:pt idx="54">
                  <c:v>0.32888493428125432</c:v>
                </c:pt>
              </c:numCache>
            </c:numRef>
          </c:xVal>
          <c:yVal>
            <c:numRef>
              <c:f>Sheet1!$B$184:$B$238</c:f>
              <c:numCache>
                <c:formatCode>General</c:formatCode>
                <c:ptCount val="55"/>
                <c:pt idx="0">
                  <c:v>2.9413873016704839E-2</c:v>
                </c:pt>
                <c:pt idx="1">
                  <c:v>2.9896344890080709E-2</c:v>
                </c:pt>
                <c:pt idx="2">
                  <c:v>3.0155656486461964E-2</c:v>
                </c:pt>
                <c:pt idx="3">
                  <c:v>2.7109900331363727E-2</c:v>
                </c:pt>
                <c:pt idx="4">
                  <c:v>2.4371775225560388E-2</c:v>
                </c:pt>
                <c:pt idx="5">
                  <c:v>2.4094268404047922E-2</c:v>
                </c:pt>
                <c:pt idx="6">
                  <c:v>2.4322183284519114E-2</c:v>
                </c:pt>
                <c:pt idx="7">
                  <c:v>2.5263903460272262E-2</c:v>
                </c:pt>
                <c:pt idx="8">
                  <c:v>2.7533717749061021E-2</c:v>
                </c:pt>
                <c:pt idx="9">
                  <c:v>2.9136059572005948E-2</c:v>
                </c:pt>
                <c:pt idx="10">
                  <c:v>2.8439725189245424E-2</c:v>
                </c:pt>
                <c:pt idx="11">
                  <c:v>2.8481575446516888E-2</c:v>
                </c:pt>
                <c:pt idx="12">
                  <c:v>3.0108594349578348E-2</c:v>
                </c:pt>
                <c:pt idx="13">
                  <c:v>3.169054387055209E-2</c:v>
                </c:pt>
                <c:pt idx="14">
                  <c:v>3.1465934595702259E-2</c:v>
                </c:pt>
                <c:pt idx="15">
                  <c:v>3.1477667841337743E-2</c:v>
                </c:pt>
                <c:pt idx="16">
                  <c:v>3.1573121681829512E-2</c:v>
                </c:pt>
                <c:pt idx="17">
                  <c:v>3.1532924296196564E-2</c:v>
                </c:pt>
                <c:pt idx="18">
                  <c:v>3.0515660900336583E-2</c:v>
                </c:pt>
                <c:pt idx="19">
                  <c:v>3.0211789143868836E-2</c:v>
                </c:pt>
                <c:pt idx="20">
                  <c:v>2.8955614795748236E-2</c:v>
                </c:pt>
                <c:pt idx="21">
                  <c:v>3.2772131418724967E-2</c:v>
                </c:pt>
                <c:pt idx="22">
                  <c:v>3.3542665870490845E-2</c:v>
                </c:pt>
                <c:pt idx="23">
                  <c:v>3.3435184307609174E-2</c:v>
                </c:pt>
                <c:pt idx="24">
                  <c:v>3.268271460365052E-2</c:v>
                </c:pt>
                <c:pt idx="25">
                  <c:v>3.3870059534782497E-2</c:v>
                </c:pt>
                <c:pt idx="26">
                  <c:v>3.3073079926514877E-2</c:v>
                </c:pt>
                <c:pt idx="27">
                  <c:v>3.1808643842456727E-2</c:v>
                </c:pt>
                <c:pt idx="28">
                  <c:v>3.0502176751221188E-2</c:v>
                </c:pt>
                <c:pt idx="29">
                  <c:v>2.7906678470255915E-2</c:v>
                </c:pt>
                <c:pt idx="30">
                  <c:v>2.5033266393526828E-2</c:v>
                </c:pt>
                <c:pt idx="31">
                  <c:v>2.630903103630991E-2</c:v>
                </c:pt>
                <c:pt idx="32">
                  <c:v>2.8693045313762239E-2</c:v>
                </c:pt>
                <c:pt idx="33">
                  <c:v>3.2596808075387743E-2</c:v>
                </c:pt>
                <c:pt idx="34">
                  <c:v>3.3462836223474769E-2</c:v>
                </c:pt>
                <c:pt idx="35">
                  <c:v>3.1780988069129081E-2</c:v>
                </c:pt>
                <c:pt idx="36">
                  <c:v>3.2997078119396075E-2</c:v>
                </c:pt>
                <c:pt idx="37">
                  <c:v>3.4241810296995578E-2</c:v>
                </c:pt>
                <c:pt idx="38">
                  <c:v>3.5259393566231922E-2</c:v>
                </c:pt>
                <c:pt idx="39">
                  <c:v>3.2524924643797831E-2</c:v>
                </c:pt>
                <c:pt idx="40">
                  <c:v>2.8308242375685959E-2</c:v>
                </c:pt>
                <c:pt idx="41">
                  <c:v>2.54404048951909E-2</c:v>
                </c:pt>
                <c:pt idx="42">
                  <c:v>2.3287513921568817E-2</c:v>
                </c:pt>
                <c:pt idx="43">
                  <c:v>2.3365554652546534E-2</c:v>
                </c:pt>
                <c:pt idx="44">
                  <c:v>2.3054756675168077E-2</c:v>
                </c:pt>
                <c:pt idx="45">
                  <c:v>2.3566114628330095E-2</c:v>
                </c:pt>
                <c:pt idx="46">
                  <c:v>2.5888630394799238E-2</c:v>
                </c:pt>
                <c:pt idx="47">
                  <c:v>2.6265547596405793E-2</c:v>
                </c:pt>
                <c:pt idx="48">
                  <c:v>2.7412822111043234E-2</c:v>
                </c:pt>
                <c:pt idx="49">
                  <c:v>2.5962622488181153E-2</c:v>
                </c:pt>
                <c:pt idx="50">
                  <c:v>2.4525712064247307E-2</c:v>
                </c:pt>
                <c:pt idx="51">
                  <c:v>2.4473274634488791E-2</c:v>
                </c:pt>
                <c:pt idx="52">
                  <c:v>3.1101577984060602E-2</c:v>
                </c:pt>
                <c:pt idx="53">
                  <c:v>3.3390590546211449E-2</c:v>
                </c:pt>
                <c:pt idx="54">
                  <c:v>2.4773509299877497E-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40737801608579088"/>
          <c:min val="0.18705920295984374"/>
        </c:scaling>
        <c:delete val="0"/>
        <c:axPos val="b"/>
        <c:title>
          <c:tx>
            <c:rich>
              <a:bodyPr rot="0" spcFirstLastPara="1" vertOverflow="ellipsis" vert="horz" wrap="square" anchor="ctr" anchorCtr="1"/>
              <a:lstStyle/>
              <a:p>
                <a:pPr>
                  <a:defRPr sz="800" b="0">
                    <a:latin typeface="Nexa Bold"/>
                  </a:defRPr>
                </a:pPr>
                <a:r>
                  <a:rPr lang="en-US"/>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1291069944164441</c:v>
                </c:pt>
                <c:pt idx="1">
                  <c:v>0.13485892486555889</c:v>
                </c:pt>
                <c:pt idx="2">
                  <c:v>0.13361697278764331</c:v>
                </c:pt>
                <c:pt idx="3">
                  <c:v>0.13181455947245191</c:v>
                </c:pt>
                <c:pt idx="4">
                  <c:v>0.13079849733141291</c:v>
                </c:pt>
                <c:pt idx="5">
                  <c:v>0.12786527339341361</c:v>
                </c:pt>
                <c:pt idx="6">
                  <c:v>0.13389772495720559</c:v>
                </c:pt>
                <c:pt idx="7">
                  <c:v>0.1359519354250221</c:v>
                </c:pt>
                <c:pt idx="8">
                  <c:v>0.13408395448492219</c:v>
                </c:pt>
                <c:pt idx="9">
                  <c:v>0.1272173036352085</c:v>
                </c:pt>
                <c:pt idx="10">
                  <c:v>0.12580154817273331</c:v>
                </c:pt>
                <c:pt idx="11">
                  <c:v>0.1247833670603628</c:v>
                </c:pt>
                <c:pt idx="12">
                  <c:v>0.12616612542700109</c:v>
                </c:pt>
                <c:pt idx="13">
                  <c:v>0.13426073846412021</c:v>
                </c:pt>
                <c:pt idx="14">
                  <c:v>0.13040345544745011</c:v>
                </c:pt>
                <c:pt idx="15">
                  <c:v>0.12568196098787579</c:v>
                </c:pt>
                <c:pt idx="16">
                  <c:v>0.1284543866213313</c:v>
                </c:pt>
                <c:pt idx="17">
                  <c:v>0.13252000199740169</c:v>
                </c:pt>
                <c:pt idx="18">
                  <c:v>0.12612196270786419</c:v>
                </c:pt>
                <c:pt idx="19">
                  <c:v>0.13496886950214251</c:v>
                </c:pt>
                <c:pt idx="20">
                  <c:v>0.13064933940560819</c:v>
                </c:pt>
                <c:pt idx="21">
                  <c:v>0.12635635491031241</c:v>
                </c:pt>
                <c:pt idx="22">
                  <c:v>0.12863609693980929</c:v>
                </c:pt>
                <c:pt idx="23">
                  <c:v>0.13116494310893009</c:v>
                </c:pt>
                <c:pt idx="24">
                  <c:v>0.1278058186678292</c:v>
                </c:pt>
                <c:pt idx="25">
                  <c:v>0.1235932293079324</c:v>
                </c:pt>
                <c:pt idx="26">
                  <c:v>0.12290934252239009</c:v>
                </c:pt>
                <c:pt idx="27">
                  <c:v>0.12109503765009599</c:v>
                </c:pt>
                <c:pt idx="28">
                  <c:v>0.12207135397276341</c:v>
                </c:pt>
                <c:pt idx="29">
                  <c:v>0.1263122981136704</c:v>
                </c:pt>
                <c:pt idx="30">
                  <c:v>0.1263263635992006</c:v>
                </c:pt>
                <c:pt idx="31">
                  <c:v>0.12476889875077329</c:v>
                </c:pt>
                <c:pt idx="32">
                  <c:v>0.12674353123399981</c:v>
                </c:pt>
                <c:pt idx="33">
                  <c:v>0.12588695742723971</c:v>
                </c:pt>
                <c:pt idx="34">
                  <c:v>0.12390000002667199</c:v>
                </c:pt>
                <c:pt idx="35">
                  <c:v>0.12440850519118039</c:v>
                </c:pt>
                <c:pt idx="36">
                  <c:v>0.12336288941275771</c:v>
                </c:pt>
                <c:pt idx="37">
                  <c:v>0.1236579395008299</c:v>
                </c:pt>
                <c:pt idx="38">
                  <c:v>0.1244360084590832</c:v>
                </c:pt>
                <c:pt idx="39">
                  <c:v>0.12224083915887329</c:v>
                </c:pt>
                <c:pt idx="40">
                  <c:v>0.1219327444047168</c:v>
                </c:pt>
                <c:pt idx="41">
                  <c:v>0.1250560323566518</c:v>
                </c:pt>
                <c:pt idx="42">
                  <c:v>0.12745512740440279</c:v>
                </c:pt>
                <c:pt idx="43">
                  <c:v>0.1211984894858895</c:v>
                </c:pt>
                <c:pt idx="44">
                  <c:v>0.1258670226690102</c:v>
                </c:pt>
                <c:pt idx="45">
                  <c:v>0.1272339848348821</c:v>
                </c:pt>
                <c:pt idx="46">
                  <c:v>0.13490346412193621</c:v>
                </c:pt>
                <c:pt idx="47">
                  <c:v>0.1232399985423943</c:v>
                </c:pt>
                <c:pt idx="48">
                  <c:v>0.12311641114157899</c:v>
                </c:pt>
                <c:pt idx="49">
                  <c:v>0.1234350759255986</c:v>
                </c:pt>
                <c:pt idx="50">
                  <c:v>0.12419744604278141</c:v>
                </c:pt>
                <c:pt idx="51">
                  <c:v>0.13145508336915421</c:v>
                </c:pt>
                <c:pt idx="52">
                  <c:v>0.13109930113357529</c:v>
                </c:pt>
                <c:pt idx="53">
                  <c:v>0.13568928560863899</c:v>
                </c:pt>
                <c:pt idx="54">
                  <c:v>0.1285210371531505</c:v>
                </c:pt>
                <c:pt idx="55">
                  <c:v>0.1300753516373136</c:v>
                </c:pt>
                <c:pt idx="56">
                  <c:v>0.12489749950473671</c:v>
                </c:pt>
                <c:pt idx="57">
                  <c:v>0.10266521645136149</c:v>
                </c:pt>
                <c:pt idx="58">
                  <c:v>9.4621929093130358E-2</c:v>
                </c:pt>
                <c:pt idx="59">
                  <c:v>9.8212612965823731E-2</c:v>
                </c:pt>
                <c:pt idx="60">
                  <c:v>0.1102654339127445</c:v>
                </c:pt>
                <c:pt idx="61">
                  <c:v>0.1086326326560431</c:v>
                </c:pt>
                <c:pt idx="62">
                  <c:v>0.10273100071317991</c:v>
                </c:pt>
                <c:pt idx="63">
                  <c:v>0.1056131313298932</c:v>
                </c:pt>
                <c:pt idx="64">
                  <c:v>0.116037952360732</c:v>
                </c:pt>
                <c:pt idx="65">
                  <c:v>0.13065683342069531</c:v>
                </c:pt>
                <c:pt idx="66">
                  <c:v>0.132712182958446</c:v>
                </c:pt>
                <c:pt idx="67">
                  <c:v>0.12498087731066</c:v>
                </c:pt>
                <c:pt idx="68">
                  <c:v>0.1318623648264734</c:v>
                </c:pt>
                <c:pt idx="69">
                  <c:v>0.13405085209231629</c:v>
                </c:pt>
                <c:pt idx="70">
                  <c:v>0.12663942767242409</c:v>
                </c:pt>
                <c:pt idx="71">
                  <c:v>0.13715997078444109</c:v>
                </c:pt>
                <c:pt idx="72">
                  <c:v>0.1312699287114284</c:v>
                </c:pt>
                <c:pt idx="73">
                  <c:v>0.1290474255800157</c:v>
                </c:pt>
                <c:pt idx="74">
                  <c:v>0.12976627424972709</c:v>
                </c:pt>
                <c:pt idx="75">
                  <c:v>0.12686829869724861</c:v>
                </c:pt>
                <c:pt idx="76">
                  <c:v>0.1253623579280761</c:v>
                </c:pt>
                <c:pt idx="77">
                  <c:v>0.12968156222074531</c:v>
                </c:pt>
                <c:pt idx="78">
                  <c:v>0.12750329032649099</c:v>
                </c:pt>
                <c:pt idx="79">
                  <c:v>0.12461050546445129</c:v>
                </c:pt>
                <c:pt idx="80">
                  <c:v>0.12900335189603049</c:v>
                </c:pt>
                <c:pt idx="81">
                  <c:v>0.12741746962889991</c:v>
                </c:pt>
                <c:pt idx="82">
                  <c:v>0.1227246355993528</c:v>
                </c:pt>
                <c:pt idx="83">
                  <c:v>0.12325497363003669</c:v>
                </c:pt>
                <c:pt idx="84">
                  <c:v>0.1237777050026681</c:v>
                </c:pt>
                <c:pt idx="85">
                  <c:v>0.1227618684932686</c:v>
                </c:pt>
                <c:pt idx="86">
                  <c:v>0.12625273778634091</c:v>
                </c:pt>
                <c:pt idx="87">
                  <c:v>0.12848401925218161</c:v>
                </c:pt>
                <c:pt idx="88">
                  <c:v>0.12808991008793849</c:v>
                </c:pt>
                <c:pt idx="89">
                  <c:v>0.12669599383578639</c:v>
                </c:pt>
                <c:pt idx="90">
                  <c:v>0.128457244567205</c:v>
                </c:pt>
                <c:pt idx="91">
                  <c:v>0.1287495738807907</c:v>
                </c:pt>
                <c:pt idx="92">
                  <c:v>0.12753778198649329</c:v>
                </c:pt>
                <c:pt idx="93">
                  <c:v>0.12858384689357691</c:v>
                </c:pt>
                <c:pt idx="94">
                  <c:v>0.13053873342212541</c:v>
                </c:pt>
                <c:pt idx="95">
                  <c:v>0.1283681251237693</c:v>
                </c:pt>
                <c:pt idx="96">
                  <c:v>0.12712219330013799</c:v>
                </c:pt>
                <c:pt idx="97">
                  <c:v>0.12537888942730019</c:v>
                </c:pt>
                <c:pt idx="98">
                  <c:v>0.12745921704595151</c:v>
                </c:pt>
                <c:pt idx="99">
                  <c:v>0.1212266665697815</c:v>
                </c:pt>
                <c:pt idx="100">
                  <c:v>0.1141728668578047</c:v>
                </c:pt>
                <c:pt idx="101">
                  <c:v>0.115957494325048</c:v>
                </c:pt>
              </c:numCache>
            </c:numRef>
          </c:xVal>
          <c:yVal>
            <c:numRef>
              <c:f>Sheet1!$B$2:$B$103</c:f>
              <c:numCache>
                <c:formatCode>General</c:formatCode>
                <c:ptCount val="102"/>
                <c:pt idx="0">
                  <c:v>3.1549194168607013E-2</c:v>
                </c:pt>
                <c:pt idx="1">
                  <c:v>2.5925076493376501E-2</c:v>
                </c:pt>
                <c:pt idx="2">
                  <c:v>1.9457371147598559E-2</c:v>
                </c:pt>
                <c:pt idx="3">
                  <c:v>2.1005226955186751E-2</c:v>
                </c:pt>
                <c:pt idx="4">
                  <c:v>2.3683174888924512E-2</c:v>
                </c:pt>
                <c:pt idx="5">
                  <c:v>2.481491169212223E-2</c:v>
                </c:pt>
                <c:pt idx="6">
                  <c:v>2.2966901329024649E-2</c:v>
                </c:pt>
                <c:pt idx="7">
                  <c:v>2.1693356757167159E-2</c:v>
                </c:pt>
                <c:pt idx="8">
                  <c:v>2.508474647577718E-2</c:v>
                </c:pt>
                <c:pt idx="9">
                  <c:v>3.2219360006132687E-2</c:v>
                </c:pt>
                <c:pt idx="10">
                  <c:v>3.3455366889535383E-2</c:v>
                </c:pt>
                <c:pt idx="11">
                  <c:v>3.077420503855852E-2</c:v>
                </c:pt>
                <c:pt idx="12">
                  <c:v>3.166311843777065E-2</c:v>
                </c:pt>
                <c:pt idx="13">
                  <c:v>2.9573633835338661E-2</c:v>
                </c:pt>
                <c:pt idx="14">
                  <c:v>2.943829474961886E-2</c:v>
                </c:pt>
                <c:pt idx="15">
                  <c:v>3.2326555355538883E-2</c:v>
                </c:pt>
                <c:pt idx="16">
                  <c:v>3.045418321235838E-2</c:v>
                </c:pt>
                <c:pt idx="17">
                  <c:v>3.0177244147381321E-2</c:v>
                </c:pt>
                <c:pt idx="18">
                  <c:v>3.0949579617420529E-2</c:v>
                </c:pt>
                <c:pt idx="19">
                  <c:v>3.3044676701229417E-2</c:v>
                </c:pt>
                <c:pt idx="20">
                  <c:v>3.4502368865567047E-2</c:v>
                </c:pt>
                <c:pt idx="21">
                  <c:v>3.8171203781773647E-2</c:v>
                </c:pt>
                <c:pt idx="22">
                  <c:v>3.2633840746857157E-2</c:v>
                </c:pt>
                <c:pt idx="23">
                  <c:v>3.22851825867847E-2</c:v>
                </c:pt>
                <c:pt idx="24">
                  <c:v>3.4293774474369272E-2</c:v>
                </c:pt>
                <c:pt idx="25">
                  <c:v>3.3493331489235549E-2</c:v>
                </c:pt>
                <c:pt idx="26">
                  <c:v>3.2256296982208908E-2</c:v>
                </c:pt>
                <c:pt idx="27">
                  <c:v>3.256327154323236E-2</c:v>
                </c:pt>
                <c:pt idx="28">
                  <c:v>3.0215972855570969E-2</c:v>
                </c:pt>
                <c:pt idx="29">
                  <c:v>2.971323515475446E-2</c:v>
                </c:pt>
                <c:pt idx="30">
                  <c:v>2.9886044202056931E-2</c:v>
                </c:pt>
                <c:pt idx="31">
                  <c:v>3.0113049153545669E-2</c:v>
                </c:pt>
                <c:pt idx="32">
                  <c:v>3.0121682992946059E-2</c:v>
                </c:pt>
                <c:pt idx="33">
                  <c:v>2.8704102443482309E-2</c:v>
                </c:pt>
                <c:pt idx="34">
                  <c:v>3.0602403901330309E-2</c:v>
                </c:pt>
                <c:pt idx="35">
                  <c:v>3.1456536502498793E-2</c:v>
                </c:pt>
                <c:pt idx="36">
                  <c:v>3.1516667937295108E-2</c:v>
                </c:pt>
                <c:pt idx="37">
                  <c:v>3.3226585884057157E-2</c:v>
                </c:pt>
                <c:pt idx="38">
                  <c:v>3.3016326225624587E-2</c:v>
                </c:pt>
                <c:pt idx="39">
                  <c:v>3.0075909553288729E-2</c:v>
                </c:pt>
                <c:pt idx="40">
                  <c:v>3.030822714314705E-2</c:v>
                </c:pt>
                <c:pt idx="41">
                  <c:v>3.1273537834975489E-2</c:v>
                </c:pt>
                <c:pt idx="42">
                  <c:v>3.005901690014778E-2</c:v>
                </c:pt>
                <c:pt idx="43">
                  <c:v>3.0573863083611631E-2</c:v>
                </c:pt>
                <c:pt idx="44">
                  <c:v>3.254448153409624E-2</c:v>
                </c:pt>
                <c:pt idx="45">
                  <c:v>3.2420025270644671E-2</c:v>
                </c:pt>
                <c:pt idx="46">
                  <c:v>3.0841270586476861E-2</c:v>
                </c:pt>
                <c:pt idx="47">
                  <c:v>3.4545476528939613E-2</c:v>
                </c:pt>
                <c:pt idx="48">
                  <c:v>3.9378011399146942E-2</c:v>
                </c:pt>
                <c:pt idx="49">
                  <c:v>3.4585845792310457E-2</c:v>
                </c:pt>
                <c:pt idx="50">
                  <c:v>3.6889295123608737E-2</c:v>
                </c:pt>
                <c:pt idx="51">
                  <c:v>3.516974061970235E-2</c:v>
                </c:pt>
                <c:pt idx="52">
                  <c:v>3.3440411726256947E-2</c:v>
                </c:pt>
                <c:pt idx="53">
                  <c:v>3.0775515895011849E-2</c:v>
                </c:pt>
                <c:pt idx="54">
                  <c:v>2.856172806220978E-2</c:v>
                </c:pt>
                <c:pt idx="55">
                  <c:v>2.9260191711765832E-2</c:v>
                </c:pt>
                <c:pt idx="56">
                  <c:v>3.1178692703543051E-2</c:v>
                </c:pt>
                <c:pt idx="57">
                  <c:v>3.7031471681131703E-2</c:v>
                </c:pt>
                <c:pt idx="58">
                  <c:v>3.9909501581123753E-2</c:v>
                </c:pt>
                <c:pt idx="59">
                  <c:v>3.3090443177845791E-2</c:v>
                </c:pt>
                <c:pt idx="60">
                  <c:v>2.0429936026239701E-2</c:v>
                </c:pt>
                <c:pt idx="61">
                  <c:v>1.594233918003489E-2</c:v>
                </c:pt>
                <c:pt idx="62">
                  <c:v>2.6561543645322629E-2</c:v>
                </c:pt>
                <c:pt idx="63">
                  <c:v>3.5068893654044378E-2</c:v>
                </c:pt>
                <c:pt idx="64">
                  <c:v>3.0967228847484721E-2</c:v>
                </c:pt>
                <c:pt idx="65">
                  <c:v>2.602705616299417E-2</c:v>
                </c:pt>
                <c:pt idx="66">
                  <c:v>2.587150374122359E-2</c:v>
                </c:pt>
                <c:pt idx="67">
                  <c:v>2.691260699372984E-2</c:v>
                </c:pt>
                <c:pt idx="68">
                  <c:v>2.5874418970458959E-2</c:v>
                </c:pt>
                <c:pt idx="69">
                  <c:v>2.3193315376484971E-2</c:v>
                </c:pt>
                <c:pt idx="70">
                  <c:v>2.2686657383630061E-2</c:v>
                </c:pt>
                <c:pt idx="71">
                  <c:v>2.6189284143623481E-2</c:v>
                </c:pt>
                <c:pt idx="72">
                  <c:v>2.7336338114147821E-2</c:v>
                </c:pt>
                <c:pt idx="73">
                  <c:v>2.7740990571672709E-2</c:v>
                </c:pt>
                <c:pt idx="74">
                  <c:v>2.877527311984417E-2</c:v>
                </c:pt>
                <c:pt idx="75">
                  <c:v>2.8510329318482429E-2</c:v>
                </c:pt>
                <c:pt idx="76">
                  <c:v>2.7909474603405621E-2</c:v>
                </c:pt>
                <c:pt idx="77">
                  <c:v>2.354699792786898E-2</c:v>
                </c:pt>
                <c:pt idx="78">
                  <c:v>2.3516397046911521E-2</c:v>
                </c:pt>
                <c:pt idx="79">
                  <c:v>2.2115174941799771E-2</c:v>
                </c:pt>
                <c:pt idx="80">
                  <c:v>2.2268202762568419E-2</c:v>
                </c:pt>
                <c:pt idx="81">
                  <c:v>2.1244426266941788E-2</c:v>
                </c:pt>
                <c:pt idx="82">
                  <c:v>3.1177386289303839E-2</c:v>
                </c:pt>
                <c:pt idx="83">
                  <c:v>2.630647686699077E-2</c:v>
                </c:pt>
                <c:pt idx="84">
                  <c:v>2.5524833007679371E-2</c:v>
                </c:pt>
                <c:pt idx="85">
                  <c:v>2.6871534411513371E-2</c:v>
                </c:pt>
                <c:pt idx="86">
                  <c:v>2.6338851413823881E-2</c:v>
                </c:pt>
                <c:pt idx="87">
                  <c:v>2.464870108961555E-2</c:v>
                </c:pt>
                <c:pt idx="88">
                  <c:v>2.6238033764437702E-2</c:v>
                </c:pt>
                <c:pt idx="89">
                  <c:v>3.0191859532939729E-2</c:v>
                </c:pt>
                <c:pt idx="90">
                  <c:v>3.071685169632082E-2</c:v>
                </c:pt>
                <c:pt idx="91">
                  <c:v>3.1790352756617277E-2</c:v>
                </c:pt>
                <c:pt idx="92">
                  <c:v>2.9789485452214989E-2</c:v>
                </c:pt>
                <c:pt idx="93">
                  <c:v>2.7419432969366012E-2</c:v>
                </c:pt>
                <c:pt idx="94">
                  <c:v>2.5375304588112151E-2</c:v>
                </c:pt>
                <c:pt idx="95">
                  <c:v>2.727143524464504E-2</c:v>
                </c:pt>
                <c:pt idx="96">
                  <c:v>2.430072520573312E-2</c:v>
                </c:pt>
                <c:pt idx="97">
                  <c:v>2.5953063658202231E-2</c:v>
                </c:pt>
                <c:pt idx="98">
                  <c:v>2.870484051773789E-2</c:v>
                </c:pt>
                <c:pt idx="99">
                  <c:v>3.0161179689259059E-2</c:v>
                </c:pt>
                <c:pt idx="100">
                  <c:v>3.7558407981539428E-2</c:v>
                </c:pt>
                <c:pt idx="101">
                  <c:v>3.5796970668813113E-2</c:v>
                </c:pt>
              </c:numCache>
            </c:numRef>
          </c:yVal>
          <c:smooth val="0"/>
          <c:extLst>
            <c:ext xmlns:c16="http://schemas.microsoft.com/office/drawing/2014/chart" uri="{C3380CC4-5D6E-409C-BE32-E72D297353CC}">
              <c16:uniqueId val="{00000000-096C-4121-9522-6AB7243CCAAE}"/>
            </c:ext>
          </c:extLst>
        </c:ser>
        <c:ser>
          <c:idx val="1"/>
          <c:order val="1"/>
          <c:tx>
            <c:strRef>
              <c:f>Sheet1!$B$10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6:$A$157</c:f>
              <c:numCache>
                <c:formatCode>General</c:formatCode>
                <c:ptCount val="52"/>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numCache>
            </c:numRef>
          </c:xVal>
          <c:yVal>
            <c:numRef>
              <c:f>Sheet1!$B$106:$B$157</c:f>
              <c:numCache>
                <c:formatCode>General</c:formatCode>
                <c:ptCount val="52"/>
                <c:pt idx="0">
                  <c:v>3.3379430772150658E-2</c:v>
                </c:pt>
                <c:pt idx="1">
                  <c:v>3.5297770608354727E-2</c:v>
                </c:pt>
                <c:pt idx="2">
                  <c:v>3.603152077608085E-2</c:v>
                </c:pt>
                <c:pt idx="3">
                  <c:v>3.0978674639028671E-2</c:v>
                </c:pt>
                <c:pt idx="4">
                  <c:v>2.8133515753956471E-2</c:v>
                </c:pt>
                <c:pt idx="5">
                  <c:v>2.7512069607189622E-2</c:v>
                </c:pt>
                <c:pt idx="6">
                  <c:v>2.753590860107619E-2</c:v>
                </c:pt>
                <c:pt idx="7">
                  <c:v>2.7306049137985969E-2</c:v>
                </c:pt>
                <c:pt idx="8">
                  <c:v>2.683860754587173E-2</c:v>
                </c:pt>
                <c:pt idx="9">
                  <c:v>2.8577136215520639E-2</c:v>
                </c:pt>
                <c:pt idx="10">
                  <c:v>2.9045708307140341E-2</c:v>
                </c:pt>
                <c:pt idx="11">
                  <c:v>3.0151694267354031E-2</c:v>
                </c:pt>
                <c:pt idx="12">
                  <c:v>3.1278274774940933E-2</c:v>
                </c:pt>
                <c:pt idx="13">
                  <c:v>3.2623144271831599E-2</c:v>
                </c:pt>
                <c:pt idx="14">
                  <c:v>3.2081452766552027E-2</c:v>
                </c:pt>
                <c:pt idx="15">
                  <c:v>2.8476513020004542E-2</c:v>
                </c:pt>
                <c:pt idx="16">
                  <c:v>2.889792926206242E-2</c:v>
                </c:pt>
                <c:pt idx="17">
                  <c:v>2.8572345272906731E-2</c:v>
                </c:pt>
                <c:pt idx="18">
                  <c:v>2.758215728763419E-2</c:v>
                </c:pt>
                <c:pt idx="19">
                  <c:v>2.6684207925807661E-2</c:v>
                </c:pt>
                <c:pt idx="20">
                  <c:v>2.507409816863837E-2</c:v>
                </c:pt>
                <c:pt idx="21">
                  <c:v>3.7053775555914388E-2</c:v>
                </c:pt>
                <c:pt idx="22">
                  <c:v>4.1201839145334811E-2</c:v>
                </c:pt>
                <c:pt idx="23">
                  <c:v>3.952108516249337E-2</c:v>
                </c:pt>
                <c:pt idx="24">
                  <c:v>3.301132678213544E-2</c:v>
                </c:pt>
                <c:pt idx="25">
                  <c:v>3.4672282379825628E-2</c:v>
                </c:pt>
                <c:pt idx="26">
                  <c:v>3.6478521099227869E-2</c:v>
                </c:pt>
                <c:pt idx="27">
                  <c:v>3.1719960612283417E-2</c:v>
                </c:pt>
                <c:pt idx="28">
                  <c:v>2.9844699099281859E-2</c:v>
                </c:pt>
                <c:pt idx="29">
                  <c:v>2.824703792935155E-2</c:v>
                </c:pt>
                <c:pt idx="30">
                  <c:v>2.3926861689124789E-2</c:v>
                </c:pt>
                <c:pt idx="31">
                  <c:v>2.077067140814904E-2</c:v>
                </c:pt>
                <c:pt idx="32">
                  <c:v>2.3460558709885782E-2</c:v>
                </c:pt>
                <c:pt idx="33">
                  <c:v>3.042796286207031E-2</c:v>
                </c:pt>
                <c:pt idx="34">
                  <c:v>3.1037706913624011E-2</c:v>
                </c:pt>
                <c:pt idx="35">
                  <c:v>2.928997264422914E-2</c:v>
                </c:pt>
                <c:pt idx="36">
                  <c:v>2.9697936908540851E-2</c:v>
                </c:pt>
                <c:pt idx="37">
                  <c:v>3.0248130900335801E-2</c:v>
                </c:pt>
                <c:pt idx="38">
                  <c:v>3.5070387750061743E-2</c:v>
                </c:pt>
                <c:pt idx="39">
                  <c:v>3.120833777020552E-2</c:v>
                </c:pt>
                <c:pt idx="40">
                  <c:v>2.682679016675503E-2</c:v>
                </c:pt>
                <c:pt idx="41">
                  <c:v>2.4203784771293649E-2</c:v>
                </c:pt>
                <c:pt idx="42">
                  <c:v>2.4098053977022381E-2</c:v>
                </c:pt>
                <c:pt idx="43">
                  <c:v>2.4523754132153151E-2</c:v>
                </c:pt>
                <c:pt idx="44">
                  <c:v>2.2379504666963371E-2</c:v>
                </c:pt>
                <c:pt idx="45">
                  <c:v>2.104065524243157E-2</c:v>
                </c:pt>
                <c:pt idx="46">
                  <c:v>2.202824012890214E-2</c:v>
                </c:pt>
                <c:pt idx="47">
                  <c:v>2.3321641522021069E-2</c:v>
                </c:pt>
                <c:pt idx="48">
                  <c:v>2.5721900660138009E-2</c:v>
                </c:pt>
                <c:pt idx="49">
                  <c:v>2.4967370312040962E-2</c:v>
                </c:pt>
                <c:pt idx="50">
                  <c:v>2.603335979145837E-2</c:v>
                </c:pt>
                <c:pt idx="51">
                  <c:v>2.5702227757022279E-2</c:v>
                </c:pt>
              </c:numCache>
            </c:numRef>
          </c:yVal>
          <c:smooth val="0"/>
          <c:extLst>
            <c:ext xmlns:c16="http://schemas.microsoft.com/office/drawing/2014/chart" uri="{C3380CC4-5D6E-409C-BE32-E72D297353CC}">
              <c16:uniqueId val="{00000002-096C-4121-9522-6AB7243CCAAE}"/>
            </c:ext>
          </c:extLst>
        </c:ser>
        <c:ser>
          <c:idx val="2"/>
          <c:order val="2"/>
          <c:tx>
            <c:strRef>
              <c:f>Sheet1!$B$15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0:$A$161</c:f>
              <c:numCache>
                <c:formatCode>General</c:formatCode>
                <c:ptCount val="2"/>
                <c:pt idx="0">
                  <c:v>0</c:v>
                </c:pt>
                <c:pt idx="1">
                  <c:v>0.1108820277239114</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5-096C-4121-9522-6AB7243CCAAE}"/>
            </c:ext>
          </c:extLst>
        </c:ser>
        <c:ser>
          <c:idx val="3"/>
          <c:order val="3"/>
          <c:tx>
            <c:strRef>
              <c:f>Sheet1!$B$16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0.1108820277239114</c:v>
                </c:pt>
                <c:pt idx="1">
                  <c:v>0.1108820277239114</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8:$A$169</c:f>
              <c:numCache>
                <c:formatCode>General</c:formatCode>
                <c:ptCount val="2"/>
                <c:pt idx="0">
                  <c:v>0</c:v>
                </c:pt>
                <c:pt idx="1">
                  <c:v>0.11732114474802791</c:v>
                </c:pt>
              </c:numCache>
            </c:numRef>
          </c:xVal>
          <c:yVal>
            <c:numRef>
              <c:f>Sheet1!$B$168:$B$169</c:f>
              <c:numCache>
                <c:formatCode>General</c:formatCode>
                <c:ptCount val="2"/>
                <c:pt idx="0">
                  <c:v>3.1101577984060609E-2</c:v>
                </c:pt>
                <c:pt idx="1">
                  <c:v>3.1101577984060609E-2</c:v>
                </c:pt>
              </c:numCache>
            </c:numRef>
          </c:yVal>
          <c:smooth val="0"/>
          <c:extLst>
            <c:ext xmlns:c16="http://schemas.microsoft.com/office/drawing/2014/chart" uri="{C3380CC4-5D6E-409C-BE32-E72D297353CC}">
              <c16:uniqueId val="{0000000D-096C-4121-9522-6AB7243CCAAE}"/>
            </c:ext>
          </c:extLst>
        </c:ser>
        <c:ser>
          <c:idx val="5"/>
          <c:order val="5"/>
          <c:tx>
            <c:strRef>
              <c:f>Sheet1!$B$17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0.11732114474802791</c:v>
                </c:pt>
                <c:pt idx="1">
                  <c:v>0.11732114474802791</c:v>
                </c:pt>
              </c:numCache>
            </c:numRef>
          </c:xVal>
          <c:yVal>
            <c:numRef>
              <c:f>Sheet1!$B$172:$B$173</c:f>
              <c:numCache>
                <c:formatCode>General</c:formatCode>
                <c:ptCount val="2"/>
                <c:pt idx="0">
                  <c:v>3.1101577984060609E-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6:$A$177</c:f>
              <c:numCache>
                <c:formatCode>General</c:formatCode>
                <c:ptCount val="2"/>
                <c:pt idx="0">
                  <c:v>0</c:v>
                </c:pt>
                <c:pt idx="1">
                  <c:v>0.13512234665834599</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5-096C-4121-9522-6AB7243CCAAE}"/>
            </c:ext>
          </c:extLst>
        </c:ser>
        <c:ser>
          <c:idx val="7"/>
          <c:order val="7"/>
          <c:tx>
            <c:strRef>
              <c:f>Sheet1!$B$17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0:$A$181</c:f>
              <c:numCache>
                <c:formatCode>General</c:formatCode>
                <c:ptCount val="2"/>
                <c:pt idx="0">
                  <c:v>0.13512234665834599</c:v>
                </c:pt>
                <c:pt idx="1">
                  <c:v>0.13512234665834599</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4:$A$238</c:f>
              <c:numCache>
                <c:formatCode>General</c:formatCode>
                <c:ptCount val="55"/>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pt idx="52">
                  <c:v>0.11732114474802791</c:v>
                </c:pt>
                <c:pt idx="53">
                  <c:v>0.1108820277239114</c:v>
                </c:pt>
                <c:pt idx="54">
                  <c:v>0.13512234665834599</c:v>
                </c:pt>
              </c:numCache>
            </c:numRef>
          </c:xVal>
          <c:yVal>
            <c:numRef>
              <c:f>Sheet1!$B$184:$B$238</c:f>
              <c:numCache>
                <c:formatCode>General</c:formatCode>
                <c:ptCount val="55"/>
                <c:pt idx="0">
                  <c:v>3.1620668745252142E-2</c:v>
                </c:pt>
                <c:pt idx="1">
                  <c:v>3.1654790245678951E-2</c:v>
                </c:pt>
                <c:pt idx="2">
                  <c:v>3.2783325344754151E-2</c:v>
                </c:pt>
                <c:pt idx="3">
                  <c:v>3.022688607526958E-2</c:v>
                </c:pt>
                <c:pt idx="4">
                  <c:v>2.8540776744242852E-2</c:v>
                </c:pt>
                <c:pt idx="5">
                  <c:v>2.8198639317480349E-2</c:v>
                </c:pt>
                <c:pt idx="6">
                  <c:v>2.8149354774764782E-2</c:v>
                </c:pt>
                <c:pt idx="7">
                  <c:v>2.8199004366077019E-2</c:v>
                </c:pt>
                <c:pt idx="8">
                  <c:v>3.0157282303857849E-2</c:v>
                </c:pt>
                <c:pt idx="9">
                  <c:v>2.9717490317624731E-2</c:v>
                </c:pt>
                <c:pt idx="10">
                  <c:v>2.880162617160174E-2</c:v>
                </c:pt>
                <c:pt idx="11">
                  <c:v>3.0799476543192809E-2</c:v>
                </c:pt>
                <c:pt idx="12">
                  <c:v>2.8080121278043681E-2</c:v>
                </c:pt>
                <c:pt idx="13">
                  <c:v>2.8247092051713919E-2</c:v>
                </c:pt>
                <c:pt idx="14">
                  <c:v>2.639540124703324E-2</c:v>
                </c:pt>
                <c:pt idx="15">
                  <c:v>1.9220157910636009E-2</c:v>
                </c:pt>
                <c:pt idx="16">
                  <c:v>2.9292926757015069E-2</c:v>
                </c:pt>
                <c:pt idx="17">
                  <c:v>2.9541107656935999E-2</c:v>
                </c:pt>
                <c:pt idx="18">
                  <c:v>3.1154431279754719E-2</c:v>
                </c:pt>
                <c:pt idx="19">
                  <c:v>2.9461129531890291E-2</c:v>
                </c:pt>
                <c:pt idx="20">
                  <c:v>3.0313783713891131E-2</c:v>
                </c:pt>
                <c:pt idx="21">
                  <c:v>3.3508822667282862E-2</c:v>
                </c:pt>
                <c:pt idx="22">
                  <c:v>3.4739165058279807E-2</c:v>
                </c:pt>
                <c:pt idx="23">
                  <c:v>3.3561500120319547E-2</c:v>
                </c:pt>
                <c:pt idx="24">
                  <c:v>3.0961282548418428E-2</c:v>
                </c:pt>
                <c:pt idx="25">
                  <c:v>3.325613118609181E-2</c:v>
                </c:pt>
                <c:pt idx="26">
                  <c:v>3.230935798656305E-2</c:v>
                </c:pt>
                <c:pt idx="27">
                  <c:v>3.0186042242885399E-2</c:v>
                </c:pt>
                <c:pt idx="28">
                  <c:v>2.9826699740302571E-2</c:v>
                </c:pt>
                <c:pt idx="29">
                  <c:v>2.8461825588360749E-2</c:v>
                </c:pt>
                <c:pt idx="30">
                  <c:v>2.6667445839888119E-2</c:v>
                </c:pt>
                <c:pt idx="31">
                  <c:v>2.9333797528733729E-2</c:v>
                </c:pt>
                <c:pt idx="32">
                  <c:v>2.8469462201818171E-2</c:v>
                </c:pt>
                <c:pt idx="33">
                  <c:v>3.1278574864500211E-2</c:v>
                </c:pt>
                <c:pt idx="34">
                  <c:v>3.362517184260494E-2</c:v>
                </c:pt>
                <c:pt idx="35">
                  <c:v>3.1259339751075838E-2</c:v>
                </c:pt>
                <c:pt idx="36">
                  <c:v>3.2466678789921898E-2</c:v>
                </c:pt>
                <c:pt idx="37">
                  <c:v>3.336561461501103E-2</c:v>
                </c:pt>
                <c:pt idx="38">
                  <c:v>3.1897061212580187E-2</c:v>
                </c:pt>
                <c:pt idx="39">
                  <c:v>3.0591232179052279E-2</c:v>
                </c:pt>
                <c:pt idx="40">
                  <c:v>2.6490890509876141E-2</c:v>
                </c:pt>
                <c:pt idx="41">
                  <c:v>2.5005655171483909E-2</c:v>
                </c:pt>
                <c:pt idx="42">
                  <c:v>2.471524594195228E-2</c:v>
                </c:pt>
                <c:pt idx="43">
                  <c:v>2.5740688254943609E-2</c:v>
                </c:pt>
                <c:pt idx="44">
                  <c:v>2.534241769031121E-2</c:v>
                </c:pt>
                <c:pt idx="45">
                  <c:v>2.5785004878787769E-2</c:v>
                </c:pt>
                <c:pt idx="46">
                  <c:v>2.6712805427711591E-2</c:v>
                </c:pt>
                <c:pt idx="47">
                  <c:v>2.6016063432124481E-2</c:v>
                </c:pt>
                <c:pt idx="48">
                  <c:v>2.645901837190287E-2</c:v>
                </c:pt>
                <c:pt idx="49">
                  <c:v>2.253097533810856E-2</c:v>
                </c:pt>
                <c:pt idx="50">
                  <c:v>2.3407974477709061E-2</c:v>
                </c:pt>
                <c:pt idx="51">
                  <c:v>2.5267129597052979E-2</c:v>
                </c:pt>
                <c:pt idx="52">
                  <c:v>3.1101577984060599E-2</c:v>
                </c:pt>
                <c:pt idx="53">
                  <c:v>3.3390590546211449E-2</c:v>
                </c:pt>
                <c:pt idx="54">
                  <c:v>2.47735092998775E-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18089307194123574"/>
          <c:min val="7.5697543274504286E-2"/>
        </c:scaling>
        <c:delete val="0"/>
        <c:axPos val="b"/>
        <c:title>
          <c:tx>
            <c:rich>
              <a:bodyPr rot="0" spcFirstLastPara="1" vertOverflow="ellipsis" vert="horz" wrap="square" anchor="ctr" anchorCtr="1"/>
              <a:lstStyle/>
              <a:p>
                <a:pPr>
                  <a:defRPr sz="800" b="0">
                    <a:solidFill>
                      <a:srgbClr val="575555"/>
                    </a:solidFill>
                    <a:latin typeface="Nexa Bold"/>
                  </a:defRPr>
                </a:pPr>
                <a:r>
                  <a:rPr lang="en-US"/>
                  <a:t>Price Ix vs. Gillette Fusion5</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3084051742229012</c:v>
                </c:pt>
                <c:pt idx="1">
                  <c:v>0.31591786351078627</c:v>
                </c:pt>
                <c:pt idx="2">
                  <c:v>0.32058023334902946</c:v>
                </c:pt>
                <c:pt idx="3">
                  <c:v>0.31551466024025998</c:v>
                </c:pt>
                <c:pt idx="4">
                  <c:v>0.31248983133575575</c:v>
                </c:pt>
                <c:pt idx="5">
                  <c:v>0.31209899175068745</c:v>
                </c:pt>
                <c:pt idx="6">
                  <c:v>0.31243915630070307</c:v>
                </c:pt>
                <c:pt idx="7">
                  <c:v>0.3133619793471481</c:v>
                </c:pt>
                <c:pt idx="8">
                  <c:v>0.31671907756813417</c:v>
                </c:pt>
                <c:pt idx="9">
                  <c:v>0.31082322826247477</c:v>
                </c:pt>
                <c:pt idx="10">
                  <c:v>0.31047212859141043</c:v>
                </c:pt>
                <c:pt idx="11">
                  <c:v>0.30851195946449417</c:v>
                </c:pt>
                <c:pt idx="12">
                  <c:v>0.30743476600274672</c:v>
                </c:pt>
                <c:pt idx="13">
                  <c:v>0.30557876018361524</c:v>
                </c:pt>
                <c:pt idx="14">
                  <c:v>0.30608180521683359</c:v>
                </c:pt>
                <c:pt idx="15">
                  <c:v>0.30537959003209308</c:v>
                </c:pt>
                <c:pt idx="16">
                  <c:v>0.30479028449342177</c:v>
                </c:pt>
                <c:pt idx="17">
                  <c:v>0.30535697989231286</c:v>
                </c:pt>
                <c:pt idx="18">
                  <c:v>0.30758733419811496</c:v>
                </c:pt>
                <c:pt idx="19">
                  <c:v>0.30384356418742708</c:v>
                </c:pt>
                <c:pt idx="20">
                  <c:v>0.30255871389344829</c:v>
                </c:pt>
                <c:pt idx="21">
                  <c:v>0.30131492720175512</c:v>
                </c:pt>
                <c:pt idx="22">
                  <c:v>0.30402402402402401</c:v>
                </c:pt>
                <c:pt idx="23">
                  <c:v>0.3041818228723267</c:v>
                </c:pt>
                <c:pt idx="24">
                  <c:v>0.30380595989557657</c:v>
                </c:pt>
                <c:pt idx="25">
                  <c:v>0.30266464709715091</c:v>
                </c:pt>
                <c:pt idx="26">
                  <c:v>0.30198090992432275</c:v>
                </c:pt>
                <c:pt idx="27">
                  <c:v>0.30261018186645428</c:v>
                </c:pt>
                <c:pt idx="28">
                  <c:v>0.30379475941413642</c:v>
                </c:pt>
                <c:pt idx="29">
                  <c:v>0.30510575091808745</c:v>
                </c:pt>
                <c:pt idx="30">
                  <c:v>0.30547263681592041</c:v>
                </c:pt>
                <c:pt idx="31">
                  <c:v>0.30191808942530629</c:v>
                </c:pt>
                <c:pt idx="32">
                  <c:v>0.30004016835781272</c:v>
                </c:pt>
                <c:pt idx="33">
                  <c:v>0.30140260803244229</c:v>
                </c:pt>
                <c:pt idx="34">
                  <c:v>0.30315931183998879</c:v>
                </c:pt>
                <c:pt idx="35">
                  <c:v>0.30423707530585153</c:v>
                </c:pt>
                <c:pt idx="36">
                  <c:v>0.30339368848493503</c:v>
                </c:pt>
                <c:pt idx="37">
                  <c:v>0.30312142377964563</c:v>
                </c:pt>
                <c:pt idx="38">
                  <c:v>0.30421477922015827</c:v>
                </c:pt>
                <c:pt idx="39">
                  <c:v>0.30360700245050509</c:v>
                </c:pt>
                <c:pt idx="40">
                  <c:v>0.30482776067799466</c:v>
                </c:pt>
                <c:pt idx="41">
                  <c:v>0.30496561046396053</c:v>
                </c:pt>
                <c:pt idx="42">
                  <c:v>0.30474260101509459</c:v>
                </c:pt>
                <c:pt idx="43">
                  <c:v>0.30487658997567685</c:v>
                </c:pt>
                <c:pt idx="44">
                  <c:v>0.30417377406912238</c:v>
                </c:pt>
                <c:pt idx="45">
                  <c:v>0.30429474182711519</c:v>
                </c:pt>
                <c:pt idx="46">
                  <c:v>0.30416987037597953</c:v>
                </c:pt>
                <c:pt idx="47">
                  <c:v>0.30177142857142858</c:v>
                </c:pt>
                <c:pt idx="48">
                  <c:v>0.30034428178139644</c:v>
                </c:pt>
                <c:pt idx="49">
                  <c:v>0.30020553910468561</c:v>
                </c:pt>
                <c:pt idx="50">
                  <c:v>0.30020393921120919</c:v>
                </c:pt>
                <c:pt idx="51">
                  <c:v>0.30029572161037082</c:v>
                </c:pt>
                <c:pt idx="52">
                  <c:v>0.30085731375024921</c:v>
                </c:pt>
                <c:pt idx="53">
                  <c:v>0.30374794069192751</c:v>
                </c:pt>
                <c:pt idx="54">
                  <c:v>0.30475569923731716</c:v>
                </c:pt>
                <c:pt idx="55">
                  <c:v>0.30484411191281596</c:v>
                </c:pt>
                <c:pt idx="56">
                  <c:v>0.29666067320451317</c:v>
                </c:pt>
                <c:pt idx="57">
                  <c:v>0.25400835544515327</c:v>
                </c:pt>
                <c:pt idx="58">
                  <c:v>0.23382400369980466</c:v>
                </c:pt>
                <c:pt idx="59">
                  <c:v>0.23943026116791946</c:v>
                </c:pt>
                <c:pt idx="60">
                  <c:v>0.25369491863085675</c:v>
                </c:pt>
                <c:pt idx="61">
                  <c:v>0.26335839430757868</c:v>
                </c:pt>
                <c:pt idx="62">
                  <c:v>0.24811366501794199</c:v>
                </c:pt>
                <c:pt idx="63">
                  <c:v>0.25331883600138116</c:v>
                </c:pt>
                <c:pt idx="64">
                  <c:v>0.27606841827999473</c:v>
                </c:pt>
                <c:pt idx="65">
                  <c:v>0.28160478817918266</c:v>
                </c:pt>
                <c:pt idx="66">
                  <c:v>0.29229782021117312</c:v>
                </c:pt>
                <c:pt idx="67">
                  <c:v>0.30127414335954045</c:v>
                </c:pt>
                <c:pt idx="68">
                  <c:v>0.30305886879569066</c:v>
                </c:pt>
                <c:pt idx="69">
                  <c:v>0.30492991022208221</c:v>
                </c:pt>
                <c:pt idx="70">
                  <c:v>0.30628978911194849</c:v>
                </c:pt>
                <c:pt idx="71">
                  <c:v>0.30507690665654685</c:v>
                </c:pt>
                <c:pt idx="72">
                  <c:v>0.30607670596048481</c:v>
                </c:pt>
                <c:pt idx="73">
                  <c:v>0.3116373241246056</c:v>
                </c:pt>
                <c:pt idx="74">
                  <c:v>0.31424842998124136</c:v>
                </c:pt>
                <c:pt idx="75">
                  <c:v>0.31320176754871626</c:v>
                </c:pt>
                <c:pt idx="76">
                  <c:v>0.31380953870863448</c:v>
                </c:pt>
                <c:pt idx="77">
                  <c:v>0.32590348409435188</c:v>
                </c:pt>
                <c:pt idx="78">
                  <c:v>0.33061711871301291</c:v>
                </c:pt>
                <c:pt idx="79">
                  <c:v>0.33376024237416513</c:v>
                </c:pt>
                <c:pt idx="80">
                  <c:v>0.334863282523373</c:v>
                </c:pt>
                <c:pt idx="81">
                  <c:v>0.33732775797715603</c:v>
                </c:pt>
                <c:pt idx="82">
                  <c:v>0.3340239432262419</c:v>
                </c:pt>
                <c:pt idx="83">
                  <c:v>0.32813911724353323</c:v>
                </c:pt>
                <c:pt idx="84">
                  <c:v>0.32451377453380215</c:v>
                </c:pt>
                <c:pt idx="85">
                  <c:v>0.3242920313313794</c:v>
                </c:pt>
                <c:pt idx="86">
                  <c:v>0.32834757834757833</c:v>
                </c:pt>
                <c:pt idx="87">
                  <c:v>0.33024565689467972</c:v>
                </c:pt>
                <c:pt idx="88">
                  <c:v>0.33047076978575868</c:v>
                </c:pt>
                <c:pt idx="89">
                  <c:v>0.32960364974033468</c:v>
                </c:pt>
                <c:pt idx="90">
                  <c:v>0.32877782475231143</c:v>
                </c:pt>
                <c:pt idx="91">
                  <c:v>0.33265505668454848</c:v>
                </c:pt>
                <c:pt idx="92">
                  <c:v>0.33383080669232584</c:v>
                </c:pt>
                <c:pt idx="93">
                  <c:v>0.33445095599479496</c:v>
                </c:pt>
                <c:pt idx="94">
                  <c:v>0.33425385899470356</c:v>
                </c:pt>
                <c:pt idx="95">
                  <c:v>0.33302358553829059</c:v>
                </c:pt>
                <c:pt idx="96">
                  <c:v>0.3331230702831911</c:v>
                </c:pt>
                <c:pt idx="97">
                  <c:v>0.33248279672509923</c:v>
                </c:pt>
                <c:pt idx="98">
                  <c:v>0.33184443040565192</c:v>
                </c:pt>
                <c:pt idx="99">
                  <c:v>0.31234357273380736</c:v>
                </c:pt>
                <c:pt idx="100">
                  <c:v>0.30123106937136429</c:v>
                </c:pt>
                <c:pt idx="101">
                  <c:v>0.30056872662328632</c:v>
                </c:pt>
              </c:numCache>
            </c:numRef>
          </c:xVal>
          <c:yVal>
            <c:numRef>
              <c:f>Sheet1!$B$2:$B$103</c:f>
              <c:numCache>
                <c:formatCode>General</c:formatCode>
                <c:ptCount val="102"/>
                <c:pt idx="0">
                  <c:v>3.1549194168607006E-2</c:v>
                </c:pt>
                <c:pt idx="1">
                  <c:v>2.5925076493376501E-2</c:v>
                </c:pt>
                <c:pt idx="2">
                  <c:v>1.9457371147598559E-2</c:v>
                </c:pt>
                <c:pt idx="3">
                  <c:v>2.1005226955186754E-2</c:v>
                </c:pt>
                <c:pt idx="4">
                  <c:v>2.3683174888924508E-2</c:v>
                </c:pt>
                <c:pt idx="5">
                  <c:v>2.4814911692122233E-2</c:v>
                </c:pt>
                <c:pt idx="6">
                  <c:v>2.2966901329024649E-2</c:v>
                </c:pt>
                <c:pt idx="7">
                  <c:v>2.1693356757167159E-2</c:v>
                </c:pt>
                <c:pt idx="8">
                  <c:v>2.508474647577718E-2</c:v>
                </c:pt>
                <c:pt idx="9">
                  <c:v>3.2219360006132694E-2</c:v>
                </c:pt>
                <c:pt idx="10">
                  <c:v>3.3455366889535383E-2</c:v>
                </c:pt>
                <c:pt idx="11">
                  <c:v>3.0774205038558523E-2</c:v>
                </c:pt>
                <c:pt idx="12">
                  <c:v>3.166311843777065E-2</c:v>
                </c:pt>
                <c:pt idx="13">
                  <c:v>2.9573633835338665E-2</c:v>
                </c:pt>
                <c:pt idx="14">
                  <c:v>2.9438294749618857E-2</c:v>
                </c:pt>
                <c:pt idx="15">
                  <c:v>3.2326555355538883E-2</c:v>
                </c:pt>
                <c:pt idx="16">
                  <c:v>3.0454183212358377E-2</c:v>
                </c:pt>
                <c:pt idx="17">
                  <c:v>3.0177244147381318E-2</c:v>
                </c:pt>
                <c:pt idx="18">
                  <c:v>3.0949579617420526E-2</c:v>
                </c:pt>
                <c:pt idx="19">
                  <c:v>3.3044676701229417E-2</c:v>
                </c:pt>
                <c:pt idx="20">
                  <c:v>3.4502368865567047E-2</c:v>
                </c:pt>
                <c:pt idx="21">
                  <c:v>3.8171203781773647E-2</c:v>
                </c:pt>
                <c:pt idx="22">
                  <c:v>3.2633840746857157E-2</c:v>
                </c:pt>
                <c:pt idx="23">
                  <c:v>3.22851825867847E-2</c:v>
                </c:pt>
                <c:pt idx="24">
                  <c:v>3.4293774474369265E-2</c:v>
                </c:pt>
                <c:pt idx="25">
                  <c:v>3.3493331489235549E-2</c:v>
                </c:pt>
                <c:pt idx="26">
                  <c:v>3.2256296982208908E-2</c:v>
                </c:pt>
                <c:pt idx="27">
                  <c:v>3.256327154323236E-2</c:v>
                </c:pt>
                <c:pt idx="28">
                  <c:v>3.0215972855570965E-2</c:v>
                </c:pt>
                <c:pt idx="29">
                  <c:v>2.971323515475446E-2</c:v>
                </c:pt>
                <c:pt idx="30">
                  <c:v>2.9886044202056927E-2</c:v>
                </c:pt>
                <c:pt idx="31">
                  <c:v>3.0113049153545669E-2</c:v>
                </c:pt>
                <c:pt idx="32">
                  <c:v>3.0121682992946059E-2</c:v>
                </c:pt>
                <c:pt idx="33">
                  <c:v>2.8704102443482309E-2</c:v>
                </c:pt>
                <c:pt idx="34">
                  <c:v>3.0602403901330309E-2</c:v>
                </c:pt>
                <c:pt idx="35">
                  <c:v>3.1456536502498786E-2</c:v>
                </c:pt>
                <c:pt idx="36">
                  <c:v>3.1516667937295108E-2</c:v>
                </c:pt>
                <c:pt idx="37">
                  <c:v>3.3226585884057164E-2</c:v>
                </c:pt>
                <c:pt idx="38">
                  <c:v>3.3016326225624587E-2</c:v>
                </c:pt>
                <c:pt idx="39">
                  <c:v>3.0075909553288729E-2</c:v>
                </c:pt>
                <c:pt idx="40">
                  <c:v>3.0308227143147046E-2</c:v>
                </c:pt>
                <c:pt idx="41">
                  <c:v>3.1273537834975489E-2</c:v>
                </c:pt>
                <c:pt idx="42">
                  <c:v>3.0059016900147784E-2</c:v>
                </c:pt>
                <c:pt idx="43">
                  <c:v>3.0573863083611635E-2</c:v>
                </c:pt>
                <c:pt idx="44">
                  <c:v>3.254448153409624E-2</c:v>
                </c:pt>
                <c:pt idx="45">
                  <c:v>3.2420025270644671E-2</c:v>
                </c:pt>
                <c:pt idx="46">
                  <c:v>3.0841270586476857E-2</c:v>
                </c:pt>
                <c:pt idx="47">
                  <c:v>3.4545476528939606E-2</c:v>
                </c:pt>
                <c:pt idx="48">
                  <c:v>3.9378011399146942E-2</c:v>
                </c:pt>
                <c:pt idx="49">
                  <c:v>3.4585845792310457E-2</c:v>
                </c:pt>
                <c:pt idx="50">
                  <c:v>3.6889295123608744E-2</c:v>
                </c:pt>
                <c:pt idx="51">
                  <c:v>3.516974061970235E-2</c:v>
                </c:pt>
                <c:pt idx="52">
                  <c:v>3.3440411726256954E-2</c:v>
                </c:pt>
                <c:pt idx="53">
                  <c:v>3.0775515895011849E-2</c:v>
                </c:pt>
                <c:pt idx="54">
                  <c:v>2.856172806220978E-2</c:v>
                </c:pt>
                <c:pt idx="55">
                  <c:v>2.9260191711765828E-2</c:v>
                </c:pt>
                <c:pt idx="56">
                  <c:v>3.1178692703543048E-2</c:v>
                </c:pt>
                <c:pt idx="57">
                  <c:v>3.7031471681131703E-2</c:v>
                </c:pt>
                <c:pt idx="58">
                  <c:v>3.9909501581123753E-2</c:v>
                </c:pt>
                <c:pt idx="59">
                  <c:v>3.3090443177845791E-2</c:v>
                </c:pt>
                <c:pt idx="60">
                  <c:v>2.0429936026239697E-2</c:v>
                </c:pt>
                <c:pt idx="61">
                  <c:v>1.5942339180034886E-2</c:v>
                </c:pt>
                <c:pt idx="62">
                  <c:v>2.6561543645322632E-2</c:v>
                </c:pt>
                <c:pt idx="63">
                  <c:v>3.5068893654044385E-2</c:v>
                </c:pt>
                <c:pt idx="64">
                  <c:v>3.0967228847484717E-2</c:v>
                </c:pt>
                <c:pt idx="65">
                  <c:v>2.6027056162994167E-2</c:v>
                </c:pt>
                <c:pt idx="66">
                  <c:v>2.5871503741223587E-2</c:v>
                </c:pt>
                <c:pt idx="67">
                  <c:v>2.691260699372984E-2</c:v>
                </c:pt>
                <c:pt idx="68">
                  <c:v>2.5874418970458959E-2</c:v>
                </c:pt>
                <c:pt idx="69">
                  <c:v>2.3193315376484971E-2</c:v>
                </c:pt>
                <c:pt idx="70">
                  <c:v>2.2686657383630057E-2</c:v>
                </c:pt>
                <c:pt idx="71">
                  <c:v>2.6189284143623485E-2</c:v>
                </c:pt>
                <c:pt idx="72">
                  <c:v>2.7336338114147821E-2</c:v>
                </c:pt>
                <c:pt idx="73">
                  <c:v>2.7740990571672709E-2</c:v>
                </c:pt>
                <c:pt idx="74">
                  <c:v>2.8775273119844166E-2</c:v>
                </c:pt>
                <c:pt idx="75">
                  <c:v>2.8510329318482425E-2</c:v>
                </c:pt>
                <c:pt idx="76">
                  <c:v>2.7909474603405617E-2</c:v>
                </c:pt>
                <c:pt idx="77">
                  <c:v>2.354699792786898E-2</c:v>
                </c:pt>
                <c:pt idx="78">
                  <c:v>2.3516397046911525E-2</c:v>
                </c:pt>
                <c:pt idx="79">
                  <c:v>2.2115174941799768E-2</c:v>
                </c:pt>
                <c:pt idx="80">
                  <c:v>2.2268202762568419E-2</c:v>
                </c:pt>
                <c:pt idx="81">
                  <c:v>2.1244426266941792E-2</c:v>
                </c:pt>
                <c:pt idx="82">
                  <c:v>3.1177386289303839E-2</c:v>
                </c:pt>
                <c:pt idx="83">
                  <c:v>2.6306476866990773E-2</c:v>
                </c:pt>
                <c:pt idx="84">
                  <c:v>2.5524833007679375E-2</c:v>
                </c:pt>
                <c:pt idx="85">
                  <c:v>2.6871534411513368E-2</c:v>
                </c:pt>
                <c:pt idx="86">
                  <c:v>2.6338851413823878E-2</c:v>
                </c:pt>
                <c:pt idx="87">
                  <c:v>2.4648701089615546E-2</c:v>
                </c:pt>
                <c:pt idx="88">
                  <c:v>2.6238033764437702E-2</c:v>
                </c:pt>
                <c:pt idx="89">
                  <c:v>3.0191859532939729E-2</c:v>
                </c:pt>
                <c:pt idx="90">
                  <c:v>3.0716851696320817E-2</c:v>
                </c:pt>
                <c:pt idx="91">
                  <c:v>3.1790352756617284E-2</c:v>
                </c:pt>
                <c:pt idx="92">
                  <c:v>2.9789485452214992E-2</c:v>
                </c:pt>
                <c:pt idx="93">
                  <c:v>2.7419432969366012E-2</c:v>
                </c:pt>
                <c:pt idx="94">
                  <c:v>2.5375304588112154E-2</c:v>
                </c:pt>
                <c:pt idx="95">
                  <c:v>2.7271435244645044E-2</c:v>
                </c:pt>
                <c:pt idx="96">
                  <c:v>2.4300725205733124E-2</c:v>
                </c:pt>
                <c:pt idx="97">
                  <c:v>2.5953063658202231E-2</c:v>
                </c:pt>
                <c:pt idx="98">
                  <c:v>2.870484051773789E-2</c:v>
                </c:pt>
                <c:pt idx="99">
                  <c:v>3.0161179689259059E-2</c:v>
                </c:pt>
                <c:pt idx="100">
                  <c:v>3.7558407981539428E-2</c:v>
                </c:pt>
                <c:pt idx="101">
                  <c:v>3.5796970668813106E-2</c:v>
                </c:pt>
              </c:numCache>
            </c:numRef>
          </c:yVal>
          <c:smooth val="0"/>
          <c:extLst>
            <c:ext xmlns:c16="http://schemas.microsoft.com/office/drawing/2014/chart" uri="{C3380CC4-5D6E-409C-BE32-E72D297353CC}">
              <c16:uniqueId val="{00000000-F32D-48B7-BC20-E66FC6253BAD}"/>
            </c:ext>
          </c:extLst>
        </c:ser>
        <c:ser>
          <c:idx val="1"/>
          <c:order val="1"/>
          <c:tx>
            <c:strRef>
              <c:f>Sheet1!$B$10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6:$A$157</c:f>
              <c:numCache>
                <c:formatCode>General</c:formatCode>
                <c:ptCount val="52"/>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numCache>
            </c:numRef>
          </c:xVal>
          <c:yVal>
            <c:numRef>
              <c:f>Sheet1!$B$106:$B$157</c:f>
              <c:numCache>
                <c:formatCode>General</c:formatCode>
                <c:ptCount val="52"/>
                <c:pt idx="0">
                  <c:v>3.3379430772150658E-2</c:v>
                </c:pt>
                <c:pt idx="1">
                  <c:v>3.5297770608354727E-2</c:v>
                </c:pt>
                <c:pt idx="2">
                  <c:v>3.603152077608085E-2</c:v>
                </c:pt>
                <c:pt idx="3">
                  <c:v>3.0978674639028675E-2</c:v>
                </c:pt>
                <c:pt idx="4">
                  <c:v>2.8133515753956471E-2</c:v>
                </c:pt>
                <c:pt idx="5">
                  <c:v>2.7512069607189618E-2</c:v>
                </c:pt>
                <c:pt idx="6">
                  <c:v>2.7535908601076187E-2</c:v>
                </c:pt>
                <c:pt idx="7">
                  <c:v>2.7306049137985969E-2</c:v>
                </c:pt>
                <c:pt idx="8">
                  <c:v>2.6838607545871734E-2</c:v>
                </c:pt>
                <c:pt idx="9">
                  <c:v>2.8577136215520643E-2</c:v>
                </c:pt>
                <c:pt idx="10">
                  <c:v>2.9045708307140341E-2</c:v>
                </c:pt>
                <c:pt idx="11">
                  <c:v>3.0151694267354034E-2</c:v>
                </c:pt>
                <c:pt idx="12">
                  <c:v>3.1278274774940926E-2</c:v>
                </c:pt>
                <c:pt idx="13">
                  <c:v>3.2623144271831599E-2</c:v>
                </c:pt>
                <c:pt idx="14">
                  <c:v>3.2081452766552027E-2</c:v>
                </c:pt>
                <c:pt idx="15">
                  <c:v>2.8476513020004538E-2</c:v>
                </c:pt>
                <c:pt idx="16">
                  <c:v>2.8897929262062423E-2</c:v>
                </c:pt>
                <c:pt idx="17">
                  <c:v>2.8572345272906727E-2</c:v>
                </c:pt>
                <c:pt idx="18">
                  <c:v>2.7582157287634194E-2</c:v>
                </c:pt>
                <c:pt idx="19">
                  <c:v>2.6684207925807661E-2</c:v>
                </c:pt>
                <c:pt idx="20">
                  <c:v>2.5074098168638374E-2</c:v>
                </c:pt>
                <c:pt idx="21">
                  <c:v>3.7053775555914395E-2</c:v>
                </c:pt>
                <c:pt idx="22">
                  <c:v>4.1201839145334811E-2</c:v>
                </c:pt>
                <c:pt idx="23">
                  <c:v>3.952108516249337E-2</c:v>
                </c:pt>
                <c:pt idx="24">
                  <c:v>3.301132678213544E-2</c:v>
                </c:pt>
                <c:pt idx="25">
                  <c:v>3.4672282379825628E-2</c:v>
                </c:pt>
                <c:pt idx="26">
                  <c:v>3.6478521099227869E-2</c:v>
                </c:pt>
                <c:pt idx="27">
                  <c:v>3.1719960612283417E-2</c:v>
                </c:pt>
                <c:pt idx="28">
                  <c:v>2.9844699099281863E-2</c:v>
                </c:pt>
                <c:pt idx="29">
                  <c:v>2.8247037929351546E-2</c:v>
                </c:pt>
                <c:pt idx="30">
                  <c:v>2.3926861689124793E-2</c:v>
                </c:pt>
                <c:pt idx="31">
                  <c:v>2.0770671408149036E-2</c:v>
                </c:pt>
                <c:pt idx="32">
                  <c:v>2.3460558709885785E-2</c:v>
                </c:pt>
                <c:pt idx="33">
                  <c:v>3.0427962862070307E-2</c:v>
                </c:pt>
                <c:pt idx="34">
                  <c:v>3.1037706913624008E-2</c:v>
                </c:pt>
                <c:pt idx="35">
                  <c:v>2.928997264422914E-2</c:v>
                </c:pt>
                <c:pt idx="36">
                  <c:v>2.9697936908540855E-2</c:v>
                </c:pt>
                <c:pt idx="37">
                  <c:v>3.0248130900335804E-2</c:v>
                </c:pt>
                <c:pt idx="38">
                  <c:v>3.5070387750061743E-2</c:v>
                </c:pt>
                <c:pt idx="39">
                  <c:v>3.1208337770205517E-2</c:v>
                </c:pt>
                <c:pt idx="40">
                  <c:v>2.6826790166755026E-2</c:v>
                </c:pt>
                <c:pt idx="41">
                  <c:v>2.4203784771293646E-2</c:v>
                </c:pt>
                <c:pt idx="42">
                  <c:v>2.4098053977022377E-2</c:v>
                </c:pt>
                <c:pt idx="43">
                  <c:v>2.4523754132153155E-2</c:v>
                </c:pt>
                <c:pt idx="44">
                  <c:v>2.2379504666963371E-2</c:v>
                </c:pt>
                <c:pt idx="45">
                  <c:v>2.104065524243157E-2</c:v>
                </c:pt>
                <c:pt idx="46">
                  <c:v>2.2028240128902143E-2</c:v>
                </c:pt>
                <c:pt idx="47">
                  <c:v>2.3321641522021073E-2</c:v>
                </c:pt>
                <c:pt idx="48">
                  <c:v>2.5721900660138006E-2</c:v>
                </c:pt>
                <c:pt idx="49">
                  <c:v>2.4967370312040958E-2</c:v>
                </c:pt>
                <c:pt idx="50">
                  <c:v>2.6033359791458374E-2</c:v>
                </c:pt>
                <c:pt idx="51">
                  <c:v>2.5702227757022279E-2</c:v>
                </c:pt>
              </c:numCache>
            </c:numRef>
          </c:yVal>
          <c:smooth val="0"/>
          <c:extLst>
            <c:ext xmlns:c16="http://schemas.microsoft.com/office/drawing/2014/chart" uri="{C3380CC4-5D6E-409C-BE32-E72D297353CC}">
              <c16:uniqueId val="{00000002-F32D-48B7-BC20-E66FC6253BAD}"/>
            </c:ext>
          </c:extLst>
        </c:ser>
        <c:ser>
          <c:idx val="2"/>
          <c:order val="2"/>
          <c:tx>
            <c:strRef>
              <c:f>Sheet1!$B$159</c:f>
              <c:strCache>
                <c:ptCount val="1"/>
                <c:pt idx="0">
                  <c:v>Custom Linep3yQ</c:v>
                </c:pt>
              </c:strCache>
            </c:strRef>
          </c:tx>
          <c:spPr>
            <a:ln w="19050" cap="rnd">
              <a:solidFill>
                <a:srgbClr val="C00000"/>
              </a:solidFill>
              <a:prstDash val="sysDot"/>
              <a:round/>
            </a:ln>
            <a:effectLst/>
          </c:spPr>
          <c:marker>
            <c:symbol val="none"/>
          </c:marker>
          <c:xVal>
            <c:numRef>
              <c:f>Sheet1!$A$160:$A$161</c:f>
              <c:numCache>
                <c:formatCode>General</c:formatCode>
                <c:ptCount val="2"/>
                <c:pt idx="0">
                  <c:v>0</c:v>
                </c:pt>
                <c:pt idx="1">
                  <c:v>0.27575744047645689</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3-F32D-48B7-BC20-E66FC6253BAD}"/>
            </c:ext>
          </c:extLst>
        </c:ser>
        <c:ser>
          <c:idx val="3"/>
          <c:order val="3"/>
          <c:tx>
            <c:strRef>
              <c:f>Sheet1!$B$16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0.27575744047645689</c:v>
                </c:pt>
                <c:pt idx="1">
                  <c:v>0.27575744047645689</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8:$A$169</c:f>
              <c:numCache>
                <c:formatCode>General</c:formatCode>
                <c:ptCount val="2"/>
                <c:pt idx="0">
                  <c:v>0</c:v>
                </c:pt>
                <c:pt idx="1">
                  <c:v>0.28987004975079905</c:v>
                </c:pt>
              </c:numCache>
            </c:numRef>
          </c:xVal>
          <c:yVal>
            <c:numRef>
              <c:f>Sheet1!$B$168:$B$169</c:f>
              <c:numCache>
                <c:formatCode>General</c:formatCode>
                <c:ptCount val="2"/>
                <c:pt idx="0">
                  <c:v>3.1101577984060606E-2</c:v>
                </c:pt>
                <c:pt idx="1">
                  <c:v>3.1101577984060606E-2</c:v>
                </c:pt>
              </c:numCache>
            </c:numRef>
          </c:yVal>
          <c:smooth val="0"/>
          <c:extLst>
            <c:ext xmlns:c16="http://schemas.microsoft.com/office/drawing/2014/chart" uri="{C3380CC4-5D6E-409C-BE32-E72D297353CC}">
              <c16:uniqueId val="{0000000A-F32D-48B7-BC20-E66FC6253BAD}"/>
            </c:ext>
          </c:extLst>
        </c:ser>
        <c:ser>
          <c:idx val="5"/>
          <c:order val="5"/>
          <c:tx>
            <c:strRef>
              <c:f>Sheet1!$B$17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0.28987004975079905</c:v>
                </c:pt>
                <c:pt idx="1">
                  <c:v>0.28987004975079905</c:v>
                </c:pt>
              </c:numCache>
            </c:numRef>
          </c:xVal>
          <c:yVal>
            <c:numRef>
              <c:f>Sheet1!$B$172:$B$173</c:f>
              <c:numCache>
                <c:formatCode>General</c:formatCode>
                <c:ptCount val="2"/>
                <c:pt idx="0">
                  <c:v>3.1101577984060606E-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6:$A$177</c:f>
              <c:numCache>
                <c:formatCode>General</c:formatCode>
                <c:ptCount val="2"/>
                <c:pt idx="0">
                  <c:v>0</c:v>
                </c:pt>
                <c:pt idx="1">
                  <c:v>0.32888493428125432</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1-F32D-48B7-BC20-E66FC6253BAD}"/>
            </c:ext>
          </c:extLst>
        </c:ser>
        <c:ser>
          <c:idx val="7"/>
          <c:order val="7"/>
          <c:tx>
            <c:strRef>
              <c:f>Sheet1!$B$17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0:$A$181</c:f>
              <c:numCache>
                <c:formatCode>General</c:formatCode>
                <c:ptCount val="2"/>
                <c:pt idx="0">
                  <c:v>0.32888493428125432</c:v>
                </c:pt>
                <c:pt idx="1">
                  <c:v>0.32888493428125432</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4:$A$238</c:f>
              <c:numCache>
                <c:formatCode>General</c:formatCode>
                <c:ptCount val="55"/>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pt idx="52">
                  <c:v>0.28987004975079905</c:v>
                </c:pt>
                <c:pt idx="53">
                  <c:v>0.27575744047645689</c:v>
                </c:pt>
                <c:pt idx="54">
                  <c:v>0.32888493428125432</c:v>
                </c:pt>
              </c:numCache>
            </c:numRef>
          </c:xVal>
          <c:yVal>
            <c:numRef>
              <c:f>Sheet1!$B$184:$B$238</c:f>
              <c:numCache>
                <c:formatCode>General</c:formatCode>
                <c:ptCount val="55"/>
                <c:pt idx="0">
                  <c:v>2.9413873016704839E-2</c:v>
                </c:pt>
                <c:pt idx="1">
                  <c:v>2.9896344890080709E-2</c:v>
                </c:pt>
                <c:pt idx="2">
                  <c:v>3.0155656486461964E-2</c:v>
                </c:pt>
                <c:pt idx="3">
                  <c:v>2.7109900331363727E-2</c:v>
                </c:pt>
                <c:pt idx="4">
                  <c:v>2.4371775225560388E-2</c:v>
                </c:pt>
                <c:pt idx="5">
                  <c:v>2.4094268404047922E-2</c:v>
                </c:pt>
                <c:pt idx="6">
                  <c:v>2.4322183284519114E-2</c:v>
                </c:pt>
                <c:pt idx="7">
                  <c:v>2.5263903460272262E-2</c:v>
                </c:pt>
                <c:pt idx="8">
                  <c:v>2.7533717749061021E-2</c:v>
                </c:pt>
                <c:pt idx="9">
                  <c:v>2.9136059572005948E-2</c:v>
                </c:pt>
                <c:pt idx="10">
                  <c:v>2.8439725189245424E-2</c:v>
                </c:pt>
                <c:pt idx="11">
                  <c:v>2.8481575446516888E-2</c:v>
                </c:pt>
                <c:pt idx="12">
                  <c:v>3.0108594349578348E-2</c:v>
                </c:pt>
                <c:pt idx="13">
                  <c:v>3.169054387055209E-2</c:v>
                </c:pt>
                <c:pt idx="14">
                  <c:v>3.1465934595702259E-2</c:v>
                </c:pt>
                <c:pt idx="15">
                  <c:v>3.1477667841337743E-2</c:v>
                </c:pt>
                <c:pt idx="16">
                  <c:v>3.1573121681829512E-2</c:v>
                </c:pt>
                <c:pt idx="17">
                  <c:v>3.1532924296196564E-2</c:v>
                </c:pt>
                <c:pt idx="18">
                  <c:v>3.0515660900336583E-2</c:v>
                </c:pt>
                <c:pt idx="19">
                  <c:v>3.0211789143868836E-2</c:v>
                </c:pt>
                <c:pt idx="20">
                  <c:v>2.8955614795748236E-2</c:v>
                </c:pt>
                <c:pt idx="21">
                  <c:v>3.2772131418724967E-2</c:v>
                </c:pt>
                <c:pt idx="22">
                  <c:v>3.3542665870490845E-2</c:v>
                </c:pt>
                <c:pt idx="23">
                  <c:v>3.3435184307609174E-2</c:v>
                </c:pt>
                <c:pt idx="24">
                  <c:v>3.268271460365052E-2</c:v>
                </c:pt>
                <c:pt idx="25">
                  <c:v>3.3870059534782497E-2</c:v>
                </c:pt>
                <c:pt idx="26">
                  <c:v>3.3073079926514877E-2</c:v>
                </c:pt>
                <c:pt idx="27">
                  <c:v>3.1808643842456727E-2</c:v>
                </c:pt>
                <c:pt idx="28">
                  <c:v>3.0502176751221188E-2</c:v>
                </c:pt>
                <c:pt idx="29">
                  <c:v>2.7906678470255915E-2</c:v>
                </c:pt>
                <c:pt idx="30">
                  <c:v>2.5033266393526828E-2</c:v>
                </c:pt>
                <c:pt idx="31">
                  <c:v>2.630903103630991E-2</c:v>
                </c:pt>
                <c:pt idx="32">
                  <c:v>2.8693045313762239E-2</c:v>
                </c:pt>
                <c:pt idx="33">
                  <c:v>3.2596808075387743E-2</c:v>
                </c:pt>
                <c:pt idx="34">
                  <c:v>3.3462836223474769E-2</c:v>
                </c:pt>
                <c:pt idx="35">
                  <c:v>3.1780988069129081E-2</c:v>
                </c:pt>
                <c:pt idx="36">
                  <c:v>3.2997078119396075E-2</c:v>
                </c:pt>
                <c:pt idx="37">
                  <c:v>3.4241810296995578E-2</c:v>
                </c:pt>
                <c:pt idx="38">
                  <c:v>3.5259393566231922E-2</c:v>
                </c:pt>
                <c:pt idx="39">
                  <c:v>3.2524924643797831E-2</c:v>
                </c:pt>
                <c:pt idx="40">
                  <c:v>2.8308242375685959E-2</c:v>
                </c:pt>
                <c:pt idx="41">
                  <c:v>2.54404048951909E-2</c:v>
                </c:pt>
                <c:pt idx="42">
                  <c:v>2.3287513921568817E-2</c:v>
                </c:pt>
                <c:pt idx="43">
                  <c:v>2.3365554652546534E-2</c:v>
                </c:pt>
                <c:pt idx="44">
                  <c:v>2.3054756675168077E-2</c:v>
                </c:pt>
                <c:pt idx="45">
                  <c:v>2.3566114628330095E-2</c:v>
                </c:pt>
                <c:pt idx="46">
                  <c:v>2.5888630394799238E-2</c:v>
                </c:pt>
                <c:pt idx="47">
                  <c:v>2.6265547596405793E-2</c:v>
                </c:pt>
                <c:pt idx="48">
                  <c:v>2.7412822111043234E-2</c:v>
                </c:pt>
                <c:pt idx="49">
                  <c:v>2.5962622488181153E-2</c:v>
                </c:pt>
                <c:pt idx="50">
                  <c:v>2.4525712064247307E-2</c:v>
                </c:pt>
                <c:pt idx="51">
                  <c:v>2.4473274634488791E-2</c:v>
                </c:pt>
                <c:pt idx="52">
                  <c:v>3.1101577984060602E-2</c:v>
                </c:pt>
                <c:pt idx="53">
                  <c:v>3.3390590546211449E-2</c:v>
                </c:pt>
                <c:pt idx="54">
                  <c:v>2.4773509299877497E-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40737801608579088"/>
          <c:min val="0.18705920295984374"/>
        </c:scaling>
        <c:delete val="0"/>
        <c:axPos val="b"/>
        <c:title>
          <c:tx>
            <c:rich>
              <a:bodyPr rot="0" spcFirstLastPara="1" vertOverflow="ellipsis" vert="horz" wrap="square" anchor="ctr" anchorCtr="1"/>
              <a:lstStyle/>
              <a:p>
                <a:pPr>
                  <a:defRPr sz="800" b="0">
                    <a:latin typeface="Nexa Bold"/>
                  </a:defRPr>
                </a:pPr>
                <a:r>
                  <a:rPr lang="en-US"/>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1291069944164441</c:v>
                </c:pt>
                <c:pt idx="1">
                  <c:v>0.13485892486555889</c:v>
                </c:pt>
                <c:pt idx="2">
                  <c:v>0.13361697278764331</c:v>
                </c:pt>
                <c:pt idx="3">
                  <c:v>0.13181455947245191</c:v>
                </c:pt>
                <c:pt idx="4">
                  <c:v>0.13079849733141291</c:v>
                </c:pt>
                <c:pt idx="5">
                  <c:v>0.12786527339341361</c:v>
                </c:pt>
                <c:pt idx="6">
                  <c:v>0.13389772495720559</c:v>
                </c:pt>
                <c:pt idx="7">
                  <c:v>0.1359519354250221</c:v>
                </c:pt>
                <c:pt idx="8">
                  <c:v>0.13408395448492219</c:v>
                </c:pt>
                <c:pt idx="9">
                  <c:v>0.1272173036352085</c:v>
                </c:pt>
                <c:pt idx="10">
                  <c:v>0.12580154817273331</c:v>
                </c:pt>
                <c:pt idx="11">
                  <c:v>0.1247833670603628</c:v>
                </c:pt>
                <c:pt idx="12">
                  <c:v>0.12616612542700109</c:v>
                </c:pt>
                <c:pt idx="13">
                  <c:v>0.13426073846412021</c:v>
                </c:pt>
                <c:pt idx="14">
                  <c:v>0.13040345544745011</c:v>
                </c:pt>
                <c:pt idx="15">
                  <c:v>0.12568196098787579</c:v>
                </c:pt>
                <c:pt idx="16">
                  <c:v>0.1284543866213313</c:v>
                </c:pt>
                <c:pt idx="17">
                  <c:v>0.13252000199740169</c:v>
                </c:pt>
                <c:pt idx="18">
                  <c:v>0.12612196270786419</c:v>
                </c:pt>
                <c:pt idx="19">
                  <c:v>0.13496886950214251</c:v>
                </c:pt>
                <c:pt idx="20">
                  <c:v>0.13064933940560819</c:v>
                </c:pt>
                <c:pt idx="21">
                  <c:v>0.12635635491031241</c:v>
                </c:pt>
                <c:pt idx="22">
                  <c:v>0.12863609693980929</c:v>
                </c:pt>
                <c:pt idx="23">
                  <c:v>0.13116494310893009</c:v>
                </c:pt>
                <c:pt idx="24">
                  <c:v>0.1278058186678292</c:v>
                </c:pt>
                <c:pt idx="25">
                  <c:v>0.1235932293079324</c:v>
                </c:pt>
                <c:pt idx="26">
                  <c:v>0.12290934252239009</c:v>
                </c:pt>
                <c:pt idx="27">
                  <c:v>0.12109503765009599</c:v>
                </c:pt>
                <c:pt idx="28">
                  <c:v>0.12207135397276341</c:v>
                </c:pt>
                <c:pt idx="29">
                  <c:v>0.1263122981136704</c:v>
                </c:pt>
                <c:pt idx="30">
                  <c:v>0.1263263635992006</c:v>
                </c:pt>
                <c:pt idx="31">
                  <c:v>0.12476889875077329</c:v>
                </c:pt>
                <c:pt idx="32">
                  <c:v>0.12674353123399981</c:v>
                </c:pt>
                <c:pt idx="33">
                  <c:v>0.12588695742723971</c:v>
                </c:pt>
                <c:pt idx="34">
                  <c:v>0.12390000002667199</c:v>
                </c:pt>
                <c:pt idx="35">
                  <c:v>0.12440850519118039</c:v>
                </c:pt>
                <c:pt idx="36">
                  <c:v>0.12336288941275771</c:v>
                </c:pt>
                <c:pt idx="37">
                  <c:v>0.1236579395008299</c:v>
                </c:pt>
                <c:pt idx="38">
                  <c:v>0.1244360084590832</c:v>
                </c:pt>
                <c:pt idx="39">
                  <c:v>0.12224083915887329</c:v>
                </c:pt>
                <c:pt idx="40">
                  <c:v>0.1219327444047168</c:v>
                </c:pt>
                <c:pt idx="41">
                  <c:v>0.1250560323566518</c:v>
                </c:pt>
                <c:pt idx="42">
                  <c:v>0.12745512740440279</c:v>
                </c:pt>
                <c:pt idx="43">
                  <c:v>0.1211984894858895</c:v>
                </c:pt>
                <c:pt idx="44">
                  <c:v>0.1258670226690102</c:v>
                </c:pt>
                <c:pt idx="45">
                  <c:v>0.1272339848348821</c:v>
                </c:pt>
                <c:pt idx="46">
                  <c:v>0.13490346412193621</c:v>
                </c:pt>
                <c:pt idx="47">
                  <c:v>0.1232399985423943</c:v>
                </c:pt>
                <c:pt idx="48">
                  <c:v>0.12311641114157899</c:v>
                </c:pt>
                <c:pt idx="49">
                  <c:v>0.1234350759255986</c:v>
                </c:pt>
                <c:pt idx="50">
                  <c:v>0.12419744604278141</c:v>
                </c:pt>
                <c:pt idx="51">
                  <c:v>0.13145508336915421</c:v>
                </c:pt>
                <c:pt idx="52">
                  <c:v>0.13109930113357529</c:v>
                </c:pt>
                <c:pt idx="53">
                  <c:v>0.13568928560863899</c:v>
                </c:pt>
                <c:pt idx="54">
                  <c:v>0.1285210371531505</c:v>
                </c:pt>
                <c:pt idx="55">
                  <c:v>0.1300753516373136</c:v>
                </c:pt>
                <c:pt idx="56">
                  <c:v>0.12489749950473671</c:v>
                </c:pt>
                <c:pt idx="57">
                  <c:v>0.10266521645136149</c:v>
                </c:pt>
                <c:pt idx="58">
                  <c:v>9.4621929093130358E-2</c:v>
                </c:pt>
                <c:pt idx="59">
                  <c:v>9.8212612965823731E-2</c:v>
                </c:pt>
                <c:pt idx="60">
                  <c:v>0.1102654339127445</c:v>
                </c:pt>
                <c:pt idx="61">
                  <c:v>0.1086326326560431</c:v>
                </c:pt>
                <c:pt idx="62">
                  <c:v>0.10273100071317991</c:v>
                </c:pt>
                <c:pt idx="63">
                  <c:v>0.1056131313298932</c:v>
                </c:pt>
                <c:pt idx="64">
                  <c:v>0.116037952360732</c:v>
                </c:pt>
                <c:pt idx="65">
                  <c:v>0.13065683342069531</c:v>
                </c:pt>
                <c:pt idx="66">
                  <c:v>0.132712182958446</c:v>
                </c:pt>
                <c:pt idx="67">
                  <c:v>0.12498087731066</c:v>
                </c:pt>
                <c:pt idx="68">
                  <c:v>0.1318623648264734</c:v>
                </c:pt>
                <c:pt idx="69">
                  <c:v>0.13405085209231629</c:v>
                </c:pt>
                <c:pt idx="70">
                  <c:v>0.12663942767242409</c:v>
                </c:pt>
                <c:pt idx="71">
                  <c:v>0.13715997078444109</c:v>
                </c:pt>
                <c:pt idx="72">
                  <c:v>0.1312699287114284</c:v>
                </c:pt>
                <c:pt idx="73">
                  <c:v>0.1290474255800157</c:v>
                </c:pt>
                <c:pt idx="74">
                  <c:v>0.12976627424972709</c:v>
                </c:pt>
                <c:pt idx="75">
                  <c:v>0.12686829869724861</c:v>
                </c:pt>
                <c:pt idx="76">
                  <c:v>0.1253623579280761</c:v>
                </c:pt>
                <c:pt idx="77">
                  <c:v>0.12968156222074531</c:v>
                </c:pt>
                <c:pt idx="78">
                  <c:v>0.12750329032649099</c:v>
                </c:pt>
                <c:pt idx="79">
                  <c:v>0.12461050546445129</c:v>
                </c:pt>
                <c:pt idx="80">
                  <c:v>0.12900335189603049</c:v>
                </c:pt>
                <c:pt idx="81">
                  <c:v>0.12741746962889991</c:v>
                </c:pt>
                <c:pt idx="82">
                  <c:v>0.1227246355993528</c:v>
                </c:pt>
                <c:pt idx="83">
                  <c:v>0.12325497363003669</c:v>
                </c:pt>
                <c:pt idx="84">
                  <c:v>0.1237777050026681</c:v>
                </c:pt>
                <c:pt idx="85">
                  <c:v>0.1227618684932686</c:v>
                </c:pt>
                <c:pt idx="86">
                  <c:v>0.12625273778634091</c:v>
                </c:pt>
                <c:pt idx="87">
                  <c:v>0.12848401925218161</c:v>
                </c:pt>
                <c:pt idx="88">
                  <c:v>0.12808991008793849</c:v>
                </c:pt>
                <c:pt idx="89">
                  <c:v>0.12669599383578639</c:v>
                </c:pt>
                <c:pt idx="90">
                  <c:v>0.128457244567205</c:v>
                </c:pt>
                <c:pt idx="91">
                  <c:v>0.1287495738807907</c:v>
                </c:pt>
                <c:pt idx="92">
                  <c:v>0.12753778198649329</c:v>
                </c:pt>
                <c:pt idx="93">
                  <c:v>0.12858384689357691</c:v>
                </c:pt>
                <c:pt idx="94">
                  <c:v>0.13053873342212541</c:v>
                </c:pt>
                <c:pt idx="95">
                  <c:v>0.1283681251237693</c:v>
                </c:pt>
                <c:pt idx="96">
                  <c:v>0.12712219330013799</c:v>
                </c:pt>
                <c:pt idx="97">
                  <c:v>0.12537888942730019</c:v>
                </c:pt>
                <c:pt idx="98">
                  <c:v>0.12745921704595151</c:v>
                </c:pt>
                <c:pt idx="99">
                  <c:v>0.1212266665697815</c:v>
                </c:pt>
                <c:pt idx="100">
                  <c:v>0.1141728668578047</c:v>
                </c:pt>
                <c:pt idx="101">
                  <c:v>0.115957494325048</c:v>
                </c:pt>
              </c:numCache>
            </c:numRef>
          </c:xVal>
          <c:yVal>
            <c:numRef>
              <c:f>Sheet1!$B$2:$B$103</c:f>
              <c:numCache>
                <c:formatCode>General</c:formatCode>
                <c:ptCount val="102"/>
                <c:pt idx="0">
                  <c:v>3.1549194168607013E-2</c:v>
                </c:pt>
                <c:pt idx="1">
                  <c:v>2.5925076493376501E-2</c:v>
                </c:pt>
                <c:pt idx="2">
                  <c:v>1.9457371147598559E-2</c:v>
                </c:pt>
                <c:pt idx="3">
                  <c:v>2.1005226955186751E-2</c:v>
                </c:pt>
                <c:pt idx="4">
                  <c:v>2.3683174888924512E-2</c:v>
                </c:pt>
                <c:pt idx="5">
                  <c:v>2.481491169212223E-2</c:v>
                </c:pt>
                <c:pt idx="6">
                  <c:v>2.2966901329024649E-2</c:v>
                </c:pt>
                <c:pt idx="7">
                  <c:v>2.1693356757167159E-2</c:v>
                </c:pt>
                <c:pt idx="8">
                  <c:v>2.508474647577718E-2</c:v>
                </c:pt>
                <c:pt idx="9">
                  <c:v>3.2219360006132687E-2</c:v>
                </c:pt>
                <c:pt idx="10">
                  <c:v>3.3455366889535383E-2</c:v>
                </c:pt>
                <c:pt idx="11">
                  <c:v>3.077420503855852E-2</c:v>
                </c:pt>
                <c:pt idx="12">
                  <c:v>3.166311843777065E-2</c:v>
                </c:pt>
                <c:pt idx="13">
                  <c:v>2.9573633835338661E-2</c:v>
                </c:pt>
                <c:pt idx="14">
                  <c:v>2.943829474961886E-2</c:v>
                </c:pt>
                <c:pt idx="15">
                  <c:v>3.2326555355538883E-2</c:v>
                </c:pt>
                <c:pt idx="16">
                  <c:v>3.045418321235838E-2</c:v>
                </c:pt>
                <c:pt idx="17">
                  <c:v>3.0177244147381321E-2</c:v>
                </c:pt>
                <c:pt idx="18">
                  <c:v>3.0949579617420529E-2</c:v>
                </c:pt>
                <c:pt idx="19">
                  <c:v>3.3044676701229417E-2</c:v>
                </c:pt>
                <c:pt idx="20">
                  <c:v>3.4502368865567047E-2</c:v>
                </c:pt>
                <c:pt idx="21">
                  <c:v>3.8171203781773647E-2</c:v>
                </c:pt>
                <c:pt idx="22">
                  <c:v>3.2633840746857157E-2</c:v>
                </c:pt>
                <c:pt idx="23">
                  <c:v>3.22851825867847E-2</c:v>
                </c:pt>
                <c:pt idx="24">
                  <c:v>3.4293774474369272E-2</c:v>
                </c:pt>
                <c:pt idx="25">
                  <c:v>3.3493331489235549E-2</c:v>
                </c:pt>
                <c:pt idx="26">
                  <c:v>3.2256296982208908E-2</c:v>
                </c:pt>
                <c:pt idx="27">
                  <c:v>3.256327154323236E-2</c:v>
                </c:pt>
                <c:pt idx="28">
                  <c:v>3.0215972855570969E-2</c:v>
                </c:pt>
                <c:pt idx="29">
                  <c:v>2.971323515475446E-2</c:v>
                </c:pt>
                <c:pt idx="30">
                  <c:v>2.9886044202056931E-2</c:v>
                </c:pt>
                <c:pt idx="31">
                  <c:v>3.0113049153545669E-2</c:v>
                </c:pt>
                <c:pt idx="32">
                  <c:v>3.0121682992946059E-2</c:v>
                </c:pt>
                <c:pt idx="33">
                  <c:v>2.8704102443482309E-2</c:v>
                </c:pt>
                <c:pt idx="34">
                  <c:v>3.0602403901330309E-2</c:v>
                </c:pt>
                <c:pt idx="35">
                  <c:v>3.1456536502498793E-2</c:v>
                </c:pt>
                <c:pt idx="36">
                  <c:v>3.1516667937295108E-2</c:v>
                </c:pt>
                <c:pt idx="37">
                  <c:v>3.3226585884057157E-2</c:v>
                </c:pt>
                <c:pt idx="38">
                  <c:v>3.3016326225624587E-2</c:v>
                </c:pt>
                <c:pt idx="39">
                  <c:v>3.0075909553288729E-2</c:v>
                </c:pt>
                <c:pt idx="40">
                  <c:v>3.030822714314705E-2</c:v>
                </c:pt>
                <c:pt idx="41">
                  <c:v>3.1273537834975489E-2</c:v>
                </c:pt>
                <c:pt idx="42">
                  <c:v>3.005901690014778E-2</c:v>
                </c:pt>
                <c:pt idx="43">
                  <c:v>3.0573863083611631E-2</c:v>
                </c:pt>
                <c:pt idx="44">
                  <c:v>3.254448153409624E-2</c:v>
                </c:pt>
                <c:pt idx="45">
                  <c:v>3.2420025270644671E-2</c:v>
                </c:pt>
                <c:pt idx="46">
                  <c:v>3.0841270586476861E-2</c:v>
                </c:pt>
                <c:pt idx="47">
                  <c:v>3.4545476528939613E-2</c:v>
                </c:pt>
                <c:pt idx="48">
                  <c:v>3.9378011399146942E-2</c:v>
                </c:pt>
                <c:pt idx="49">
                  <c:v>3.4585845792310457E-2</c:v>
                </c:pt>
                <c:pt idx="50">
                  <c:v>3.6889295123608737E-2</c:v>
                </c:pt>
                <c:pt idx="51">
                  <c:v>3.516974061970235E-2</c:v>
                </c:pt>
                <c:pt idx="52">
                  <c:v>3.3440411726256947E-2</c:v>
                </c:pt>
                <c:pt idx="53">
                  <c:v>3.0775515895011849E-2</c:v>
                </c:pt>
                <c:pt idx="54">
                  <c:v>2.856172806220978E-2</c:v>
                </c:pt>
                <c:pt idx="55">
                  <c:v>2.9260191711765832E-2</c:v>
                </c:pt>
                <c:pt idx="56">
                  <c:v>3.1178692703543051E-2</c:v>
                </c:pt>
                <c:pt idx="57">
                  <c:v>3.7031471681131703E-2</c:v>
                </c:pt>
                <c:pt idx="58">
                  <c:v>3.9909501581123753E-2</c:v>
                </c:pt>
                <c:pt idx="59">
                  <c:v>3.3090443177845791E-2</c:v>
                </c:pt>
                <c:pt idx="60">
                  <c:v>2.0429936026239701E-2</c:v>
                </c:pt>
                <c:pt idx="61">
                  <c:v>1.594233918003489E-2</c:v>
                </c:pt>
                <c:pt idx="62">
                  <c:v>2.6561543645322629E-2</c:v>
                </c:pt>
                <c:pt idx="63">
                  <c:v>3.5068893654044378E-2</c:v>
                </c:pt>
                <c:pt idx="64">
                  <c:v>3.0967228847484721E-2</c:v>
                </c:pt>
                <c:pt idx="65">
                  <c:v>2.602705616299417E-2</c:v>
                </c:pt>
                <c:pt idx="66">
                  <c:v>2.587150374122359E-2</c:v>
                </c:pt>
                <c:pt idx="67">
                  <c:v>2.691260699372984E-2</c:v>
                </c:pt>
                <c:pt idx="68">
                  <c:v>2.5874418970458959E-2</c:v>
                </c:pt>
                <c:pt idx="69">
                  <c:v>2.3193315376484971E-2</c:v>
                </c:pt>
                <c:pt idx="70">
                  <c:v>2.2686657383630061E-2</c:v>
                </c:pt>
                <c:pt idx="71">
                  <c:v>2.6189284143623481E-2</c:v>
                </c:pt>
                <c:pt idx="72">
                  <c:v>2.7336338114147821E-2</c:v>
                </c:pt>
                <c:pt idx="73">
                  <c:v>2.7740990571672709E-2</c:v>
                </c:pt>
                <c:pt idx="74">
                  <c:v>2.877527311984417E-2</c:v>
                </c:pt>
                <c:pt idx="75">
                  <c:v>2.8510329318482429E-2</c:v>
                </c:pt>
                <c:pt idx="76">
                  <c:v>2.7909474603405621E-2</c:v>
                </c:pt>
                <c:pt idx="77">
                  <c:v>2.354699792786898E-2</c:v>
                </c:pt>
                <c:pt idx="78">
                  <c:v>2.3516397046911521E-2</c:v>
                </c:pt>
                <c:pt idx="79">
                  <c:v>2.2115174941799771E-2</c:v>
                </c:pt>
                <c:pt idx="80">
                  <c:v>2.2268202762568419E-2</c:v>
                </c:pt>
                <c:pt idx="81">
                  <c:v>2.1244426266941788E-2</c:v>
                </c:pt>
                <c:pt idx="82">
                  <c:v>3.1177386289303839E-2</c:v>
                </c:pt>
                <c:pt idx="83">
                  <c:v>2.630647686699077E-2</c:v>
                </c:pt>
                <c:pt idx="84">
                  <c:v>2.5524833007679371E-2</c:v>
                </c:pt>
                <c:pt idx="85">
                  <c:v>2.6871534411513371E-2</c:v>
                </c:pt>
                <c:pt idx="86">
                  <c:v>2.6338851413823881E-2</c:v>
                </c:pt>
                <c:pt idx="87">
                  <c:v>2.464870108961555E-2</c:v>
                </c:pt>
                <c:pt idx="88">
                  <c:v>2.6238033764437702E-2</c:v>
                </c:pt>
                <c:pt idx="89">
                  <c:v>3.0191859532939729E-2</c:v>
                </c:pt>
                <c:pt idx="90">
                  <c:v>3.071685169632082E-2</c:v>
                </c:pt>
                <c:pt idx="91">
                  <c:v>3.1790352756617277E-2</c:v>
                </c:pt>
                <c:pt idx="92">
                  <c:v>2.9789485452214989E-2</c:v>
                </c:pt>
                <c:pt idx="93">
                  <c:v>2.7419432969366012E-2</c:v>
                </c:pt>
                <c:pt idx="94">
                  <c:v>2.5375304588112151E-2</c:v>
                </c:pt>
                <c:pt idx="95">
                  <c:v>2.727143524464504E-2</c:v>
                </c:pt>
                <c:pt idx="96">
                  <c:v>2.430072520573312E-2</c:v>
                </c:pt>
                <c:pt idx="97">
                  <c:v>2.5953063658202231E-2</c:v>
                </c:pt>
                <c:pt idx="98">
                  <c:v>2.870484051773789E-2</c:v>
                </c:pt>
                <c:pt idx="99">
                  <c:v>3.0161179689259059E-2</c:v>
                </c:pt>
                <c:pt idx="100">
                  <c:v>3.7558407981539428E-2</c:v>
                </c:pt>
                <c:pt idx="101">
                  <c:v>3.5796970668813113E-2</c:v>
                </c:pt>
              </c:numCache>
            </c:numRef>
          </c:yVal>
          <c:smooth val="0"/>
          <c:extLst>
            <c:ext xmlns:c16="http://schemas.microsoft.com/office/drawing/2014/chart" uri="{C3380CC4-5D6E-409C-BE32-E72D297353CC}">
              <c16:uniqueId val="{00000000-096C-4121-9522-6AB7243CCAAE}"/>
            </c:ext>
          </c:extLst>
        </c:ser>
        <c:ser>
          <c:idx val="1"/>
          <c:order val="1"/>
          <c:tx>
            <c:strRef>
              <c:f>Sheet1!$B$10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6:$A$157</c:f>
              <c:numCache>
                <c:formatCode>General</c:formatCode>
                <c:ptCount val="52"/>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numCache>
            </c:numRef>
          </c:xVal>
          <c:yVal>
            <c:numRef>
              <c:f>Sheet1!$B$106:$B$157</c:f>
              <c:numCache>
                <c:formatCode>General</c:formatCode>
                <c:ptCount val="52"/>
                <c:pt idx="0">
                  <c:v>3.3379430772150658E-2</c:v>
                </c:pt>
                <c:pt idx="1">
                  <c:v>3.5297770608354727E-2</c:v>
                </c:pt>
                <c:pt idx="2">
                  <c:v>3.603152077608085E-2</c:v>
                </c:pt>
                <c:pt idx="3">
                  <c:v>3.0978674639028671E-2</c:v>
                </c:pt>
                <c:pt idx="4">
                  <c:v>2.8133515753956471E-2</c:v>
                </c:pt>
                <c:pt idx="5">
                  <c:v>2.7512069607189622E-2</c:v>
                </c:pt>
                <c:pt idx="6">
                  <c:v>2.753590860107619E-2</c:v>
                </c:pt>
                <c:pt idx="7">
                  <c:v>2.7306049137985969E-2</c:v>
                </c:pt>
                <c:pt idx="8">
                  <c:v>2.683860754587173E-2</c:v>
                </c:pt>
                <c:pt idx="9">
                  <c:v>2.8577136215520639E-2</c:v>
                </c:pt>
                <c:pt idx="10">
                  <c:v>2.9045708307140341E-2</c:v>
                </c:pt>
                <c:pt idx="11">
                  <c:v>3.0151694267354031E-2</c:v>
                </c:pt>
                <c:pt idx="12">
                  <c:v>3.1278274774940933E-2</c:v>
                </c:pt>
                <c:pt idx="13">
                  <c:v>3.2623144271831599E-2</c:v>
                </c:pt>
                <c:pt idx="14">
                  <c:v>3.2081452766552027E-2</c:v>
                </c:pt>
                <c:pt idx="15">
                  <c:v>2.8476513020004542E-2</c:v>
                </c:pt>
                <c:pt idx="16">
                  <c:v>2.889792926206242E-2</c:v>
                </c:pt>
                <c:pt idx="17">
                  <c:v>2.8572345272906731E-2</c:v>
                </c:pt>
                <c:pt idx="18">
                  <c:v>2.758215728763419E-2</c:v>
                </c:pt>
                <c:pt idx="19">
                  <c:v>2.6684207925807661E-2</c:v>
                </c:pt>
                <c:pt idx="20">
                  <c:v>2.507409816863837E-2</c:v>
                </c:pt>
                <c:pt idx="21">
                  <c:v>3.7053775555914388E-2</c:v>
                </c:pt>
                <c:pt idx="22">
                  <c:v>4.1201839145334811E-2</c:v>
                </c:pt>
                <c:pt idx="23">
                  <c:v>3.952108516249337E-2</c:v>
                </c:pt>
                <c:pt idx="24">
                  <c:v>3.301132678213544E-2</c:v>
                </c:pt>
                <c:pt idx="25">
                  <c:v>3.4672282379825628E-2</c:v>
                </c:pt>
                <c:pt idx="26">
                  <c:v>3.6478521099227869E-2</c:v>
                </c:pt>
                <c:pt idx="27">
                  <c:v>3.1719960612283417E-2</c:v>
                </c:pt>
                <c:pt idx="28">
                  <c:v>2.9844699099281859E-2</c:v>
                </c:pt>
                <c:pt idx="29">
                  <c:v>2.824703792935155E-2</c:v>
                </c:pt>
                <c:pt idx="30">
                  <c:v>2.3926861689124789E-2</c:v>
                </c:pt>
                <c:pt idx="31">
                  <c:v>2.077067140814904E-2</c:v>
                </c:pt>
                <c:pt idx="32">
                  <c:v>2.3460558709885782E-2</c:v>
                </c:pt>
                <c:pt idx="33">
                  <c:v>3.042796286207031E-2</c:v>
                </c:pt>
                <c:pt idx="34">
                  <c:v>3.1037706913624011E-2</c:v>
                </c:pt>
                <c:pt idx="35">
                  <c:v>2.928997264422914E-2</c:v>
                </c:pt>
                <c:pt idx="36">
                  <c:v>2.9697936908540851E-2</c:v>
                </c:pt>
                <c:pt idx="37">
                  <c:v>3.0248130900335801E-2</c:v>
                </c:pt>
                <c:pt idx="38">
                  <c:v>3.5070387750061743E-2</c:v>
                </c:pt>
                <c:pt idx="39">
                  <c:v>3.120833777020552E-2</c:v>
                </c:pt>
                <c:pt idx="40">
                  <c:v>2.682679016675503E-2</c:v>
                </c:pt>
                <c:pt idx="41">
                  <c:v>2.4203784771293649E-2</c:v>
                </c:pt>
                <c:pt idx="42">
                  <c:v>2.4098053977022381E-2</c:v>
                </c:pt>
                <c:pt idx="43">
                  <c:v>2.4523754132153151E-2</c:v>
                </c:pt>
                <c:pt idx="44">
                  <c:v>2.2379504666963371E-2</c:v>
                </c:pt>
                <c:pt idx="45">
                  <c:v>2.104065524243157E-2</c:v>
                </c:pt>
                <c:pt idx="46">
                  <c:v>2.202824012890214E-2</c:v>
                </c:pt>
                <c:pt idx="47">
                  <c:v>2.3321641522021069E-2</c:v>
                </c:pt>
                <c:pt idx="48">
                  <c:v>2.5721900660138009E-2</c:v>
                </c:pt>
                <c:pt idx="49">
                  <c:v>2.4967370312040962E-2</c:v>
                </c:pt>
                <c:pt idx="50">
                  <c:v>2.603335979145837E-2</c:v>
                </c:pt>
                <c:pt idx="51">
                  <c:v>2.5702227757022279E-2</c:v>
                </c:pt>
              </c:numCache>
            </c:numRef>
          </c:yVal>
          <c:smooth val="0"/>
          <c:extLst>
            <c:ext xmlns:c16="http://schemas.microsoft.com/office/drawing/2014/chart" uri="{C3380CC4-5D6E-409C-BE32-E72D297353CC}">
              <c16:uniqueId val="{00000002-096C-4121-9522-6AB7243CCAAE}"/>
            </c:ext>
          </c:extLst>
        </c:ser>
        <c:ser>
          <c:idx val="2"/>
          <c:order val="2"/>
          <c:tx>
            <c:strRef>
              <c:f>Sheet1!$B$15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0:$A$161</c:f>
              <c:numCache>
                <c:formatCode>General</c:formatCode>
                <c:ptCount val="2"/>
                <c:pt idx="0">
                  <c:v>0</c:v>
                </c:pt>
                <c:pt idx="1">
                  <c:v>0.1108820277239114</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5-096C-4121-9522-6AB7243CCAAE}"/>
            </c:ext>
          </c:extLst>
        </c:ser>
        <c:ser>
          <c:idx val="3"/>
          <c:order val="3"/>
          <c:tx>
            <c:strRef>
              <c:f>Sheet1!$B$16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0.1108820277239114</c:v>
                </c:pt>
                <c:pt idx="1">
                  <c:v>0.1108820277239114</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8:$A$169</c:f>
              <c:numCache>
                <c:formatCode>General</c:formatCode>
                <c:ptCount val="2"/>
                <c:pt idx="0">
                  <c:v>0</c:v>
                </c:pt>
                <c:pt idx="1">
                  <c:v>0.11732114474802791</c:v>
                </c:pt>
              </c:numCache>
            </c:numRef>
          </c:xVal>
          <c:yVal>
            <c:numRef>
              <c:f>Sheet1!$B$168:$B$169</c:f>
              <c:numCache>
                <c:formatCode>General</c:formatCode>
                <c:ptCount val="2"/>
                <c:pt idx="0">
                  <c:v>3.1101577984060609E-2</c:v>
                </c:pt>
                <c:pt idx="1">
                  <c:v>3.1101577984060609E-2</c:v>
                </c:pt>
              </c:numCache>
            </c:numRef>
          </c:yVal>
          <c:smooth val="0"/>
          <c:extLst>
            <c:ext xmlns:c16="http://schemas.microsoft.com/office/drawing/2014/chart" uri="{C3380CC4-5D6E-409C-BE32-E72D297353CC}">
              <c16:uniqueId val="{0000000D-096C-4121-9522-6AB7243CCAAE}"/>
            </c:ext>
          </c:extLst>
        </c:ser>
        <c:ser>
          <c:idx val="5"/>
          <c:order val="5"/>
          <c:tx>
            <c:strRef>
              <c:f>Sheet1!$B$17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0.11732114474802791</c:v>
                </c:pt>
                <c:pt idx="1">
                  <c:v>0.11732114474802791</c:v>
                </c:pt>
              </c:numCache>
            </c:numRef>
          </c:xVal>
          <c:yVal>
            <c:numRef>
              <c:f>Sheet1!$B$172:$B$173</c:f>
              <c:numCache>
                <c:formatCode>General</c:formatCode>
                <c:ptCount val="2"/>
                <c:pt idx="0">
                  <c:v>3.1101577984060609E-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6:$A$177</c:f>
              <c:numCache>
                <c:formatCode>General</c:formatCode>
                <c:ptCount val="2"/>
                <c:pt idx="0">
                  <c:v>0</c:v>
                </c:pt>
                <c:pt idx="1">
                  <c:v>0.13512234665834599</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5-096C-4121-9522-6AB7243CCAAE}"/>
            </c:ext>
          </c:extLst>
        </c:ser>
        <c:ser>
          <c:idx val="7"/>
          <c:order val="7"/>
          <c:tx>
            <c:strRef>
              <c:f>Sheet1!$B$17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0:$A$181</c:f>
              <c:numCache>
                <c:formatCode>General</c:formatCode>
                <c:ptCount val="2"/>
                <c:pt idx="0">
                  <c:v>0.13512234665834599</c:v>
                </c:pt>
                <c:pt idx="1">
                  <c:v>0.13512234665834599</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4:$A$238</c:f>
              <c:numCache>
                <c:formatCode>General</c:formatCode>
                <c:ptCount val="55"/>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pt idx="52">
                  <c:v>0.11732114474802791</c:v>
                </c:pt>
                <c:pt idx="53">
                  <c:v>0.1108820277239114</c:v>
                </c:pt>
                <c:pt idx="54">
                  <c:v>0.13512234665834599</c:v>
                </c:pt>
              </c:numCache>
            </c:numRef>
          </c:xVal>
          <c:yVal>
            <c:numRef>
              <c:f>Sheet1!$B$184:$B$238</c:f>
              <c:numCache>
                <c:formatCode>General</c:formatCode>
                <c:ptCount val="55"/>
                <c:pt idx="0">
                  <c:v>3.1620668745252142E-2</c:v>
                </c:pt>
                <c:pt idx="1">
                  <c:v>3.1654790245678951E-2</c:v>
                </c:pt>
                <c:pt idx="2">
                  <c:v>3.2783325344754151E-2</c:v>
                </c:pt>
                <c:pt idx="3">
                  <c:v>3.022688607526958E-2</c:v>
                </c:pt>
                <c:pt idx="4">
                  <c:v>2.8540776744242852E-2</c:v>
                </c:pt>
                <c:pt idx="5">
                  <c:v>2.8198639317480349E-2</c:v>
                </c:pt>
                <c:pt idx="6">
                  <c:v>2.8149354774764782E-2</c:v>
                </c:pt>
                <c:pt idx="7">
                  <c:v>2.8199004366077019E-2</c:v>
                </c:pt>
                <c:pt idx="8">
                  <c:v>3.0157282303857849E-2</c:v>
                </c:pt>
                <c:pt idx="9">
                  <c:v>2.9717490317624731E-2</c:v>
                </c:pt>
                <c:pt idx="10">
                  <c:v>2.880162617160174E-2</c:v>
                </c:pt>
                <c:pt idx="11">
                  <c:v>3.0799476543192809E-2</c:v>
                </c:pt>
                <c:pt idx="12">
                  <c:v>2.8080121278043681E-2</c:v>
                </c:pt>
                <c:pt idx="13">
                  <c:v>2.8247092051713919E-2</c:v>
                </c:pt>
                <c:pt idx="14">
                  <c:v>2.639540124703324E-2</c:v>
                </c:pt>
                <c:pt idx="15">
                  <c:v>1.9220157910636009E-2</c:v>
                </c:pt>
                <c:pt idx="16">
                  <c:v>2.9292926757015069E-2</c:v>
                </c:pt>
                <c:pt idx="17">
                  <c:v>2.9541107656935999E-2</c:v>
                </c:pt>
                <c:pt idx="18">
                  <c:v>3.1154431279754719E-2</c:v>
                </c:pt>
                <c:pt idx="19">
                  <c:v>2.9461129531890291E-2</c:v>
                </c:pt>
                <c:pt idx="20">
                  <c:v>3.0313783713891131E-2</c:v>
                </c:pt>
                <c:pt idx="21">
                  <c:v>3.3508822667282862E-2</c:v>
                </c:pt>
                <c:pt idx="22">
                  <c:v>3.4739165058279807E-2</c:v>
                </c:pt>
                <c:pt idx="23">
                  <c:v>3.3561500120319547E-2</c:v>
                </c:pt>
                <c:pt idx="24">
                  <c:v>3.0961282548418428E-2</c:v>
                </c:pt>
                <c:pt idx="25">
                  <c:v>3.325613118609181E-2</c:v>
                </c:pt>
                <c:pt idx="26">
                  <c:v>3.230935798656305E-2</c:v>
                </c:pt>
                <c:pt idx="27">
                  <c:v>3.0186042242885399E-2</c:v>
                </c:pt>
                <c:pt idx="28">
                  <c:v>2.9826699740302571E-2</c:v>
                </c:pt>
                <c:pt idx="29">
                  <c:v>2.8461825588360749E-2</c:v>
                </c:pt>
                <c:pt idx="30">
                  <c:v>2.6667445839888119E-2</c:v>
                </c:pt>
                <c:pt idx="31">
                  <c:v>2.9333797528733729E-2</c:v>
                </c:pt>
                <c:pt idx="32">
                  <c:v>2.8469462201818171E-2</c:v>
                </c:pt>
                <c:pt idx="33">
                  <c:v>3.1278574864500211E-2</c:v>
                </c:pt>
                <c:pt idx="34">
                  <c:v>3.362517184260494E-2</c:v>
                </c:pt>
                <c:pt idx="35">
                  <c:v>3.1259339751075838E-2</c:v>
                </c:pt>
                <c:pt idx="36">
                  <c:v>3.2466678789921898E-2</c:v>
                </c:pt>
                <c:pt idx="37">
                  <c:v>3.336561461501103E-2</c:v>
                </c:pt>
                <c:pt idx="38">
                  <c:v>3.1897061212580187E-2</c:v>
                </c:pt>
                <c:pt idx="39">
                  <c:v>3.0591232179052279E-2</c:v>
                </c:pt>
                <c:pt idx="40">
                  <c:v>2.6490890509876141E-2</c:v>
                </c:pt>
                <c:pt idx="41">
                  <c:v>2.5005655171483909E-2</c:v>
                </c:pt>
                <c:pt idx="42">
                  <c:v>2.471524594195228E-2</c:v>
                </c:pt>
                <c:pt idx="43">
                  <c:v>2.5740688254943609E-2</c:v>
                </c:pt>
                <c:pt idx="44">
                  <c:v>2.534241769031121E-2</c:v>
                </c:pt>
                <c:pt idx="45">
                  <c:v>2.5785004878787769E-2</c:v>
                </c:pt>
                <c:pt idx="46">
                  <c:v>2.6712805427711591E-2</c:v>
                </c:pt>
                <c:pt idx="47">
                  <c:v>2.6016063432124481E-2</c:v>
                </c:pt>
                <c:pt idx="48">
                  <c:v>2.645901837190287E-2</c:v>
                </c:pt>
                <c:pt idx="49">
                  <c:v>2.253097533810856E-2</c:v>
                </c:pt>
                <c:pt idx="50">
                  <c:v>2.3407974477709061E-2</c:v>
                </c:pt>
                <c:pt idx="51">
                  <c:v>2.5267129597052979E-2</c:v>
                </c:pt>
                <c:pt idx="52">
                  <c:v>3.1101577984060599E-2</c:v>
                </c:pt>
                <c:pt idx="53">
                  <c:v>3.3390590546211449E-2</c:v>
                </c:pt>
                <c:pt idx="54">
                  <c:v>2.47735092998775E-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18089307194123574"/>
          <c:min val="7.5697543274504286E-2"/>
        </c:scaling>
        <c:delete val="0"/>
        <c:axPos val="b"/>
        <c:title>
          <c:tx>
            <c:rich>
              <a:bodyPr rot="0" spcFirstLastPara="1" vertOverflow="ellipsis" vert="horz" wrap="square" anchor="ctr" anchorCtr="1"/>
              <a:lstStyle/>
              <a:p>
                <a:pPr>
                  <a:defRPr sz="800" b="0">
                    <a:solidFill>
                      <a:srgbClr val="575555"/>
                    </a:solidFill>
                    <a:latin typeface="Nexa Bold"/>
                  </a:defRPr>
                </a:pPr>
                <a:r>
                  <a:rPr lang="en-US"/>
                  <a:t>Price Ix vs. Gillette Fusion5</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3084051742229012</c:v>
                </c:pt>
                <c:pt idx="1">
                  <c:v>0.31591786351078627</c:v>
                </c:pt>
                <c:pt idx="2">
                  <c:v>0.32058023334902946</c:v>
                </c:pt>
                <c:pt idx="3">
                  <c:v>0.31551466024025998</c:v>
                </c:pt>
                <c:pt idx="4">
                  <c:v>0.31248983133575575</c:v>
                </c:pt>
                <c:pt idx="5">
                  <c:v>0.31209899175068745</c:v>
                </c:pt>
                <c:pt idx="6">
                  <c:v>0.31243915630070307</c:v>
                </c:pt>
                <c:pt idx="7">
                  <c:v>0.3133619793471481</c:v>
                </c:pt>
                <c:pt idx="8">
                  <c:v>0.31671907756813417</c:v>
                </c:pt>
                <c:pt idx="9">
                  <c:v>0.31082322826247477</c:v>
                </c:pt>
                <c:pt idx="10">
                  <c:v>0.31047212859141043</c:v>
                </c:pt>
                <c:pt idx="11">
                  <c:v>0.30851195946449417</c:v>
                </c:pt>
                <c:pt idx="12">
                  <c:v>0.30743476600274672</c:v>
                </c:pt>
                <c:pt idx="13">
                  <c:v>0.30557876018361524</c:v>
                </c:pt>
                <c:pt idx="14">
                  <c:v>0.30608180521683359</c:v>
                </c:pt>
                <c:pt idx="15">
                  <c:v>0.30537959003209308</c:v>
                </c:pt>
                <c:pt idx="16">
                  <c:v>0.30479028449342177</c:v>
                </c:pt>
                <c:pt idx="17">
                  <c:v>0.30535697989231286</c:v>
                </c:pt>
                <c:pt idx="18">
                  <c:v>0.30758733419811496</c:v>
                </c:pt>
                <c:pt idx="19">
                  <c:v>0.30384356418742708</c:v>
                </c:pt>
                <c:pt idx="20">
                  <c:v>0.30255871389344829</c:v>
                </c:pt>
                <c:pt idx="21">
                  <c:v>0.30131492720175512</c:v>
                </c:pt>
                <c:pt idx="22">
                  <c:v>0.30402402402402401</c:v>
                </c:pt>
                <c:pt idx="23">
                  <c:v>0.3041818228723267</c:v>
                </c:pt>
                <c:pt idx="24">
                  <c:v>0.30380595989557657</c:v>
                </c:pt>
                <c:pt idx="25">
                  <c:v>0.30266464709715091</c:v>
                </c:pt>
                <c:pt idx="26">
                  <c:v>0.30198090992432275</c:v>
                </c:pt>
                <c:pt idx="27">
                  <c:v>0.30261018186645428</c:v>
                </c:pt>
                <c:pt idx="28">
                  <c:v>0.30379475941413642</c:v>
                </c:pt>
                <c:pt idx="29">
                  <c:v>0.30510575091808745</c:v>
                </c:pt>
                <c:pt idx="30">
                  <c:v>0.30547263681592041</c:v>
                </c:pt>
                <c:pt idx="31">
                  <c:v>0.30191808942530629</c:v>
                </c:pt>
                <c:pt idx="32">
                  <c:v>0.30004016835781272</c:v>
                </c:pt>
                <c:pt idx="33">
                  <c:v>0.30140260803244229</c:v>
                </c:pt>
                <c:pt idx="34">
                  <c:v>0.30315931183998879</c:v>
                </c:pt>
                <c:pt idx="35">
                  <c:v>0.30423707530585153</c:v>
                </c:pt>
                <c:pt idx="36">
                  <c:v>0.30339368848493503</c:v>
                </c:pt>
                <c:pt idx="37">
                  <c:v>0.30312142377964563</c:v>
                </c:pt>
                <c:pt idx="38">
                  <c:v>0.30421477922015827</c:v>
                </c:pt>
                <c:pt idx="39">
                  <c:v>0.30360700245050509</c:v>
                </c:pt>
                <c:pt idx="40">
                  <c:v>0.30482776067799466</c:v>
                </c:pt>
                <c:pt idx="41">
                  <c:v>0.30496561046396053</c:v>
                </c:pt>
                <c:pt idx="42">
                  <c:v>0.30474260101509459</c:v>
                </c:pt>
                <c:pt idx="43">
                  <c:v>0.30487658997567685</c:v>
                </c:pt>
                <c:pt idx="44">
                  <c:v>0.30417377406912238</c:v>
                </c:pt>
                <c:pt idx="45">
                  <c:v>0.30429474182711519</c:v>
                </c:pt>
                <c:pt idx="46">
                  <c:v>0.30416987037597953</c:v>
                </c:pt>
                <c:pt idx="47">
                  <c:v>0.30177142857142858</c:v>
                </c:pt>
                <c:pt idx="48">
                  <c:v>0.30034428178139644</c:v>
                </c:pt>
                <c:pt idx="49">
                  <c:v>0.30020553910468561</c:v>
                </c:pt>
                <c:pt idx="50">
                  <c:v>0.30020393921120919</c:v>
                </c:pt>
                <c:pt idx="51">
                  <c:v>0.30029572161037082</c:v>
                </c:pt>
                <c:pt idx="52">
                  <c:v>0.30085731375024921</c:v>
                </c:pt>
                <c:pt idx="53">
                  <c:v>0.30374794069192751</c:v>
                </c:pt>
                <c:pt idx="54">
                  <c:v>0.30475569923731716</c:v>
                </c:pt>
                <c:pt idx="55">
                  <c:v>0.30484411191281596</c:v>
                </c:pt>
                <c:pt idx="56">
                  <c:v>0.29666067320451317</c:v>
                </c:pt>
                <c:pt idx="57">
                  <c:v>0.25400835544515327</c:v>
                </c:pt>
                <c:pt idx="58">
                  <c:v>0.23382400369980466</c:v>
                </c:pt>
                <c:pt idx="59">
                  <c:v>0.23943026116791946</c:v>
                </c:pt>
                <c:pt idx="60">
                  <c:v>0.25369491863085675</c:v>
                </c:pt>
                <c:pt idx="61">
                  <c:v>0.26335839430757868</c:v>
                </c:pt>
                <c:pt idx="62">
                  <c:v>0.24811366501794199</c:v>
                </c:pt>
                <c:pt idx="63">
                  <c:v>0.25331883600138116</c:v>
                </c:pt>
                <c:pt idx="64">
                  <c:v>0.27606841827999473</c:v>
                </c:pt>
                <c:pt idx="65">
                  <c:v>0.28160478817918266</c:v>
                </c:pt>
                <c:pt idx="66">
                  <c:v>0.29229782021117312</c:v>
                </c:pt>
                <c:pt idx="67">
                  <c:v>0.30127414335954045</c:v>
                </c:pt>
                <c:pt idx="68">
                  <c:v>0.30305886879569066</c:v>
                </c:pt>
                <c:pt idx="69">
                  <c:v>0.30492991022208221</c:v>
                </c:pt>
                <c:pt idx="70">
                  <c:v>0.30628978911194849</c:v>
                </c:pt>
                <c:pt idx="71">
                  <c:v>0.30507690665654685</c:v>
                </c:pt>
                <c:pt idx="72">
                  <c:v>0.30607670596048481</c:v>
                </c:pt>
                <c:pt idx="73">
                  <c:v>0.3116373241246056</c:v>
                </c:pt>
                <c:pt idx="74">
                  <c:v>0.31424842998124136</c:v>
                </c:pt>
                <c:pt idx="75">
                  <c:v>0.31320176754871626</c:v>
                </c:pt>
                <c:pt idx="76">
                  <c:v>0.31380953870863448</c:v>
                </c:pt>
                <c:pt idx="77">
                  <c:v>0.32590348409435188</c:v>
                </c:pt>
                <c:pt idx="78">
                  <c:v>0.33061711871301291</c:v>
                </c:pt>
                <c:pt idx="79">
                  <c:v>0.33376024237416513</c:v>
                </c:pt>
                <c:pt idx="80">
                  <c:v>0.334863282523373</c:v>
                </c:pt>
                <c:pt idx="81">
                  <c:v>0.33732775797715603</c:v>
                </c:pt>
                <c:pt idx="82">
                  <c:v>0.3340239432262419</c:v>
                </c:pt>
                <c:pt idx="83">
                  <c:v>0.32813911724353323</c:v>
                </c:pt>
                <c:pt idx="84">
                  <c:v>0.32451377453380215</c:v>
                </c:pt>
                <c:pt idx="85">
                  <c:v>0.3242920313313794</c:v>
                </c:pt>
                <c:pt idx="86">
                  <c:v>0.32834757834757833</c:v>
                </c:pt>
                <c:pt idx="87">
                  <c:v>0.33024565689467972</c:v>
                </c:pt>
                <c:pt idx="88">
                  <c:v>0.33047076978575868</c:v>
                </c:pt>
                <c:pt idx="89">
                  <c:v>0.32960364974033468</c:v>
                </c:pt>
                <c:pt idx="90">
                  <c:v>0.32877782475231143</c:v>
                </c:pt>
                <c:pt idx="91">
                  <c:v>0.33265505668454848</c:v>
                </c:pt>
                <c:pt idx="92">
                  <c:v>0.33383080669232584</c:v>
                </c:pt>
                <c:pt idx="93">
                  <c:v>0.33445095599479496</c:v>
                </c:pt>
                <c:pt idx="94">
                  <c:v>0.33425385899470356</c:v>
                </c:pt>
                <c:pt idx="95">
                  <c:v>0.33302358553829059</c:v>
                </c:pt>
                <c:pt idx="96">
                  <c:v>0.3331230702831911</c:v>
                </c:pt>
                <c:pt idx="97">
                  <c:v>0.33248279672509923</c:v>
                </c:pt>
                <c:pt idx="98">
                  <c:v>0.33184443040565192</c:v>
                </c:pt>
                <c:pt idx="99">
                  <c:v>0.31234357273380736</c:v>
                </c:pt>
                <c:pt idx="100">
                  <c:v>0.30123106937136429</c:v>
                </c:pt>
                <c:pt idx="101">
                  <c:v>0.30056872662328632</c:v>
                </c:pt>
              </c:numCache>
            </c:numRef>
          </c:xVal>
          <c:yVal>
            <c:numRef>
              <c:f>Sheet1!$B$2:$B$103</c:f>
              <c:numCache>
                <c:formatCode>General</c:formatCode>
                <c:ptCount val="102"/>
                <c:pt idx="0">
                  <c:v>3.1549194168607006E-2</c:v>
                </c:pt>
                <c:pt idx="1">
                  <c:v>2.5925076493376501E-2</c:v>
                </c:pt>
                <c:pt idx="2">
                  <c:v>1.9457371147598559E-2</c:v>
                </c:pt>
                <c:pt idx="3">
                  <c:v>2.1005226955186754E-2</c:v>
                </c:pt>
                <c:pt idx="4">
                  <c:v>2.3683174888924508E-2</c:v>
                </c:pt>
                <c:pt idx="5">
                  <c:v>2.4814911692122233E-2</c:v>
                </c:pt>
                <c:pt idx="6">
                  <c:v>2.2966901329024649E-2</c:v>
                </c:pt>
                <c:pt idx="7">
                  <c:v>2.1693356757167159E-2</c:v>
                </c:pt>
                <c:pt idx="8">
                  <c:v>2.508474647577718E-2</c:v>
                </c:pt>
                <c:pt idx="9">
                  <c:v>3.2219360006132694E-2</c:v>
                </c:pt>
                <c:pt idx="10">
                  <c:v>3.3455366889535383E-2</c:v>
                </c:pt>
                <c:pt idx="11">
                  <c:v>3.0774205038558523E-2</c:v>
                </c:pt>
                <c:pt idx="12">
                  <c:v>3.166311843777065E-2</c:v>
                </c:pt>
                <c:pt idx="13">
                  <c:v>2.9573633835338665E-2</c:v>
                </c:pt>
                <c:pt idx="14">
                  <c:v>2.9438294749618857E-2</c:v>
                </c:pt>
                <c:pt idx="15">
                  <c:v>3.2326555355538883E-2</c:v>
                </c:pt>
                <c:pt idx="16">
                  <c:v>3.0454183212358377E-2</c:v>
                </c:pt>
                <c:pt idx="17">
                  <c:v>3.0177244147381318E-2</c:v>
                </c:pt>
                <c:pt idx="18">
                  <c:v>3.0949579617420526E-2</c:v>
                </c:pt>
                <c:pt idx="19">
                  <c:v>3.3044676701229417E-2</c:v>
                </c:pt>
                <c:pt idx="20">
                  <c:v>3.4502368865567047E-2</c:v>
                </c:pt>
                <c:pt idx="21">
                  <c:v>3.8171203781773647E-2</c:v>
                </c:pt>
                <c:pt idx="22">
                  <c:v>3.2633840746857157E-2</c:v>
                </c:pt>
                <c:pt idx="23">
                  <c:v>3.22851825867847E-2</c:v>
                </c:pt>
                <c:pt idx="24">
                  <c:v>3.4293774474369265E-2</c:v>
                </c:pt>
                <c:pt idx="25">
                  <c:v>3.3493331489235549E-2</c:v>
                </c:pt>
                <c:pt idx="26">
                  <c:v>3.2256296982208908E-2</c:v>
                </c:pt>
                <c:pt idx="27">
                  <c:v>3.256327154323236E-2</c:v>
                </c:pt>
                <c:pt idx="28">
                  <c:v>3.0215972855570965E-2</c:v>
                </c:pt>
                <c:pt idx="29">
                  <c:v>2.971323515475446E-2</c:v>
                </c:pt>
                <c:pt idx="30">
                  <c:v>2.9886044202056927E-2</c:v>
                </c:pt>
                <c:pt idx="31">
                  <c:v>3.0113049153545669E-2</c:v>
                </c:pt>
                <c:pt idx="32">
                  <c:v>3.0121682992946059E-2</c:v>
                </c:pt>
                <c:pt idx="33">
                  <c:v>2.8704102443482309E-2</c:v>
                </c:pt>
                <c:pt idx="34">
                  <c:v>3.0602403901330309E-2</c:v>
                </c:pt>
                <c:pt idx="35">
                  <c:v>3.1456536502498786E-2</c:v>
                </c:pt>
                <c:pt idx="36">
                  <c:v>3.1516667937295108E-2</c:v>
                </c:pt>
                <c:pt idx="37">
                  <c:v>3.3226585884057164E-2</c:v>
                </c:pt>
                <c:pt idx="38">
                  <c:v>3.3016326225624587E-2</c:v>
                </c:pt>
                <c:pt idx="39">
                  <c:v>3.0075909553288729E-2</c:v>
                </c:pt>
                <c:pt idx="40">
                  <c:v>3.0308227143147046E-2</c:v>
                </c:pt>
                <c:pt idx="41">
                  <c:v>3.1273537834975489E-2</c:v>
                </c:pt>
                <c:pt idx="42">
                  <c:v>3.0059016900147784E-2</c:v>
                </c:pt>
                <c:pt idx="43">
                  <c:v>3.0573863083611635E-2</c:v>
                </c:pt>
                <c:pt idx="44">
                  <c:v>3.254448153409624E-2</c:v>
                </c:pt>
                <c:pt idx="45">
                  <c:v>3.2420025270644671E-2</c:v>
                </c:pt>
                <c:pt idx="46">
                  <c:v>3.0841270586476857E-2</c:v>
                </c:pt>
                <c:pt idx="47">
                  <c:v>3.4545476528939606E-2</c:v>
                </c:pt>
                <c:pt idx="48">
                  <c:v>3.9378011399146942E-2</c:v>
                </c:pt>
                <c:pt idx="49">
                  <c:v>3.4585845792310457E-2</c:v>
                </c:pt>
                <c:pt idx="50">
                  <c:v>3.6889295123608744E-2</c:v>
                </c:pt>
                <c:pt idx="51">
                  <c:v>3.516974061970235E-2</c:v>
                </c:pt>
                <c:pt idx="52">
                  <c:v>3.3440411726256954E-2</c:v>
                </c:pt>
                <c:pt idx="53">
                  <c:v>3.0775515895011849E-2</c:v>
                </c:pt>
                <c:pt idx="54">
                  <c:v>2.856172806220978E-2</c:v>
                </c:pt>
                <c:pt idx="55">
                  <c:v>2.9260191711765828E-2</c:v>
                </c:pt>
                <c:pt idx="56">
                  <c:v>3.1178692703543048E-2</c:v>
                </c:pt>
                <c:pt idx="57">
                  <c:v>3.7031471681131703E-2</c:v>
                </c:pt>
                <c:pt idx="58">
                  <c:v>3.9909501581123753E-2</c:v>
                </c:pt>
                <c:pt idx="59">
                  <c:v>3.3090443177845791E-2</c:v>
                </c:pt>
                <c:pt idx="60">
                  <c:v>2.0429936026239697E-2</c:v>
                </c:pt>
                <c:pt idx="61">
                  <c:v>1.5942339180034886E-2</c:v>
                </c:pt>
                <c:pt idx="62">
                  <c:v>2.6561543645322632E-2</c:v>
                </c:pt>
                <c:pt idx="63">
                  <c:v>3.5068893654044385E-2</c:v>
                </c:pt>
                <c:pt idx="64">
                  <c:v>3.0967228847484717E-2</c:v>
                </c:pt>
                <c:pt idx="65">
                  <c:v>2.6027056162994167E-2</c:v>
                </c:pt>
                <c:pt idx="66">
                  <c:v>2.5871503741223587E-2</c:v>
                </c:pt>
                <c:pt idx="67">
                  <c:v>2.691260699372984E-2</c:v>
                </c:pt>
                <c:pt idx="68">
                  <c:v>2.5874418970458959E-2</c:v>
                </c:pt>
                <c:pt idx="69">
                  <c:v>2.3193315376484971E-2</c:v>
                </c:pt>
                <c:pt idx="70">
                  <c:v>2.2686657383630057E-2</c:v>
                </c:pt>
                <c:pt idx="71">
                  <c:v>2.6189284143623485E-2</c:v>
                </c:pt>
                <c:pt idx="72">
                  <c:v>2.7336338114147821E-2</c:v>
                </c:pt>
                <c:pt idx="73">
                  <c:v>2.7740990571672709E-2</c:v>
                </c:pt>
                <c:pt idx="74">
                  <c:v>2.8775273119844166E-2</c:v>
                </c:pt>
                <c:pt idx="75">
                  <c:v>2.8510329318482425E-2</c:v>
                </c:pt>
                <c:pt idx="76">
                  <c:v>2.7909474603405617E-2</c:v>
                </c:pt>
                <c:pt idx="77">
                  <c:v>2.354699792786898E-2</c:v>
                </c:pt>
                <c:pt idx="78">
                  <c:v>2.3516397046911525E-2</c:v>
                </c:pt>
                <c:pt idx="79">
                  <c:v>2.2115174941799768E-2</c:v>
                </c:pt>
                <c:pt idx="80">
                  <c:v>2.2268202762568419E-2</c:v>
                </c:pt>
                <c:pt idx="81">
                  <c:v>2.1244426266941792E-2</c:v>
                </c:pt>
                <c:pt idx="82">
                  <c:v>3.1177386289303839E-2</c:v>
                </c:pt>
                <c:pt idx="83">
                  <c:v>2.6306476866990773E-2</c:v>
                </c:pt>
                <c:pt idx="84">
                  <c:v>2.5524833007679375E-2</c:v>
                </c:pt>
                <c:pt idx="85">
                  <c:v>2.6871534411513368E-2</c:v>
                </c:pt>
                <c:pt idx="86">
                  <c:v>2.6338851413823878E-2</c:v>
                </c:pt>
                <c:pt idx="87">
                  <c:v>2.4648701089615546E-2</c:v>
                </c:pt>
                <c:pt idx="88">
                  <c:v>2.6238033764437702E-2</c:v>
                </c:pt>
                <c:pt idx="89">
                  <c:v>3.0191859532939729E-2</c:v>
                </c:pt>
                <c:pt idx="90">
                  <c:v>3.0716851696320817E-2</c:v>
                </c:pt>
                <c:pt idx="91">
                  <c:v>3.1790352756617284E-2</c:v>
                </c:pt>
                <c:pt idx="92">
                  <c:v>2.9789485452214992E-2</c:v>
                </c:pt>
                <c:pt idx="93">
                  <c:v>2.7419432969366012E-2</c:v>
                </c:pt>
                <c:pt idx="94">
                  <c:v>2.5375304588112154E-2</c:v>
                </c:pt>
                <c:pt idx="95">
                  <c:v>2.7271435244645044E-2</c:v>
                </c:pt>
                <c:pt idx="96">
                  <c:v>2.4300725205733124E-2</c:v>
                </c:pt>
                <c:pt idx="97">
                  <c:v>2.5953063658202231E-2</c:v>
                </c:pt>
                <c:pt idx="98">
                  <c:v>2.870484051773789E-2</c:v>
                </c:pt>
                <c:pt idx="99">
                  <c:v>3.0161179689259059E-2</c:v>
                </c:pt>
                <c:pt idx="100">
                  <c:v>3.7558407981539428E-2</c:v>
                </c:pt>
                <c:pt idx="101">
                  <c:v>3.5796970668813106E-2</c:v>
                </c:pt>
              </c:numCache>
            </c:numRef>
          </c:yVal>
          <c:smooth val="0"/>
          <c:extLst>
            <c:ext xmlns:c16="http://schemas.microsoft.com/office/drawing/2014/chart" uri="{C3380CC4-5D6E-409C-BE32-E72D297353CC}">
              <c16:uniqueId val="{00000000-F32D-48B7-BC20-E66FC6253BAD}"/>
            </c:ext>
          </c:extLst>
        </c:ser>
        <c:ser>
          <c:idx val="1"/>
          <c:order val="1"/>
          <c:tx>
            <c:strRef>
              <c:f>Sheet1!$B$10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6:$A$157</c:f>
              <c:numCache>
                <c:formatCode>General</c:formatCode>
                <c:ptCount val="52"/>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numCache>
            </c:numRef>
          </c:xVal>
          <c:yVal>
            <c:numRef>
              <c:f>Sheet1!$B$106:$B$157</c:f>
              <c:numCache>
                <c:formatCode>General</c:formatCode>
                <c:ptCount val="52"/>
                <c:pt idx="0">
                  <c:v>3.3379430772150658E-2</c:v>
                </c:pt>
                <c:pt idx="1">
                  <c:v>3.5297770608354727E-2</c:v>
                </c:pt>
                <c:pt idx="2">
                  <c:v>3.603152077608085E-2</c:v>
                </c:pt>
                <c:pt idx="3">
                  <c:v>3.0978674639028675E-2</c:v>
                </c:pt>
                <c:pt idx="4">
                  <c:v>2.8133515753956471E-2</c:v>
                </c:pt>
                <c:pt idx="5">
                  <c:v>2.7512069607189618E-2</c:v>
                </c:pt>
                <c:pt idx="6">
                  <c:v>2.7535908601076187E-2</c:v>
                </c:pt>
                <c:pt idx="7">
                  <c:v>2.7306049137985969E-2</c:v>
                </c:pt>
                <c:pt idx="8">
                  <c:v>2.6838607545871734E-2</c:v>
                </c:pt>
                <c:pt idx="9">
                  <c:v>2.8577136215520643E-2</c:v>
                </c:pt>
                <c:pt idx="10">
                  <c:v>2.9045708307140341E-2</c:v>
                </c:pt>
                <c:pt idx="11">
                  <c:v>3.0151694267354034E-2</c:v>
                </c:pt>
                <c:pt idx="12">
                  <c:v>3.1278274774940926E-2</c:v>
                </c:pt>
                <c:pt idx="13">
                  <c:v>3.2623144271831599E-2</c:v>
                </c:pt>
                <c:pt idx="14">
                  <c:v>3.2081452766552027E-2</c:v>
                </c:pt>
                <c:pt idx="15">
                  <c:v>2.8476513020004538E-2</c:v>
                </c:pt>
                <c:pt idx="16">
                  <c:v>2.8897929262062423E-2</c:v>
                </c:pt>
                <c:pt idx="17">
                  <c:v>2.8572345272906727E-2</c:v>
                </c:pt>
                <c:pt idx="18">
                  <c:v>2.7582157287634194E-2</c:v>
                </c:pt>
                <c:pt idx="19">
                  <c:v>2.6684207925807661E-2</c:v>
                </c:pt>
                <c:pt idx="20">
                  <c:v>2.5074098168638374E-2</c:v>
                </c:pt>
                <c:pt idx="21">
                  <c:v>3.7053775555914395E-2</c:v>
                </c:pt>
                <c:pt idx="22">
                  <c:v>4.1201839145334811E-2</c:v>
                </c:pt>
                <c:pt idx="23">
                  <c:v>3.952108516249337E-2</c:v>
                </c:pt>
                <c:pt idx="24">
                  <c:v>3.301132678213544E-2</c:v>
                </c:pt>
                <c:pt idx="25">
                  <c:v>3.4672282379825628E-2</c:v>
                </c:pt>
                <c:pt idx="26">
                  <c:v>3.6478521099227869E-2</c:v>
                </c:pt>
                <c:pt idx="27">
                  <c:v>3.1719960612283417E-2</c:v>
                </c:pt>
                <c:pt idx="28">
                  <c:v>2.9844699099281863E-2</c:v>
                </c:pt>
                <c:pt idx="29">
                  <c:v>2.8247037929351546E-2</c:v>
                </c:pt>
                <c:pt idx="30">
                  <c:v>2.3926861689124793E-2</c:v>
                </c:pt>
                <c:pt idx="31">
                  <c:v>2.0770671408149036E-2</c:v>
                </c:pt>
                <c:pt idx="32">
                  <c:v>2.3460558709885785E-2</c:v>
                </c:pt>
                <c:pt idx="33">
                  <c:v>3.0427962862070307E-2</c:v>
                </c:pt>
                <c:pt idx="34">
                  <c:v>3.1037706913624008E-2</c:v>
                </c:pt>
                <c:pt idx="35">
                  <c:v>2.928997264422914E-2</c:v>
                </c:pt>
                <c:pt idx="36">
                  <c:v>2.9697936908540855E-2</c:v>
                </c:pt>
                <c:pt idx="37">
                  <c:v>3.0248130900335804E-2</c:v>
                </c:pt>
                <c:pt idx="38">
                  <c:v>3.5070387750061743E-2</c:v>
                </c:pt>
                <c:pt idx="39">
                  <c:v>3.1208337770205517E-2</c:v>
                </c:pt>
                <c:pt idx="40">
                  <c:v>2.6826790166755026E-2</c:v>
                </c:pt>
                <c:pt idx="41">
                  <c:v>2.4203784771293646E-2</c:v>
                </c:pt>
                <c:pt idx="42">
                  <c:v>2.4098053977022377E-2</c:v>
                </c:pt>
                <c:pt idx="43">
                  <c:v>2.4523754132153155E-2</c:v>
                </c:pt>
                <c:pt idx="44">
                  <c:v>2.2379504666963371E-2</c:v>
                </c:pt>
                <c:pt idx="45">
                  <c:v>2.104065524243157E-2</c:v>
                </c:pt>
                <c:pt idx="46">
                  <c:v>2.2028240128902143E-2</c:v>
                </c:pt>
                <c:pt idx="47">
                  <c:v>2.3321641522021073E-2</c:v>
                </c:pt>
                <c:pt idx="48">
                  <c:v>2.5721900660138006E-2</c:v>
                </c:pt>
                <c:pt idx="49">
                  <c:v>2.4967370312040958E-2</c:v>
                </c:pt>
                <c:pt idx="50">
                  <c:v>2.6033359791458374E-2</c:v>
                </c:pt>
                <c:pt idx="51">
                  <c:v>2.5702227757022279E-2</c:v>
                </c:pt>
              </c:numCache>
            </c:numRef>
          </c:yVal>
          <c:smooth val="0"/>
          <c:extLst>
            <c:ext xmlns:c16="http://schemas.microsoft.com/office/drawing/2014/chart" uri="{C3380CC4-5D6E-409C-BE32-E72D297353CC}">
              <c16:uniqueId val="{00000002-F32D-48B7-BC20-E66FC6253BAD}"/>
            </c:ext>
          </c:extLst>
        </c:ser>
        <c:ser>
          <c:idx val="2"/>
          <c:order val="2"/>
          <c:tx>
            <c:strRef>
              <c:f>Sheet1!$B$159</c:f>
              <c:strCache>
                <c:ptCount val="1"/>
                <c:pt idx="0">
                  <c:v>Custom Linep3yQ</c:v>
                </c:pt>
              </c:strCache>
            </c:strRef>
          </c:tx>
          <c:spPr>
            <a:ln w="19050" cap="rnd">
              <a:solidFill>
                <a:srgbClr val="C00000"/>
              </a:solidFill>
              <a:prstDash val="sysDot"/>
              <a:round/>
            </a:ln>
            <a:effectLst/>
          </c:spPr>
          <c:marker>
            <c:symbol val="none"/>
          </c:marker>
          <c:xVal>
            <c:numRef>
              <c:f>Sheet1!$A$160:$A$161</c:f>
              <c:numCache>
                <c:formatCode>General</c:formatCode>
                <c:ptCount val="2"/>
                <c:pt idx="0">
                  <c:v>0</c:v>
                </c:pt>
                <c:pt idx="1">
                  <c:v>0.27575744047645689</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3-F32D-48B7-BC20-E66FC6253BAD}"/>
            </c:ext>
          </c:extLst>
        </c:ser>
        <c:ser>
          <c:idx val="3"/>
          <c:order val="3"/>
          <c:tx>
            <c:strRef>
              <c:f>Sheet1!$B$16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0.27575744047645689</c:v>
                </c:pt>
                <c:pt idx="1">
                  <c:v>0.27575744047645689</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8:$A$169</c:f>
              <c:numCache>
                <c:formatCode>General</c:formatCode>
                <c:ptCount val="2"/>
                <c:pt idx="0">
                  <c:v>0</c:v>
                </c:pt>
                <c:pt idx="1">
                  <c:v>0.28987004975079905</c:v>
                </c:pt>
              </c:numCache>
            </c:numRef>
          </c:xVal>
          <c:yVal>
            <c:numRef>
              <c:f>Sheet1!$B$168:$B$169</c:f>
              <c:numCache>
                <c:formatCode>General</c:formatCode>
                <c:ptCount val="2"/>
                <c:pt idx="0">
                  <c:v>3.1101577984060606E-2</c:v>
                </c:pt>
                <c:pt idx="1">
                  <c:v>3.1101577984060606E-2</c:v>
                </c:pt>
              </c:numCache>
            </c:numRef>
          </c:yVal>
          <c:smooth val="0"/>
          <c:extLst>
            <c:ext xmlns:c16="http://schemas.microsoft.com/office/drawing/2014/chart" uri="{C3380CC4-5D6E-409C-BE32-E72D297353CC}">
              <c16:uniqueId val="{0000000A-F32D-48B7-BC20-E66FC6253BAD}"/>
            </c:ext>
          </c:extLst>
        </c:ser>
        <c:ser>
          <c:idx val="5"/>
          <c:order val="5"/>
          <c:tx>
            <c:strRef>
              <c:f>Sheet1!$B$17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0.28987004975079905</c:v>
                </c:pt>
                <c:pt idx="1">
                  <c:v>0.28987004975079905</c:v>
                </c:pt>
              </c:numCache>
            </c:numRef>
          </c:xVal>
          <c:yVal>
            <c:numRef>
              <c:f>Sheet1!$B$172:$B$173</c:f>
              <c:numCache>
                <c:formatCode>General</c:formatCode>
                <c:ptCount val="2"/>
                <c:pt idx="0">
                  <c:v>3.1101577984060606E-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6:$A$177</c:f>
              <c:numCache>
                <c:formatCode>General</c:formatCode>
                <c:ptCount val="2"/>
                <c:pt idx="0">
                  <c:v>0</c:v>
                </c:pt>
                <c:pt idx="1">
                  <c:v>0.32888493428125432</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1-F32D-48B7-BC20-E66FC6253BAD}"/>
            </c:ext>
          </c:extLst>
        </c:ser>
        <c:ser>
          <c:idx val="7"/>
          <c:order val="7"/>
          <c:tx>
            <c:strRef>
              <c:f>Sheet1!$B$17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0:$A$181</c:f>
              <c:numCache>
                <c:formatCode>General</c:formatCode>
                <c:ptCount val="2"/>
                <c:pt idx="0">
                  <c:v>0.32888493428125432</c:v>
                </c:pt>
                <c:pt idx="1">
                  <c:v>0.32888493428125432</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4:$A$238</c:f>
              <c:numCache>
                <c:formatCode>General</c:formatCode>
                <c:ptCount val="55"/>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pt idx="52">
                  <c:v>0.28987004975079905</c:v>
                </c:pt>
                <c:pt idx="53">
                  <c:v>0.27575744047645689</c:v>
                </c:pt>
                <c:pt idx="54">
                  <c:v>0.32888493428125432</c:v>
                </c:pt>
              </c:numCache>
            </c:numRef>
          </c:xVal>
          <c:yVal>
            <c:numRef>
              <c:f>Sheet1!$B$184:$B$238</c:f>
              <c:numCache>
                <c:formatCode>General</c:formatCode>
                <c:ptCount val="55"/>
                <c:pt idx="0">
                  <c:v>2.9413873016704839E-2</c:v>
                </c:pt>
                <c:pt idx="1">
                  <c:v>2.9896344890080709E-2</c:v>
                </c:pt>
                <c:pt idx="2">
                  <c:v>3.0155656486461964E-2</c:v>
                </c:pt>
                <c:pt idx="3">
                  <c:v>2.7109900331363727E-2</c:v>
                </c:pt>
                <c:pt idx="4">
                  <c:v>2.4371775225560388E-2</c:v>
                </c:pt>
                <c:pt idx="5">
                  <c:v>2.4094268404047922E-2</c:v>
                </c:pt>
                <c:pt idx="6">
                  <c:v>2.4322183284519114E-2</c:v>
                </c:pt>
                <c:pt idx="7">
                  <c:v>2.5263903460272262E-2</c:v>
                </c:pt>
                <c:pt idx="8">
                  <c:v>2.7533717749061021E-2</c:v>
                </c:pt>
                <c:pt idx="9">
                  <c:v>2.9136059572005948E-2</c:v>
                </c:pt>
                <c:pt idx="10">
                  <c:v>2.8439725189245424E-2</c:v>
                </c:pt>
                <c:pt idx="11">
                  <c:v>2.8481575446516888E-2</c:v>
                </c:pt>
                <c:pt idx="12">
                  <c:v>3.0108594349578348E-2</c:v>
                </c:pt>
                <c:pt idx="13">
                  <c:v>3.169054387055209E-2</c:v>
                </c:pt>
                <c:pt idx="14">
                  <c:v>3.1465934595702259E-2</c:v>
                </c:pt>
                <c:pt idx="15">
                  <c:v>3.1477667841337743E-2</c:v>
                </c:pt>
                <c:pt idx="16">
                  <c:v>3.1573121681829512E-2</c:v>
                </c:pt>
                <c:pt idx="17">
                  <c:v>3.1532924296196564E-2</c:v>
                </c:pt>
                <c:pt idx="18">
                  <c:v>3.0515660900336583E-2</c:v>
                </c:pt>
                <c:pt idx="19">
                  <c:v>3.0211789143868836E-2</c:v>
                </c:pt>
                <c:pt idx="20">
                  <c:v>2.8955614795748236E-2</c:v>
                </c:pt>
                <c:pt idx="21">
                  <c:v>3.2772131418724967E-2</c:v>
                </c:pt>
                <c:pt idx="22">
                  <c:v>3.3542665870490845E-2</c:v>
                </c:pt>
                <c:pt idx="23">
                  <c:v>3.3435184307609174E-2</c:v>
                </c:pt>
                <c:pt idx="24">
                  <c:v>3.268271460365052E-2</c:v>
                </c:pt>
                <c:pt idx="25">
                  <c:v>3.3870059534782497E-2</c:v>
                </c:pt>
                <c:pt idx="26">
                  <c:v>3.3073079926514877E-2</c:v>
                </c:pt>
                <c:pt idx="27">
                  <c:v>3.1808643842456727E-2</c:v>
                </c:pt>
                <c:pt idx="28">
                  <c:v>3.0502176751221188E-2</c:v>
                </c:pt>
                <c:pt idx="29">
                  <c:v>2.7906678470255915E-2</c:v>
                </c:pt>
                <c:pt idx="30">
                  <c:v>2.5033266393526828E-2</c:v>
                </c:pt>
                <c:pt idx="31">
                  <c:v>2.630903103630991E-2</c:v>
                </c:pt>
                <c:pt idx="32">
                  <c:v>2.8693045313762239E-2</c:v>
                </c:pt>
                <c:pt idx="33">
                  <c:v>3.2596808075387743E-2</c:v>
                </c:pt>
                <c:pt idx="34">
                  <c:v>3.3462836223474769E-2</c:v>
                </c:pt>
                <c:pt idx="35">
                  <c:v>3.1780988069129081E-2</c:v>
                </c:pt>
                <c:pt idx="36">
                  <c:v>3.2997078119396075E-2</c:v>
                </c:pt>
                <c:pt idx="37">
                  <c:v>3.4241810296995578E-2</c:v>
                </c:pt>
                <c:pt idx="38">
                  <c:v>3.5259393566231922E-2</c:v>
                </c:pt>
                <c:pt idx="39">
                  <c:v>3.2524924643797831E-2</c:v>
                </c:pt>
                <c:pt idx="40">
                  <c:v>2.8308242375685959E-2</c:v>
                </c:pt>
                <c:pt idx="41">
                  <c:v>2.54404048951909E-2</c:v>
                </c:pt>
                <c:pt idx="42">
                  <c:v>2.3287513921568817E-2</c:v>
                </c:pt>
                <c:pt idx="43">
                  <c:v>2.3365554652546534E-2</c:v>
                </c:pt>
                <c:pt idx="44">
                  <c:v>2.3054756675168077E-2</c:v>
                </c:pt>
                <c:pt idx="45">
                  <c:v>2.3566114628330095E-2</c:v>
                </c:pt>
                <c:pt idx="46">
                  <c:v>2.5888630394799238E-2</c:v>
                </c:pt>
                <c:pt idx="47">
                  <c:v>2.6265547596405793E-2</c:v>
                </c:pt>
                <c:pt idx="48">
                  <c:v>2.7412822111043234E-2</c:v>
                </c:pt>
                <c:pt idx="49">
                  <c:v>2.5962622488181153E-2</c:v>
                </c:pt>
                <c:pt idx="50">
                  <c:v>2.4525712064247307E-2</c:v>
                </c:pt>
                <c:pt idx="51">
                  <c:v>2.4473274634488791E-2</c:v>
                </c:pt>
                <c:pt idx="52">
                  <c:v>3.1101577984060602E-2</c:v>
                </c:pt>
                <c:pt idx="53">
                  <c:v>3.3390590546211449E-2</c:v>
                </c:pt>
                <c:pt idx="54">
                  <c:v>2.4773509299877497E-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40737801608579088"/>
          <c:min val="0.18705920295984374"/>
        </c:scaling>
        <c:delete val="0"/>
        <c:axPos val="b"/>
        <c:title>
          <c:tx>
            <c:rich>
              <a:bodyPr rot="0" spcFirstLastPara="1" vertOverflow="ellipsis" vert="horz" wrap="square" anchor="ctr" anchorCtr="1"/>
              <a:lstStyle/>
              <a:p>
                <a:pPr>
                  <a:defRPr sz="800" b="0">
                    <a:latin typeface="Nexa Bold"/>
                  </a:defRPr>
                </a:pPr>
                <a:r>
                  <a:rPr lang="en-US"/>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1291069944164441</c:v>
                </c:pt>
                <c:pt idx="1">
                  <c:v>0.13485892486555889</c:v>
                </c:pt>
                <c:pt idx="2">
                  <c:v>0.13361697278764331</c:v>
                </c:pt>
                <c:pt idx="3">
                  <c:v>0.13181455947245191</c:v>
                </c:pt>
                <c:pt idx="4">
                  <c:v>0.13079849733141291</c:v>
                </c:pt>
                <c:pt idx="5">
                  <c:v>0.12786527339341361</c:v>
                </c:pt>
                <c:pt idx="6">
                  <c:v>0.13389772495720559</c:v>
                </c:pt>
                <c:pt idx="7">
                  <c:v>0.1359519354250221</c:v>
                </c:pt>
                <c:pt idx="8">
                  <c:v>0.13408395448492219</c:v>
                </c:pt>
                <c:pt idx="9">
                  <c:v>0.1272173036352085</c:v>
                </c:pt>
                <c:pt idx="10">
                  <c:v>0.12580154817273331</c:v>
                </c:pt>
                <c:pt idx="11">
                  <c:v>0.1247833670603628</c:v>
                </c:pt>
                <c:pt idx="12">
                  <c:v>0.12616612542700109</c:v>
                </c:pt>
                <c:pt idx="13">
                  <c:v>0.13426073846412021</c:v>
                </c:pt>
                <c:pt idx="14">
                  <c:v>0.13040345544745011</c:v>
                </c:pt>
                <c:pt idx="15">
                  <c:v>0.12568196098787579</c:v>
                </c:pt>
                <c:pt idx="16">
                  <c:v>0.1284543866213313</c:v>
                </c:pt>
                <c:pt idx="17">
                  <c:v>0.13252000199740169</c:v>
                </c:pt>
                <c:pt idx="18">
                  <c:v>0.12612196270786419</c:v>
                </c:pt>
                <c:pt idx="19">
                  <c:v>0.13496886950214251</c:v>
                </c:pt>
                <c:pt idx="20">
                  <c:v>0.13064933940560819</c:v>
                </c:pt>
                <c:pt idx="21">
                  <c:v>0.12635635491031241</c:v>
                </c:pt>
                <c:pt idx="22">
                  <c:v>0.12863609693980929</c:v>
                </c:pt>
                <c:pt idx="23">
                  <c:v>0.13116494310893009</c:v>
                </c:pt>
                <c:pt idx="24">
                  <c:v>0.1278058186678292</c:v>
                </c:pt>
                <c:pt idx="25">
                  <c:v>0.1235932293079324</c:v>
                </c:pt>
                <c:pt idx="26">
                  <c:v>0.12290934252239009</c:v>
                </c:pt>
                <c:pt idx="27">
                  <c:v>0.12109503765009599</c:v>
                </c:pt>
                <c:pt idx="28">
                  <c:v>0.12207135397276341</c:v>
                </c:pt>
                <c:pt idx="29">
                  <c:v>0.1263122981136704</c:v>
                </c:pt>
                <c:pt idx="30">
                  <c:v>0.1263263635992006</c:v>
                </c:pt>
                <c:pt idx="31">
                  <c:v>0.12476889875077329</c:v>
                </c:pt>
                <c:pt idx="32">
                  <c:v>0.12674353123399981</c:v>
                </c:pt>
                <c:pt idx="33">
                  <c:v>0.12588695742723971</c:v>
                </c:pt>
                <c:pt idx="34">
                  <c:v>0.12390000002667199</c:v>
                </c:pt>
                <c:pt idx="35">
                  <c:v>0.12440850519118039</c:v>
                </c:pt>
                <c:pt idx="36">
                  <c:v>0.12336288941275771</c:v>
                </c:pt>
                <c:pt idx="37">
                  <c:v>0.1236579395008299</c:v>
                </c:pt>
                <c:pt idx="38">
                  <c:v>0.1244360084590832</c:v>
                </c:pt>
                <c:pt idx="39">
                  <c:v>0.12224083915887329</c:v>
                </c:pt>
                <c:pt idx="40">
                  <c:v>0.1219327444047168</c:v>
                </c:pt>
                <c:pt idx="41">
                  <c:v>0.1250560323566518</c:v>
                </c:pt>
                <c:pt idx="42">
                  <c:v>0.12745512740440279</c:v>
                </c:pt>
                <c:pt idx="43">
                  <c:v>0.1211984894858895</c:v>
                </c:pt>
                <c:pt idx="44">
                  <c:v>0.1258670226690102</c:v>
                </c:pt>
                <c:pt idx="45">
                  <c:v>0.1272339848348821</c:v>
                </c:pt>
                <c:pt idx="46">
                  <c:v>0.13490346412193621</c:v>
                </c:pt>
                <c:pt idx="47">
                  <c:v>0.1232399985423943</c:v>
                </c:pt>
                <c:pt idx="48">
                  <c:v>0.12311641114157899</c:v>
                </c:pt>
                <c:pt idx="49">
                  <c:v>0.1234350759255986</c:v>
                </c:pt>
                <c:pt idx="50">
                  <c:v>0.12419744604278141</c:v>
                </c:pt>
                <c:pt idx="51">
                  <c:v>0.13145508336915421</c:v>
                </c:pt>
                <c:pt idx="52">
                  <c:v>0.13109930113357529</c:v>
                </c:pt>
                <c:pt idx="53">
                  <c:v>0.13568928560863899</c:v>
                </c:pt>
                <c:pt idx="54">
                  <c:v>0.1285210371531505</c:v>
                </c:pt>
                <c:pt idx="55">
                  <c:v>0.1300753516373136</c:v>
                </c:pt>
                <c:pt idx="56">
                  <c:v>0.12489749950473671</c:v>
                </c:pt>
                <c:pt idx="57">
                  <c:v>0.10266521645136149</c:v>
                </c:pt>
                <c:pt idx="58">
                  <c:v>9.4621929093130358E-2</c:v>
                </c:pt>
                <c:pt idx="59">
                  <c:v>9.8212612965823731E-2</c:v>
                </c:pt>
                <c:pt idx="60">
                  <c:v>0.1102654339127445</c:v>
                </c:pt>
                <c:pt idx="61">
                  <c:v>0.1086326326560431</c:v>
                </c:pt>
                <c:pt idx="62">
                  <c:v>0.10273100071317991</c:v>
                </c:pt>
                <c:pt idx="63">
                  <c:v>0.1056131313298932</c:v>
                </c:pt>
                <c:pt idx="64">
                  <c:v>0.116037952360732</c:v>
                </c:pt>
                <c:pt idx="65">
                  <c:v>0.13065683342069531</c:v>
                </c:pt>
                <c:pt idx="66">
                  <c:v>0.132712182958446</c:v>
                </c:pt>
                <c:pt idx="67">
                  <c:v>0.12498087731066</c:v>
                </c:pt>
                <c:pt idx="68">
                  <c:v>0.1318623648264734</c:v>
                </c:pt>
                <c:pt idx="69">
                  <c:v>0.13405085209231629</c:v>
                </c:pt>
                <c:pt idx="70">
                  <c:v>0.12663942767242409</c:v>
                </c:pt>
                <c:pt idx="71">
                  <c:v>0.13715997078444109</c:v>
                </c:pt>
                <c:pt idx="72">
                  <c:v>0.1312699287114284</c:v>
                </c:pt>
                <c:pt idx="73">
                  <c:v>0.1290474255800157</c:v>
                </c:pt>
                <c:pt idx="74">
                  <c:v>0.12976627424972709</c:v>
                </c:pt>
                <c:pt idx="75">
                  <c:v>0.12686829869724861</c:v>
                </c:pt>
                <c:pt idx="76">
                  <c:v>0.1253623579280761</c:v>
                </c:pt>
                <c:pt idx="77">
                  <c:v>0.12968156222074531</c:v>
                </c:pt>
                <c:pt idx="78">
                  <c:v>0.12750329032649099</c:v>
                </c:pt>
                <c:pt idx="79">
                  <c:v>0.12461050546445129</c:v>
                </c:pt>
                <c:pt idx="80">
                  <c:v>0.12900335189603049</c:v>
                </c:pt>
                <c:pt idx="81">
                  <c:v>0.12741746962889991</c:v>
                </c:pt>
                <c:pt idx="82">
                  <c:v>0.1227246355993528</c:v>
                </c:pt>
                <c:pt idx="83">
                  <c:v>0.12325497363003669</c:v>
                </c:pt>
                <c:pt idx="84">
                  <c:v>0.1237777050026681</c:v>
                </c:pt>
                <c:pt idx="85">
                  <c:v>0.1227618684932686</c:v>
                </c:pt>
                <c:pt idx="86">
                  <c:v>0.12625273778634091</c:v>
                </c:pt>
                <c:pt idx="87">
                  <c:v>0.12848401925218161</c:v>
                </c:pt>
                <c:pt idx="88">
                  <c:v>0.12808991008793849</c:v>
                </c:pt>
                <c:pt idx="89">
                  <c:v>0.12669599383578639</c:v>
                </c:pt>
                <c:pt idx="90">
                  <c:v>0.128457244567205</c:v>
                </c:pt>
                <c:pt idx="91">
                  <c:v>0.1287495738807907</c:v>
                </c:pt>
                <c:pt idx="92">
                  <c:v>0.12753778198649329</c:v>
                </c:pt>
                <c:pt idx="93">
                  <c:v>0.12858384689357691</c:v>
                </c:pt>
                <c:pt idx="94">
                  <c:v>0.13053873342212541</c:v>
                </c:pt>
                <c:pt idx="95">
                  <c:v>0.1283681251237693</c:v>
                </c:pt>
                <c:pt idx="96">
                  <c:v>0.12712219330013799</c:v>
                </c:pt>
                <c:pt idx="97">
                  <c:v>0.12537888942730019</c:v>
                </c:pt>
                <c:pt idx="98">
                  <c:v>0.12745921704595151</c:v>
                </c:pt>
                <c:pt idx="99">
                  <c:v>0.1212266665697815</c:v>
                </c:pt>
                <c:pt idx="100">
                  <c:v>0.1141728668578047</c:v>
                </c:pt>
                <c:pt idx="101">
                  <c:v>0.115957494325048</c:v>
                </c:pt>
              </c:numCache>
            </c:numRef>
          </c:xVal>
          <c:yVal>
            <c:numRef>
              <c:f>Sheet1!$B$2:$B$103</c:f>
              <c:numCache>
                <c:formatCode>General</c:formatCode>
                <c:ptCount val="102"/>
                <c:pt idx="0">
                  <c:v>3.1549194168607013E-2</c:v>
                </c:pt>
                <c:pt idx="1">
                  <c:v>2.5925076493376501E-2</c:v>
                </c:pt>
                <c:pt idx="2">
                  <c:v>1.9457371147598559E-2</c:v>
                </c:pt>
                <c:pt idx="3">
                  <c:v>2.1005226955186751E-2</c:v>
                </c:pt>
                <c:pt idx="4">
                  <c:v>2.3683174888924512E-2</c:v>
                </c:pt>
                <c:pt idx="5">
                  <c:v>2.481491169212223E-2</c:v>
                </c:pt>
                <c:pt idx="6">
                  <c:v>2.2966901329024649E-2</c:v>
                </c:pt>
                <c:pt idx="7">
                  <c:v>2.1693356757167159E-2</c:v>
                </c:pt>
                <c:pt idx="8">
                  <c:v>2.508474647577718E-2</c:v>
                </c:pt>
                <c:pt idx="9">
                  <c:v>3.2219360006132687E-2</c:v>
                </c:pt>
                <c:pt idx="10">
                  <c:v>3.3455366889535383E-2</c:v>
                </c:pt>
                <c:pt idx="11">
                  <c:v>3.077420503855852E-2</c:v>
                </c:pt>
                <c:pt idx="12">
                  <c:v>3.166311843777065E-2</c:v>
                </c:pt>
                <c:pt idx="13">
                  <c:v>2.9573633835338661E-2</c:v>
                </c:pt>
                <c:pt idx="14">
                  <c:v>2.943829474961886E-2</c:v>
                </c:pt>
                <c:pt idx="15">
                  <c:v>3.2326555355538883E-2</c:v>
                </c:pt>
                <c:pt idx="16">
                  <c:v>3.045418321235838E-2</c:v>
                </c:pt>
                <c:pt idx="17">
                  <c:v>3.0177244147381321E-2</c:v>
                </c:pt>
                <c:pt idx="18">
                  <c:v>3.0949579617420529E-2</c:v>
                </c:pt>
                <c:pt idx="19">
                  <c:v>3.3044676701229417E-2</c:v>
                </c:pt>
                <c:pt idx="20">
                  <c:v>3.4502368865567047E-2</c:v>
                </c:pt>
                <c:pt idx="21">
                  <c:v>3.8171203781773647E-2</c:v>
                </c:pt>
                <c:pt idx="22">
                  <c:v>3.2633840746857157E-2</c:v>
                </c:pt>
                <c:pt idx="23">
                  <c:v>3.22851825867847E-2</c:v>
                </c:pt>
                <c:pt idx="24">
                  <c:v>3.4293774474369272E-2</c:v>
                </c:pt>
                <c:pt idx="25">
                  <c:v>3.3493331489235549E-2</c:v>
                </c:pt>
                <c:pt idx="26">
                  <c:v>3.2256296982208908E-2</c:v>
                </c:pt>
                <c:pt idx="27">
                  <c:v>3.256327154323236E-2</c:v>
                </c:pt>
                <c:pt idx="28">
                  <c:v>3.0215972855570969E-2</c:v>
                </c:pt>
                <c:pt idx="29">
                  <c:v>2.971323515475446E-2</c:v>
                </c:pt>
                <c:pt idx="30">
                  <c:v>2.9886044202056931E-2</c:v>
                </c:pt>
                <c:pt idx="31">
                  <c:v>3.0113049153545669E-2</c:v>
                </c:pt>
                <c:pt idx="32">
                  <c:v>3.0121682992946059E-2</c:v>
                </c:pt>
                <c:pt idx="33">
                  <c:v>2.8704102443482309E-2</c:v>
                </c:pt>
                <c:pt idx="34">
                  <c:v>3.0602403901330309E-2</c:v>
                </c:pt>
                <c:pt idx="35">
                  <c:v>3.1456536502498793E-2</c:v>
                </c:pt>
                <c:pt idx="36">
                  <c:v>3.1516667937295108E-2</c:v>
                </c:pt>
                <c:pt idx="37">
                  <c:v>3.3226585884057157E-2</c:v>
                </c:pt>
                <c:pt idx="38">
                  <c:v>3.3016326225624587E-2</c:v>
                </c:pt>
                <c:pt idx="39">
                  <c:v>3.0075909553288729E-2</c:v>
                </c:pt>
                <c:pt idx="40">
                  <c:v>3.030822714314705E-2</c:v>
                </c:pt>
                <c:pt idx="41">
                  <c:v>3.1273537834975489E-2</c:v>
                </c:pt>
                <c:pt idx="42">
                  <c:v>3.005901690014778E-2</c:v>
                </c:pt>
                <c:pt idx="43">
                  <c:v>3.0573863083611631E-2</c:v>
                </c:pt>
                <c:pt idx="44">
                  <c:v>3.254448153409624E-2</c:v>
                </c:pt>
                <c:pt idx="45">
                  <c:v>3.2420025270644671E-2</c:v>
                </c:pt>
                <c:pt idx="46">
                  <c:v>3.0841270586476861E-2</c:v>
                </c:pt>
                <c:pt idx="47">
                  <c:v>3.4545476528939613E-2</c:v>
                </c:pt>
                <c:pt idx="48">
                  <c:v>3.9378011399146942E-2</c:v>
                </c:pt>
                <c:pt idx="49">
                  <c:v>3.4585845792310457E-2</c:v>
                </c:pt>
                <c:pt idx="50">
                  <c:v>3.6889295123608737E-2</c:v>
                </c:pt>
                <c:pt idx="51">
                  <c:v>3.516974061970235E-2</c:v>
                </c:pt>
                <c:pt idx="52">
                  <c:v>3.3440411726256947E-2</c:v>
                </c:pt>
                <c:pt idx="53">
                  <c:v>3.0775515895011849E-2</c:v>
                </c:pt>
                <c:pt idx="54">
                  <c:v>2.856172806220978E-2</c:v>
                </c:pt>
                <c:pt idx="55">
                  <c:v>2.9260191711765832E-2</c:v>
                </c:pt>
                <c:pt idx="56">
                  <c:v>3.1178692703543051E-2</c:v>
                </c:pt>
                <c:pt idx="57">
                  <c:v>3.7031471681131703E-2</c:v>
                </c:pt>
                <c:pt idx="58">
                  <c:v>3.9909501581123753E-2</c:v>
                </c:pt>
                <c:pt idx="59">
                  <c:v>3.3090443177845791E-2</c:v>
                </c:pt>
                <c:pt idx="60">
                  <c:v>2.0429936026239701E-2</c:v>
                </c:pt>
                <c:pt idx="61">
                  <c:v>1.594233918003489E-2</c:v>
                </c:pt>
                <c:pt idx="62">
                  <c:v>2.6561543645322629E-2</c:v>
                </c:pt>
                <c:pt idx="63">
                  <c:v>3.5068893654044378E-2</c:v>
                </c:pt>
                <c:pt idx="64">
                  <c:v>3.0967228847484721E-2</c:v>
                </c:pt>
                <c:pt idx="65">
                  <c:v>2.602705616299417E-2</c:v>
                </c:pt>
                <c:pt idx="66">
                  <c:v>2.587150374122359E-2</c:v>
                </c:pt>
                <c:pt idx="67">
                  <c:v>2.691260699372984E-2</c:v>
                </c:pt>
                <c:pt idx="68">
                  <c:v>2.5874418970458959E-2</c:v>
                </c:pt>
                <c:pt idx="69">
                  <c:v>2.3193315376484971E-2</c:v>
                </c:pt>
                <c:pt idx="70">
                  <c:v>2.2686657383630061E-2</c:v>
                </c:pt>
                <c:pt idx="71">
                  <c:v>2.6189284143623481E-2</c:v>
                </c:pt>
                <c:pt idx="72">
                  <c:v>2.7336338114147821E-2</c:v>
                </c:pt>
                <c:pt idx="73">
                  <c:v>2.7740990571672709E-2</c:v>
                </c:pt>
                <c:pt idx="74">
                  <c:v>2.877527311984417E-2</c:v>
                </c:pt>
                <c:pt idx="75">
                  <c:v>2.8510329318482429E-2</c:v>
                </c:pt>
                <c:pt idx="76">
                  <c:v>2.7909474603405621E-2</c:v>
                </c:pt>
                <c:pt idx="77">
                  <c:v>2.354699792786898E-2</c:v>
                </c:pt>
                <c:pt idx="78">
                  <c:v>2.3516397046911521E-2</c:v>
                </c:pt>
                <c:pt idx="79">
                  <c:v>2.2115174941799771E-2</c:v>
                </c:pt>
                <c:pt idx="80">
                  <c:v>2.2268202762568419E-2</c:v>
                </c:pt>
                <c:pt idx="81">
                  <c:v>2.1244426266941788E-2</c:v>
                </c:pt>
                <c:pt idx="82">
                  <c:v>3.1177386289303839E-2</c:v>
                </c:pt>
                <c:pt idx="83">
                  <c:v>2.630647686699077E-2</c:v>
                </c:pt>
                <c:pt idx="84">
                  <c:v>2.5524833007679371E-2</c:v>
                </c:pt>
                <c:pt idx="85">
                  <c:v>2.6871534411513371E-2</c:v>
                </c:pt>
                <c:pt idx="86">
                  <c:v>2.6338851413823881E-2</c:v>
                </c:pt>
                <c:pt idx="87">
                  <c:v>2.464870108961555E-2</c:v>
                </c:pt>
                <c:pt idx="88">
                  <c:v>2.6238033764437702E-2</c:v>
                </c:pt>
                <c:pt idx="89">
                  <c:v>3.0191859532939729E-2</c:v>
                </c:pt>
                <c:pt idx="90">
                  <c:v>3.071685169632082E-2</c:v>
                </c:pt>
                <c:pt idx="91">
                  <c:v>3.1790352756617277E-2</c:v>
                </c:pt>
                <c:pt idx="92">
                  <c:v>2.9789485452214989E-2</c:v>
                </c:pt>
                <c:pt idx="93">
                  <c:v>2.7419432969366012E-2</c:v>
                </c:pt>
                <c:pt idx="94">
                  <c:v>2.5375304588112151E-2</c:v>
                </c:pt>
                <c:pt idx="95">
                  <c:v>2.727143524464504E-2</c:v>
                </c:pt>
                <c:pt idx="96">
                  <c:v>2.430072520573312E-2</c:v>
                </c:pt>
                <c:pt idx="97">
                  <c:v>2.5953063658202231E-2</c:v>
                </c:pt>
                <c:pt idx="98">
                  <c:v>2.870484051773789E-2</c:v>
                </c:pt>
                <c:pt idx="99">
                  <c:v>3.0161179689259059E-2</c:v>
                </c:pt>
                <c:pt idx="100">
                  <c:v>3.7558407981539428E-2</c:v>
                </c:pt>
                <c:pt idx="101">
                  <c:v>3.5796970668813113E-2</c:v>
                </c:pt>
              </c:numCache>
            </c:numRef>
          </c:yVal>
          <c:smooth val="0"/>
          <c:extLst>
            <c:ext xmlns:c16="http://schemas.microsoft.com/office/drawing/2014/chart" uri="{C3380CC4-5D6E-409C-BE32-E72D297353CC}">
              <c16:uniqueId val="{00000000-096C-4121-9522-6AB7243CCAAE}"/>
            </c:ext>
          </c:extLst>
        </c:ser>
        <c:ser>
          <c:idx val="1"/>
          <c:order val="1"/>
          <c:tx>
            <c:strRef>
              <c:f>Sheet1!$B$10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6:$A$157</c:f>
              <c:numCache>
                <c:formatCode>General</c:formatCode>
                <c:ptCount val="52"/>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numCache>
            </c:numRef>
          </c:xVal>
          <c:yVal>
            <c:numRef>
              <c:f>Sheet1!$B$106:$B$157</c:f>
              <c:numCache>
                <c:formatCode>General</c:formatCode>
                <c:ptCount val="52"/>
                <c:pt idx="0">
                  <c:v>3.3379430772150658E-2</c:v>
                </c:pt>
                <c:pt idx="1">
                  <c:v>3.5297770608354727E-2</c:v>
                </c:pt>
                <c:pt idx="2">
                  <c:v>3.603152077608085E-2</c:v>
                </c:pt>
                <c:pt idx="3">
                  <c:v>3.0978674639028671E-2</c:v>
                </c:pt>
                <c:pt idx="4">
                  <c:v>2.8133515753956471E-2</c:v>
                </c:pt>
                <c:pt idx="5">
                  <c:v>2.7512069607189622E-2</c:v>
                </c:pt>
                <c:pt idx="6">
                  <c:v>2.753590860107619E-2</c:v>
                </c:pt>
                <c:pt idx="7">
                  <c:v>2.7306049137985969E-2</c:v>
                </c:pt>
                <c:pt idx="8">
                  <c:v>2.683860754587173E-2</c:v>
                </c:pt>
                <c:pt idx="9">
                  <c:v>2.8577136215520639E-2</c:v>
                </c:pt>
                <c:pt idx="10">
                  <c:v>2.9045708307140341E-2</c:v>
                </c:pt>
                <c:pt idx="11">
                  <c:v>3.0151694267354031E-2</c:v>
                </c:pt>
                <c:pt idx="12">
                  <c:v>3.1278274774940933E-2</c:v>
                </c:pt>
                <c:pt idx="13">
                  <c:v>3.2623144271831599E-2</c:v>
                </c:pt>
                <c:pt idx="14">
                  <c:v>3.2081452766552027E-2</c:v>
                </c:pt>
                <c:pt idx="15">
                  <c:v>2.8476513020004542E-2</c:v>
                </c:pt>
                <c:pt idx="16">
                  <c:v>2.889792926206242E-2</c:v>
                </c:pt>
                <c:pt idx="17">
                  <c:v>2.8572345272906731E-2</c:v>
                </c:pt>
                <c:pt idx="18">
                  <c:v>2.758215728763419E-2</c:v>
                </c:pt>
                <c:pt idx="19">
                  <c:v>2.6684207925807661E-2</c:v>
                </c:pt>
                <c:pt idx="20">
                  <c:v>2.507409816863837E-2</c:v>
                </c:pt>
                <c:pt idx="21">
                  <c:v>3.7053775555914388E-2</c:v>
                </c:pt>
                <c:pt idx="22">
                  <c:v>4.1201839145334811E-2</c:v>
                </c:pt>
                <c:pt idx="23">
                  <c:v>3.952108516249337E-2</c:v>
                </c:pt>
                <c:pt idx="24">
                  <c:v>3.301132678213544E-2</c:v>
                </c:pt>
                <c:pt idx="25">
                  <c:v>3.4672282379825628E-2</c:v>
                </c:pt>
                <c:pt idx="26">
                  <c:v>3.6478521099227869E-2</c:v>
                </c:pt>
                <c:pt idx="27">
                  <c:v>3.1719960612283417E-2</c:v>
                </c:pt>
                <c:pt idx="28">
                  <c:v>2.9844699099281859E-2</c:v>
                </c:pt>
                <c:pt idx="29">
                  <c:v>2.824703792935155E-2</c:v>
                </c:pt>
                <c:pt idx="30">
                  <c:v>2.3926861689124789E-2</c:v>
                </c:pt>
                <c:pt idx="31">
                  <c:v>2.077067140814904E-2</c:v>
                </c:pt>
                <c:pt idx="32">
                  <c:v>2.3460558709885782E-2</c:v>
                </c:pt>
                <c:pt idx="33">
                  <c:v>3.042796286207031E-2</c:v>
                </c:pt>
                <c:pt idx="34">
                  <c:v>3.1037706913624011E-2</c:v>
                </c:pt>
                <c:pt idx="35">
                  <c:v>2.928997264422914E-2</c:v>
                </c:pt>
                <c:pt idx="36">
                  <c:v>2.9697936908540851E-2</c:v>
                </c:pt>
                <c:pt idx="37">
                  <c:v>3.0248130900335801E-2</c:v>
                </c:pt>
                <c:pt idx="38">
                  <c:v>3.5070387750061743E-2</c:v>
                </c:pt>
                <c:pt idx="39">
                  <c:v>3.120833777020552E-2</c:v>
                </c:pt>
                <c:pt idx="40">
                  <c:v>2.682679016675503E-2</c:v>
                </c:pt>
                <c:pt idx="41">
                  <c:v>2.4203784771293649E-2</c:v>
                </c:pt>
                <c:pt idx="42">
                  <c:v>2.4098053977022381E-2</c:v>
                </c:pt>
                <c:pt idx="43">
                  <c:v>2.4523754132153151E-2</c:v>
                </c:pt>
                <c:pt idx="44">
                  <c:v>2.2379504666963371E-2</c:v>
                </c:pt>
                <c:pt idx="45">
                  <c:v>2.104065524243157E-2</c:v>
                </c:pt>
                <c:pt idx="46">
                  <c:v>2.202824012890214E-2</c:v>
                </c:pt>
                <c:pt idx="47">
                  <c:v>2.3321641522021069E-2</c:v>
                </c:pt>
                <c:pt idx="48">
                  <c:v>2.5721900660138009E-2</c:v>
                </c:pt>
                <c:pt idx="49">
                  <c:v>2.4967370312040962E-2</c:v>
                </c:pt>
                <c:pt idx="50">
                  <c:v>2.603335979145837E-2</c:v>
                </c:pt>
                <c:pt idx="51">
                  <c:v>2.5702227757022279E-2</c:v>
                </c:pt>
              </c:numCache>
            </c:numRef>
          </c:yVal>
          <c:smooth val="0"/>
          <c:extLst>
            <c:ext xmlns:c16="http://schemas.microsoft.com/office/drawing/2014/chart" uri="{C3380CC4-5D6E-409C-BE32-E72D297353CC}">
              <c16:uniqueId val="{00000002-096C-4121-9522-6AB7243CCAAE}"/>
            </c:ext>
          </c:extLst>
        </c:ser>
        <c:ser>
          <c:idx val="2"/>
          <c:order val="2"/>
          <c:tx>
            <c:strRef>
              <c:f>Sheet1!$B$15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0:$A$161</c:f>
              <c:numCache>
                <c:formatCode>General</c:formatCode>
                <c:ptCount val="2"/>
                <c:pt idx="0">
                  <c:v>0</c:v>
                </c:pt>
                <c:pt idx="1">
                  <c:v>0.1108820277239114</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5-096C-4121-9522-6AB7243CCAAE}"/>
            </c:ext>
          </c:extLst>
        </c:ser>
        <c:ser>
          <c:idx val="3"/>
          <c:order val="3"/>
          <c:tx>
            <c:strRef>
              <c:f>Sheet1!$B$16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0.1108820277239114</c:v>
                </c:pt>
                <c:pt idx="1">
                  <c:v>0.1108820277239114</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8:$A$169</c:f>
              <c:numCache>
                <c:formatCode>General</c:formatCode>
                <c:ptCount val="2"/>
                <c:pt idx="0">
                  <c:v>0</c:v>
                </c:pt>
                <c:pt idx="1">
                  <c:v>0.11732114474802791</c:v>
                </c:pt>
              </c:numCache>
            </c:numRef>
          </c:xVal>
          <c:yVal>
            <c:numRef>
              <c:f>Sheet1!$B$168:$B$169</c:f>
              <c:numCache>
                <c:formatCode>General</c:formatCode>
                <c:ptCount val="2"/>
                <c:pt idx="0">
                  <c:v>3.1101577984060609E-2</c:v>
                </c:pt>
                <c:pt idx="1">
                  <c:v>3.1101577984060609E-2</c:v>
                </c:pt>
              </c:numCache>
            </c:numRef>
          </c:yVal>
          <c:smooth val="0"/>
          <c:extLst>
            <c:ext xmlns:c16="http://schemas.microsoft.com/office/drawing/2014/chart" uri="{C3380CC4-5D6E-409C-BE32-E72D297353CC}">
              <c16:uniqueId val="{0000000D-096C-4121-9522-6AB7243CCAAE}"/>
            </c:ext>
          </c:extLst>
        </c:ser>
        <c:ser>
          <c:idx val="5"/>
          <c:order val="5"/>
          <c:tx>
            <c:strRef>
              <c:f>Sheet1!$B$17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0.11732114474802791</c:v>
                </c:pt>
                <c:pt idx="1">
                  <c:v>0.11732114474802791</c:v>
                </c:pt>
              </c:numCache>
            </c:numRef>
          </c:xVal>
          <c:yVal>
            <c:numRef>
              <c:f>Sheet1!$B$172:$B$173</c:f>
              <c:numCache>
                <c:formatCode>General</c:formatCode>
                <c:ptCount val="2"/>
                <c:pt idx="0">
                  <c:v>3.1101577984060609E-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6:$A$177</c:f>
              <c:numCache>
                <c:formatCode>General</c:formatCode>
                <c:ptCount val="2"/>
                <c:pt idx="0">
                  <c:v>0</c:v>
                </c:pt>
                <c:pt idx="1">
                  <c:v>0.13512234665834599</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5-096C-4121-9522-6AB7243CCAAE}"/>
            </c:ext>
          </c:extLst>
        </c:ser>
        <c:ser>
          <c:idx val="7"/>
          <c:order val="7"/>
          <c:tx>
            <c:strRef>
              <c:f>Sheet1!$B$17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0:$A$181</c:f>
              <c:numCache>
                <c:formatCode>General</c:formatCode>
                <c:ptCount val="2"/>
                <c:pt idx="0">
                  <c:v>0.13512234665834599</c:v>
                </c:pt>
                <c:pt idx="1">
                  <c:v>0.13512234665834599</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4:$A$238</c:f>
              <c:numCache>
                <c:formatCode>General</c:formatCode>
                <c:ptCount val="55"/>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pt idx="52">
                  <c:v>0.11732114474802791</c:v>
                </c:pt>
                <c:pt idx="53">
                  <c:v>0.1108820277239114</c:v>
                </c:pt>
                <c:pt idx="54">
                  <c:v>0.13512234665834599</c:v>
                </c:pt>
              </c:numCache>
            </c:numRef>
          </c:xVal>
          <c:yVal>
            <c:numRef>
              <c:f>Sheet1!$B$184:$B$238</c:f>
              <c:numCache>
                <c:formatCode>General</c:formatCode>
                <c:ptCount val="55"/>
                <c:pt idx="0">
                  <c:v>3.1620668745252142E-2</c:v>
                </c:pt>
                <c:pt idx="1">
                  <c:v>3.1654790245678951E-2</c:v>
                </c:pt>
                <c:pt idx="2">
                  <c:v>3.2783325344754151E-2</c:v>
                </c:pt>
                <c:pt idx="3">
                  <c:v>3.022688607526958E-2</c:v>
                </c:pt>
                <c:pt idx="4">
                  <c:v>2.8540776744242852E-2</c:v>
                </c:pt>
                <c:pt idx="5">
                  <c:v>2.8198639317480349E-2</c:v>
                </c:pt>
                <c:pt idx="6">
                  <c:v>2.8149354774764782E-2</c:v>
                </c:pt>
                <c:pt idx="7">
                  <c:v>2.8199004366077019E-2</c:v>
                </c:pt>
                <c:pt idx="8">
                  <c:v>3.0157282303857849E-2</c:v>
                </c:pt>
                <c:pt idx="9">
                  <c:v>2.9717490317624731E-2</c:v>
                </c:pt>
                <c:pt idx="10">
                  <c:v>2.880162617160174E-2</c:v>
                </c:pt>
                <c:pt idx="11">
                  <c:v>3.0799476543192809E-2</c:v>
                </c:pt>
                <c:pt idx="12">
                  <c:v>2.8080121278043681E-2</c:v>
                </c:pt>
                <c:pt idx="13">
                  <c:v>2.8247092051713919E-2</c:v>
                </c:pt>
                <c:pt idx="14">
                  <c:v>2.639540124703324E-2</c:v>
                </c:pt>
                <c:pt idx="15">
                  <c:v>1.9220157910636009E-2</c:v>
                </c:pt>
                <c:pt idx="16">
                  <c:v>2.9292926757015069E-2</c:v>
                </c:pt>
                <c:pt idx="17">
                  <c:v>2.9541107656935999E-2</c:v>
                </c:pt>
                <c:pt idx="18">
                  <c:v>3.1154431279754719E-2</c:v>
                </c:pt>
                <c:pt idx="19">
                  <c:v>2.9461129531890291E-2</c:v>
                </c:pt>
                <c:pt idx="20">
                  <c:v>3.0313783713891131E-2</c:v>
                </c:pt>
                <c:pt idx="21">
                  <c:v>3.3508822667282862E-2</c:v>
                </c:pt>
                <c:pt idx="22">
                  <c:v>3.4739165058279807E-2</c:v>
                </c:pt>
                <c:pt idx="23">
                  <c:v>3.3561500120319547E-2</c:v>
                </c:pt>
                <c:pt idx="24">
                  <c:v>3.0961282548418428E-2</c:v>
                </c:pt>
                <c:pt idx="25">
                  <c:v>3.325613118609181E-2</c:v>
                </c:pt>
                <c:pt idx="26">
                  <c:v>3.230935798656305E-2</c:v>
                </c:pt>
                <c:pt idx="27">
                  <c:v>3.0186042242885399E-2</c:v>
                </c:pt>
                <c:pt idx="28">
                  <c:v>2.9826699740302571E-2</c:v>
                </c:pt>
                <c:pt idx="29">
                  <c:v>2.8461825588360749E-2</c:v>
                </c:pt>
                <c:pt idx="30">
                  <c:v>2.6667445839888119E-2</c:v>
                </c:pt>
                <c:pt idx="31">
                  <c:v>2.9333797528733729E-2</c:v>
                </c:pt>
                <c:pt idx="32">
                  <c:v>2.8469462201818171E-2</c:v>
                </c:pt>
                <c:pt idx="33">
                  <c:v>3.1278574864500211E-2</c:v>
                </c:pt>
                <c:pt idx="34">
                  <c:v>3.362517184260494E-2</c:v>
                </c:pt>
                <c:pt idx="35">
                  <c:v>3.1259339751075838E-2</c:v>
                </c:pt>
                <c:pt idx="36">
                  <c:v>3.2466678789921898E-2</c:v>
                </c:pt>
                <c:pt idx="37">
                  <c:v>3.336561461501103E-2</c:v>
                </c:pt>
                <c:pt idx="38">
                  <c:v>3.1897061212580187E-2</c:v>
                </c:pt>
                <c:pt idx="39">
                  <c:v>3.0591232179052279E-2</c:v>
                </c:pt>
                <c:pt idx="40">
                  <c:v>2.6490890509876141E-2</c:v>
                </c:pt>
                <c:pt idx="41">
                  <c:v>2.5005655171483909E-2</c:v>
                </c:pt>
                <c:pt idx="42">
                  <c:v>2.471524594195228E-2</c:v>
                </c:pt>
                <c:pt idx="43">
                  <c:v>2.5740688254943609E-2</c:v>
                </c:pt>
                <c:pt idx="44">
                  <c:v>2.534241769031121E-2</c:v>
                </c:pt>
                <c:pt idx="45">
                  <c:v>2.5785004878787769E-2</c:v>
                </c:pt>
                <c:pt idx="46">
                  <c:v>2.6712805427711591E-2</c:v>
                </c:pt>
                <c:pt idx="47">
                  <c:v>2.6016063432124481E-2</c:v>
                </c:pt>
                <c:pt idx="48">
                  <c:v>2.645901837190287E-2</c:v>
                </c:pt>
                <c:pt idx="49">
                  <c:v>2.253097533810856E-2</c:v>
                </c:pt>
                <c:pt idx="50">
                  <c:v>2.3407974477709061E-2</c:v>
                </c:pt>
                <c:pt idx="51">
                  <c:v>2.5267129597052979E-2</c:v>
                </c:pt>
                <c:pt idx="52">
                  <c:v>3.1101577984060599E-2</c:v>
                </c:pt>
                <c:pt idx="53">
                  <c:v>3.3390590546211449E-2</c:v>
                </c:pt>
                <c:pt idx="54">
                  <c:v>2.47735092998775E-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18089307194123574"/>
          <c:min val="7.5697543274504286E-2"/>
        </c:scaling>
        <c:delete val="0"/>
        <c:axPos val="b"/>
        <c:title>
          <c:tx>
            <c:rich>
              <a:bodyPr rot="0" spcFirstLastPara="1" vertOverflow="ellipsis" vert="horz" wrap="square" anchor="ctr" anchorCtr="1"/>
              <a:lstStyle/>
              <a:p>
                <a:pPr>
                  <a:defRPr sz="800" b="0">
                    <a:solidFill>
                      <a:srgbClr val="575555"/>
                    </a:solidFill>
                    <a:latin typeface="Nexa Bold"/>
                  </a:defRPr>
                </a:pPr>
                <a:r>
                  <a:rPr lang="en-US"/>
                  <a:t>Price Ix vs. Gillette Fusion5</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3084051742229012</c:v>
                </c:pt>
                <c:pt idx="1">
                  <c:v>0.31591786351078627</c:v>
                </c:pt>
                <c:pt idx="2">
                  <c:v>0.32058023334902946</c:v>
                </c:pt>
                <c:pt idx="3">
                  <c:v>0.31551466024025998</c:v>
                </c:pt>
                <c:pt idx="4">
                  <c:v>0.31248983133575575</c:v>
                </c:pt>
                <c:pt idx="5">
                  <c:v>0.31209899175068745</c:v>
                </c:pt>
                <c:pt idx="6">
                  <c:v>0.31243915630070307</c:v>
                </c:pt>
                <c:pt idx="7">
                  <c:v>0.3133619793471481</c:v>
                </c:pt>
                <c:pt idx="8">
                  <c:v>0.31671907756813417</c:v>
                </c:pt>
                <c:pt idx="9">
                  <c:v>0.31082322826247477</c:v>
                </c:pt>
                <c:pt idx="10">
                  <c:v>0.31047212859141043</c:v>
                </c:pt>
                <c:pt idx="11">
                  <c:v>0.30851195946449417</c:v>
                </c:pt>
                <c:pt idx="12">
                  <c:v>0.30743476600274672</c:v>
                </c:pt>
                <c:pt idx="13">
                  <c:v>0.30557876018361524</c:v>
                </c:pt>
                <c:pt idx="14">
                  <c:v>0.30608180521683359</c:v>
                </c:pt>
                <c:pt idx="15">
                  <c:v>0.30537959003209308</c:v>
                </c:pt>
                <c:pt idx="16">
                  <c:v>0.30479028449342177</c:v>
                </c:pt>
                <c:pt idx="17">
                  <c:v>0.30535697989231286</c:v>
                </c:pt>
                <c:pt idx="18">
                  <c:v>0.30758733419811496</c:v>
                </c:pt>
                <c:pt idx="19">
                  <c:v>0.30384356418742708</c:v>
                </c:pt>
                <c:pt idx="20">
                  <c:v>0.30255871389344829</c:v>
                </c:pt>
                <c:pt idx="21">
                  <c:v>0.30131492720175512</c:v>
                </c:pt>
                <c:pt idx="22">
                  <c:v>0.30402402402402401</c:v>
                </c:pt>
                <c:pt idx="23">
                  <c:v>0.3041818228723267</c:v>
                </c:pt>
                <c:pt idx="24">
                  <c:v>0.30380595989557657</c:v>
                </c:pt>
                <c:pt idx="25">
                  <c:v>0.30266464709715091</c:v>
                </c:pt>
                <c:pt idx="26">
                  <c:v>0.30198090992432275</c:v>
                </c:pt>
                <c:pt idx="27">
                  <c:v>0.30261018186645428</c:v>
                </c:pt>
                <c:pt idx="28">
                  <c:v>0.30379475941413642</c:v>
                </c:pt>
                <c:pt idx="29">
                  <c:v>0.30510575091808745</c:v>
                </c:pt>
                <c:pt idx="30">
                  <c:v>0.30547263681592041</c:v>
                </c:pt>
                <c:pt idx="31">
                  <c:v>0.30191808942530629</c:v>
                </c:pt>
                <c:pt idx="32">
                  <c:v>0.30004016835781272</c:v>
                </c:pt>
                <c:pt idx="33">
                  <c:v>0.30140260803244229</c:v>
                </c:pt>
                <c:pt idx="34">
                  <c:v>0.30315931183998879</c:v>
                </c:pt>
                <c:pt idx="35">
                  <c:v>0.30423707530585153</c:v>
                </c:pt>
                <c:pt idx="36">
                  <c:v>0.30339368848493503</c:v>
                </c:pt>
                <c:pt idx="37">
                  <c:v>0.30312142377964563</c:v>
                </c:pt>
                <c:pt idx="38">
                  <c:v>0.30421477922015827</c:v>
                </c:pt>
                <c:pt idx="39">
                  <c:v>0.30360700245050509</c:v>
                </c:pt>
                <c:pt idx="40">
                  <c:v>0.30482776067799466</c:v>
                </c:pt>
                <c:pt idx="41">
                  <c:v>0.30496561046396053</c:v>
                </c:pt>
                <c:pt idx="42">
                  <c:v>0.30474260101509459</c:v>
                </c:pt>
                <c:pt idx="43">
                  <c:v>0.30487658997567685</c:v>
                </c:pt>
                <c:pt idx="44">
                  <c:v>0.30417377406912238</c:v>
                </c:pt>
                <c:pt idx="45">
                  <c:v>0.30429474182711519</c:v>
                </c:pt>
                <c:pt idx="46">
                  <c:v>0.30416987037597953</c:v>
                </c:pt>
                <c:pt idx="47">
                  <c:v>0.30177142857142858</c:v>
                </c:pt>
                <c:pt idx="48">
                  <c:v>0.30034428178139644</c:v>
                </c:pt>
                <c:pt idx="49">
                  <c:v>0.30020553910468561</c:v>
                </c:pt>
                <c:pt idx="50">
                  <c:v>0.30020393921120919</c:v>
                </c:pt>
                <c:pt idx="51">
                  <c:v>0.30029572161037082</c:v>
                </c:pt>
                <c:pt idx="52">
                  <c:v>0.30085731375024921</c:v>
                </c:pt>
                <c:pt idx="53">
                  <c:v>0.30374794069192751</c:v>
                </c:pt>
                <c:pt idx="54">
                  <c:v>0.30475569923731716</c:v>
                </c:pt>
                <c:pt idx="55">
                  <c:v>0.30484411191281596</c:v>
                </c:pt>
                <c:pt idx="56">
                  <c:v>0.29666067320451317</c:v>
                </c:pt>
                <c:pt idx="57">
                  <c:v>0.25400835544515327</c:v>
                </c:pt>
                <c:pt idx="58">
                  <c:v>0.23382400369980466</c:v>
                </c:pt>
                <c:pt idx="59">
                  <c:v>0.23943026116791946</c:v>
                </c:pt>
                <c:pt idx="60">
                  <c:v>0.25369491863085675</c:v>
                </c:pt>
                <c:pt idx="61">
                  <c:v>0.26335839430757868</c:v>
                </c:pt>
                <c:pt idx="62">
                  <c:v>0.24811366501794199</c:v>
                </c:pt>
                <c:pt idx="63">
                  <c:v>0.25331883600138116</c:v>
                </c:pt>
                <c:pt idx="64">
                  <c:v>0.27606841827999473</c:v>
                </c:pt>
                <c:pt idx="65">
                  <c:v>0.28160478817918266</c:v>
                </c:pt>
                <c:pt idx="66">
                  <c:v>0.29229782021117312</c:v>
                </c:pt>
                <c:pt idx="67">
                  <c:v>0.30127414335954045</c:v>
                </c:pt>
                <c:pt idx="68">
                  <c:v>0.30305886879569066</c:v>
                </c:pt>
                <c:pt idx="69">
                  <c:v>0.30492991022208221</c:v>
                </c:pt>
                <c:pt idx="70">
                  <c:v>0.30628978911194849</c:v>
                </c:pt>
                <c:pt idx="71">
                  <c:v>0.30507690665654685</c:v>
                </c:pt>
                <c:pt idx="72">
                  <c:v>0.30607670596048481</c:v>
                </c:pt>
                <c:pt idx="73">
                  <c:v>0.3116373241246056</c:v>
                </c:pt>
                <c:pt idx="74">
                  <c:v>0.31424842998124136</c:v>
                </c:pt>
                <c:pt idx="75">
                  <c:v>0.31320176754871626</c:v>
                </c:pt>
                <c:pt idx="76">
                  <c:v>0.31380953870863448</c:v>
                </c:pt>
                <c:pt idx="77">
                  <c:v>0.32590348409435188</c:v>
                </c:pt>
                <c:pt idx="78">
                  <c:v>0.33061711871301291</c:v>
                </c:pt>
                <c:pt idx="79">
                  <c:v>0.33376024237416513</c:v>
                </c:pt>
                <c:pt idx="80">
                  <c:v>0.334863282523373</c:v>
                </c:pt>
                <c:pt idx="81">
                  <c:v>0.33732775797715603</c:v>
                </c:pt>
                <c:pt idx="82">
                  <c:v>0.3340239432262419</c:v>
                </c:pt>
                <c:pt idx="83">
                  <c:v>0.32813911724353323</c:v>
                </c:pt>
                <c:pt idx="84">
                  <c:v>0.32451377453380215</c:v>
                </c:pt>
                <c:pt idx="85">
                  <c:v>0.3242920313313794</c:v>
                </c:pt>
                <c:pt idx="86">
                  <c:v>0.32834757834757833</c:v>
                </c:pt>
                <c:pt idx="87">
                  <c:v>0.33024565689467972</c:v>
                </c:pt>
                <c:pt idx="88">
                  <c:v>0.33047076978575868</c:v>
                </c:pt>
                <c:pt idx="89">
                  <c:v>0.32960364974033468</c:v>
                </c:pt>
                <c:pt idx="90">
                  <c:v>0.32877782475231143</c:v>
                </c:pt>
                <c:pt idx="91">
                  <c:v>0.33265505668454848</c:v>
                </c:pt>
                <c:pt idx="92">
                  <c:v>0.33383080669232584</c:v>
                </c:pt>
                <c:pt idx="93">
                  <c:v>0.33445095599479496</c:v>
                </c:pt>
                <c:pt idx="94">
                  <c:v>0.33425385899470356</c:v>
                </c:pt>
                <c:pt idx="95">
                  <c:v>0.33302358553829059</c:v>
                </c:pt>
                <c:pt idx="96">
                  <c:v>0.3331230702831911</c:v>
                </c:pt>
                <c:pt idx="97">
                  <c:v>0.33248279672509923</c:v>
                </c:pt>
                <c:pt idx="98">
                  <c:v>0.33184443040565192</c:v>
                </c:pt>
                <c:pt idx="99">
                  <c:v>0.31234357273380736</c:v>
                </c:pt>
                <c:pt idx="100">
                  <c:v>0.30123106937136429</c:v>
                </c:pt>
                <c:pt idx="101">
                  <c:v>0.30056872662328632</c:v>
                </c:pt>
              </c:numCache>
            </c:numRef>
          </c:xVal>
          <c:yVal>
            <c:numRef>
              <c:f>Sheet1!$B$2:$B$103</c:f>
              <c:numCache>
                <c:formatCode>General</c:formatCode>
                <c:ptCount val="102"/>
                <c:pt idx="0">
                  <c:v>3.1549194168607006E-2</c:v>
                </c:pt>
                <c:pt idx="1">
                  <c:v>2.5925076493376501E-2</c:v>
                </c:pt>
                <c:pt idx="2">
                  <c:v>1.9457371147598559E-2</c:v>
                </c:pt>
                <c:pt idx="3">
                  <c:v>2.1005226955186754E-2</c:v>
                </c:pt>
                <c:pt idx="4">
                  <c:v>2.3683174888924508E-2</c:v>
                </c:pt>
                <c:pt idx="5">
                  <c:v>2.4814911692122233E-2</c:v>
                </c:pt>
                <c:pt idx="6">
                  <c:v>2.2966901329024649E-2</c:v>
                </c:pt>
                <c:pt idx="7">
                  <c:v>2.1693356757167159E-2</c:v>
                </c:pt>
                <c:pt idx="8">
                  <c:v>2.508474647577718E-2</c:v>
                </c:pt>
                <c:pt idx="9">
                  <c:v>3.2219360006132694E-2</c:v>
                </c:pt>
                <c:pt idx="10">
                  <c:v>3.3455366889535383E-2</c:v>
                </c:pt>
                <c:pt idx="11">
                  <c:v>3.0774205038558523E-2</c:v>
                </c:pt>
                <c:pt idx="12">
                  <c:v>3.166311843777065E-2</c:v>
                </c:pt>
                <c:pt idx="13">
                  <c:v>2.9573633835338665E-2</c:v>
                </c:pt>
                <c:pt idx="14">
                  <c:v>2.9438294749618857E-2</c:v>
                </c:pt>
                <c:pt idx="15">
                  <c:v>3.2326555355538883E-2</c:v>
                </c:pt>
                <c:pt idx="16">
                  <c:v>3.0454183212358377E-2</c:v>
                </c:pt>
                <c:pt idx="17">
                  <c:v>3.0177244147381318E-2</c:v>
                </c:pt>
                <c:pt idx="18">
                  <c:v>3.0949579617420526E-2</c:v>
                </c:pt>
                <c:pt idx="19">
                  <c:v>3.3044676701229417E-2</c:v>
                </c:pt>
                <c:pt idx="20">
                  <c:v>3.4502368865567047E-2</c:v>
                </c:pt>
                <c:pt idx="21">
                  <c:v>3.8171203781773647E-2</c:v>
                </c:pt>
                <c:pt idx="22">
                  <c:v>3.2633840746857157E-2</c:v>
                </c:pt>
                <c:pt idx="23">
                  <c:v>3.22851825867847E-2</c:v>
                </c:pt>
                <c:pt idx="24">
                  <c:v>3.4293774474369265E-2</c:v>
                </c:pt>
                <c:pt idx="25">
                  <c:v>3.3493331489235549E-2</c:v>
                </c:pt>
                <c:pt idx="26">
                  <c:v>3.2256296982208908E-2</c:v>
                </c:pt>
                <c:pt idx="27">
                  <c:v>3.256327154323236E-2</c:v>
                </c:pt>
                <c:pt idx="28">
                  <c:v>3.0215972855570965E-2</c:v>
                </c:pt>
                <c:pt idx="29">
                  <c:v>2.971323515475446E-2</c:v>
                </c:pt>
                <c:pt idx="30">
                  <c:v>2.9886044202056927E-2</c:v>
                </c:pt>
                <c:pt idx="31">
                  <c:v>3.0113049153545669E-2</c:v>
                </c:pt>
                <c:pt idx="32">
                  <c:v>3.0121682992946059E-2</c:v>
                </c:pt>
                <c:pt idx="33">
                  <c:v>2.8704102443482309E-2</c:v>
                </c:pt>
                <c:pt idx="34">
                  <c:v>3.0602403901330309E-2</c:v>
                </c:pt>
                <c:pt idx="35">
                  <c:v>3.1456536502498786E-2</c:v>
                </c:pt>
                <c:pt idx="36">
                  <c:v>3.1516667937295108E-2</c:v>
                </c:pt>
                <c:pt idx="37">
                  <c:v>3.3226585884057164E-2</c:v>
                </c:pt>
                <c:pt idx="38">
                  <c:v>3.3016326225624587E-2</c:v>
                </c:pt>
                <c:pt idx="39">
                  <c:v>3.0075909553288729E-2</c:v>
                </c:pt>
                <c:pt idx="40">
                  <c:v>3.0308227143147046E-2</c:v>
                </c:pt>
                <c:pt idx="41">
                  <c:v>3.1273537834975489E-2</c:v>
                </c:pt>
                <c:pt idx="42">
                  <c:v>3.0059016900147784E-2</c:v>
                </c:pt>
                <c:pt idx="43">
                  <c:v>3.0573863083611635E-2</c:v>
                </c:pt>
                <c:pt idx="44">
                  <c:v>3.254448153409624E-2</c:v>
                </c:pt>
                <c:pt idx="45">
                  <c:v>3.2420025270644671E-2</c:v>
                </c:pt>
                <c:pt idx="46">
                  <c:v>3.0841270586476857E-2</c:v>
                </c:pt>
                <c:pt idx="47">
                  <c:v>3.4545476528939606E-2</c:v>
                </c:pt>
                <c:pt idx="48">
                  <c:v>3.9378011399146942E-2</c:v>
                </c:pt>
                <c:pt idx="49">
                  <c:v>3.4585845792310457E-2</c:v>
                </c:pt>
                <c:pt idx="50">
                  <c:v>3.6889295123608744E-2</c:v>
                </c:pt>
                <c:pt idx="51">
                  <c:v>3.516974061970235E-2</c:v>
                </c:pt>
                <c:pt idx="52">
                  <c:v>3.3440411726256954E-2</c:v>
                </c:pt>
                <c:pt idx="53">
                  <c:v>3.0775515895011849E-2</c:v>
                </c:pt>
                <c:pt idx="54">
                  <c:v>2.856172806220978E-2</c:v>
                </c:pt>
                <c:pt idx="55">
                  <c:v>2.9260191711765828E-2</c:v>
                </c:pt>
                <c:pt idx="56">
                  <c:v>3.1178692703543048E-2</c:v>
                </c:pt>
                <c:pt idx="57">
                  <c:v>3.7031471681131703E-2</c:v>
                </c:pt>
                <c:pt idx="58">
                  <c:v>3.9909501581123753E-2</c:v>
                </c:pt>
                <c:pt idx="59">
                  <c:v>3.3090443177845791E-2</c:v>
                </c:pt>
                <c:pt idx="60">
                  <c:v>2.0429936026239697E-2</c:v>
                </c:pt>
                <c:pt idx="61">
                  <c:v>1.5942339180034886E-2</c:v>
                </c:pt>
                <c:pt idx="62">
                  <c:v>2.6561543645322632E-2</c:v>
                </c:pt>
                <c:pt idx="63">
                  <c:v>3.5068893654044385E-2</c:v>
                </c:pt>
                <c:pt idx="64">
                  <c:v>3.0967228847484717E-2</c:v>
                </c:pt>
                <c:pt idx="65">
                  <c:v>2.6027056162994167E-2</c:v>
                </c:pt>
                <c:pt idx="66">
                  <c:v>2.5871503741223587E-2</c:v>
                </c:pt>
                <c:pt idx="67">
                  <c:v>2.691260699372984E-2</c:v>
                </c:pt>
                <c:pt idx="68">
                  <c:v>2.5874418970458959E-2</c:v>
                </c:pt>
                <c:pt idx="69">
                  <c:v>2.3193315376484971E-2</c:v>
                </c:pt>
                <c:pt idx="70">
                  <c:v>2.2686657383630057E-2</c:v>
                </c:pt>
                <c:pt idx="71">
                  <c:v>2.6189284143623485E-2</c:v>
                </c:pt>
                <c:pt idx="72">
                  <c:v>2.7336338114147821E-2</c:v>
                </c:pt>
                <c:pt idx="73">
                  <c:v>2.7740990571672709E-2</c:v>
                </c:pt>
                <c:pt idx="74">
                  <c:v>2.8775273119844166E-2</c:v>
                </c:pt>
                <c:pt idx="75">
                  <c:v>2.8510329318482425E-2</c:v>
                </c:pt>
                <c:pt idx="76">
                  <c:v>2.7909474603405617E-2</c:v>
                </c:pt>
                <c:pt idx="77">
                  <c:v>2.354699792786898E-2</c:v>
                </c:pt>
                <c:pt idx="78">
                  <c:v>2.3516397046911525E-2</c:v>
                </c:pt>
                <c:pt idx="79">
                  <c:v>2.2115174941799768E-2</c:v>
                </c:pt>
                <c:pt idx="80">
                  <c:v>2.2268202762568419E-2</c:v>
                </c:pt>
                <c:pt idx="81">
                  <c:v>2.1244426266941792E-2</c:v>
                </c:pt>
                <c:pt idx="82">
                  <c:v>3.1177386289303839E-2</c:v>
                </c:pt>
                <c:pt idx="83">
                  <c:v>2.6306476866990773E-2</c:v>
                </c:pt>
                <c:pt idx="84">
                  <c:v>2.5524833007679375E-2</c:v>
                </c:pt>
                <c:pt idx="85">
                  <c:v>2.6871534411513368E-2</c:v>
                </c:pt>
                <c:pt idx="86">
                  <c:v>2.6338851413823878E-2</c:v>
                </c:pt>
                <c:pt idx="87">
                  <c:v>2.4648701089615546E-2</c:v>
                </c:pt>
                <c:pt idx="88">
                  <c:v>2.6238033764437702E-2</c:v>
                </c:pt>
                <c:pt idx="89">
                  <c:v>3.0191859532939729E-2</c:v>
                </c:pt>
                <c:pt idx="90">
                  <c:v>3.0716851696320817E-2</c:v>
                </c:pt>
                <c:pt idx="91">
                  <c:v>3.1790352756617284E-2</c:v>
                </c:pt>
                <c:pt idx="92">
                  <c:v>2.9789485452214992E-2</c:v>
                </c:pt>
                <c:pt idx="93">
                  <c:v>2.7419432969366012E-2</c:v>
                </c:pt>
                <c:pt idx="94">
                  <c:v>2.5375304588112154E-2</c:v>
                </c:pt>
                <c:pt idx="95">
                  <c:v>2.7271435244645044E-2</c:v>
                </c:pt>
                <c:pt idx="96">
                  <c:v>2.4300725205733124E-2</c:v>
                </c:pt>
                <c:pt idx="97">
                  <c:v>2.5953063658202231E-2</c:v>
                </c:pt>
                <c:pt idx="98">
                  <c:v>2.870484051773789E-2</c:v>
                </c:pt>
                <c:pt idx="99">
                  <c:v>3.0161179689259059E-2</c:v>
                </c:pt>
                <c:pt idx="100">
                  <c:v>3.7558407981539428E-2</c:v>
                </c:pt>
                <c:pt idx="101">
                  <c:v>3.5796970668813106E-2</c:v>
                </c:pt>
              </c:numCache>
            </c:numRef>
          </c:yVal>
          <c:smooth val="0"/>
          <c:extLst>
            <c:ext xmlns:c16="http://schemas.microsoft.com/office/drawing/2014/chart" uri="{C3380CC4-5D6E-409C-BE32-E72D297353CC}">
              <c16:uniqueId val="{00000000-F32D-48B7-BC20-E66FC6253BAD}"/>
            </c:ext>
          </c:extLst>
        </c:ser>
        <c:ser>
          <c:idx val="1"/>
          <c:order val="1"/>
          <c:tx>
            <c:strRef>
              <c:f>Sheet1!$B$10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6:$A$157</c:f>
              <c:numCache>
                <c:formatCode>General</c:formatCode>
                <c:ptCount val="52"/>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numCache>
            </c:numRef>
          </c:xVal>
          <c:yVal>
            <c:numRef>
              <c:f>Sheet1!$B$106:$B$157</c:f>
              <c:numCache>
                <c:formatCode>General</c:formatCode>
                <c:ptCount val="52"/>
                <c:pt idx="0">
                  <c:v>3.3379430772150658E-2</c:v>
                </c:pt>
                <c:pt idx="1">
                  <c:v>3.5297770608354727E-2</c:v>
                </c:pt>
                <c:pt idx="2">
                  <c:v>3.603152077608085E-2</c:v>
                </c:pt>
                <c:pt idx="3">
                  <c:v>3.0978674639028675E-2</c:v>
                </c:pt>
                <c:pt idx="4">
                  <c:v>2.8133515753956471E-2</c:v>
                </c:pt>
                <c:pt idx="5">
                  <c:v>2.7512069607189618E-2</c:v>
                </c:pt>
                <c:pt idx="6">
                  <c:v>2.7535908601076187E-2</c:v>
                </c:pt>
                <c:pt idx="7">
                  <c:v>2.7306049137985969E-2</c:v>
                </c:pt>
                <c:pt idx="8">
                  <c:v>2.6838607545871734E-2</c:v>
                </c:pt>
                <c:pt idx="9">
                  <c:v>2.8577136215520643E-2</c:v>
                </c:pt>
                <c:pt idx="10">
                  <c:v>2.9045708307140341E-2</c:v>
                </c:pt>
                <c:pt idx="11">
                  <c:v>3.0151694267354034E-2</c:v>
                </c:pt>
                <c:pt idx="12">
                  <c:v>3.1278274774940926E-2</c:v>
                </c:pt>
                <c:pt idx="13">
                  <c:v>3.2623144271831599E-2</c:v>
                </c:pt>
                <c:pt idx="14">
                  <c:v>3.2081452766552027E-2</c:v>
                </c:pt>
                <c:pt idx="15">
                  <c:v>2.8476513020004538E-2</c:v>
                </c:pt>
                <c:pt idx="16">
                  <c:v>2.8897929262062423E-2</c:v>
                </c:pt>
                <c:pt idx="17">
                  <c:v>2.8572345272906727E-2</c:v>
                </c:pt>
                <c:pt idx="18">
                  <c:v>2.7582157287634194E-2</c:v>
                </c:pt>
                <c:pt idx="19">
                  <c:v>2.6684207925807661E-2</c:v>
                </c:pt>
                <c:pt idx="20">
                  <c:v>2.5074098168638374E-2</c:v>
                </c:pt>
                <c:pt idx="21">
                  <c:v>3.7053775555914395E-2</c:v>
                </c:pt>
                <c:pt idx="22">
                  <c:v>4.1201839145334811E-2</c:v>
                </c:pt>
                <c:pt idx="23">
                  <c:v>3.952108516249337E-2</c:v>
                </c:pt>
                <c:pt idx="24">
                  <c:v>3.301132678213544E-2</c:v>
                </c:pt>
                <c:pt idx="25">
                  <c:v>3.4672282379825628E-2</c:v>
                </c:pt>
                <c:pt idx="26">
                  <c:v>3.6478521099227869E-2</c:v>
                </c:pt>
                <c:pt idx="27">
                  <c:v>3.1719960612283417E-2</c:v>
                </c:pt>
                <c:pt idx="28">
                  <c:v>2.9844699099281863E-2</c:v>
                </c:pt>
                <c:pt idx="29">
                  <c:v>2.8247037929351546E-2</c:v>
                </c:pt>
                <c:pt idx="30">
                  <c:v>2.3926861689124793E-2</c:v>
                </c:pt>
                <c:pt idx="31">
                  <c:v>2.0770671408149036E-2</c:v>
                </c:pt>
                <c:pt idx="32">
                  <c:v>2.3460558709885785E-2</c:v>
                </c:pt>
                <c:pt idx="33">
                  <c:v>3.0427962862070307E-2</c:v>
                </c:pt>
                <c:pt idx="34">
                  <c:v>3.1037706913624008E-2</c:v>
                </c:pt>
                <c:pt idx="35">
                  <c:v>2.928997264422914E-2</c:v>
                </c:pt>
                <c:pt idx="36">
                  <c:v>2.9697936908540855E-2</c:v>
                </c:pt>
                <c:pt idx="37">
                  <c:v>3.0248130900335804E-2</c:v>
                </c:pt>
                <c:pt idx="38">
                  <c:v>3.5070387750061743E-2</c:v>
                </c:pt>
                <c:pt idx="39">
                  <c:v>3.1208337770205517E-2</c:v>
                </c:pt>
                <c:pt idx="40">
                  <c:v>2.6826790166755026E-2</c:v>
                </c:pt>
                <c:pt idx="41">
                  <c:v>2.4203784771293646E-2</c:v>
                </c:pt>
                <c:pt idx="42">
                  <c:v>2.4098053977022377E-2</c:v>
                </c:pt>
                <c:pt idx="43">
                  <c:v>2.4523754132153155E-2</c:v>
                </c:pt>
                <c:pt idx="44">
                  <c:v>2.2379504666963371E-2</c:v>
                </c:pt>
                <c:pt idx="45">
                  <c:v>2.104065524243157E-2</c:v>
                </c:pt>
                <c:pt idx="46">
                  <c:v>2.2028240128902143E-2</c:v>
                </c:pt>
                <c:pt idx="47">
                  <c:v>2.3321641522021073E-2</c:v>
                </c:pt>
                <c:pt idx="48">
                  <c:v>2.5721900660138006E-2</c:v>
                </c:pt>
                <c:pt idx="49">
                  <c:v>2.4967370312040958E-2</c:v>
                </c:pt>
                <c:pt idx="50">
                  <c:v>2.6033359791458374E-2</c:v>
                </c:pt>
                <c:pt idx="51">
                  <c:v>2.5702227757022279E-2</c:v>
                </c:pt>
              </c:numCache>
            </c:numRef>
          </c:yVal>
          <c:smooth val="0"/>
          <c:extLst>
            <c:ext xmlns:c16="http://schemas.microsoft.com/office/drawing/2014/chart" uri="{C3380CC4-5D6E-409C-BE32-E72D297353CC}">
              <c16:uniqueId val="{00000002-F32D-48B7-BC20-E66FC6253BAD}"/>
            </c:ext>
          </c:extLst>
        </c:ser>
        <c:ser>
          <c:idx val="2"/>
          <c:order val="2"/>
          <c:tx>
            <c:strRef>
              <c:f>Sheet1!$B$159</c:f>
              <c:strCache>
                <c:ptCount val="1"/>
                <c:pt idx="0">
                  <c:v>Custom Linep3yQ</c:v>
                </c:pt>
              </c:strCache>
            </c:strRef>
          </c:tx>
          <c:spPr>
            <a:ln w="19050" cap="rnd">
              <a:solidFill>
                <a:srgbClr val="C00000"/>
              </a:solidFill>
              <a:prstDash val="sysDot"/>
              <a:round/>
            </a:ln>
            <a:effectLst/>
          </c:spPr>
          <c:marker>
            <c:symbol val="none"/>
          </c:marker>
          <c:xVal>
            <c:numRef>
              <c:f>Sheet1!$A$160:$A$161</c:f>
              <c:numCache>
                <c:formatCode>General</c:formatCode>
                <c:ptCount val="2"/>
                <c:pt idx="0">
                  <c:v>0</c:v>
                </c:pt>
                <c:pt idx="1">
                  <c:v>0.27575744047645689</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3-F32D-48B7-BC20-E66FC6253BAD}"/>
            </c:ext>
          </c:extLst>
        </c:ser>
        <c:ser>
          <c:idx val="3"/>
          <c:order val="3"/>
          <c:tx>
            <c:strRef>
              <c:f>Sheet1!$B$16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0.27575744047645689</c:v>
                </c:pt>
                <c:pt idx="1">
                  <c:v>0.27575744047645689</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8:$A$169</c:f>
              <c:numCache>
                <c:formatCode>General</c:formatCode>
                <c:ptCount val="2"/>
                <c:pt idx="0">
                  <c:v>0</c:v>
                </c:pt>
                <c:pt idx="1">
                  <c:v>0.28987004975079905</c:v>
                </c:pt>
              </c:numCache>
            </c:numRef>
          </c:xVal>
          <c:yVal>
            <c:numRef>
              <c:f>Sheet1!$B$168:$B$169</c:f>
              <c:numCache>
                <c:formatCode>General</c:formatCode>
                <c:ptCount val="2"/>
                <c:pt idx="0">
                  <c:v>3.1101577984060606E-2</c:v>
                </c:pt>
                <c:pt idx="1">
                  <c:v>3.1101577984060606E-2</c:v>
                </c:pt>
              </c:numCache>
            </c:numRef>
          </c:yVal>
          <c:smooth val="0"/>
          <c:extLst>
            <c:ext xmlns:c16="http://schemas.microsoft.com/office/drawing/2014/chart" uri="{C3380CC4-5D6E-409C-BE32-E72D297353CC}">
              <c16:uniqueId val="{0000000A-F32D-48B7-BC20-E66FC6253BAD}"/>
            </c:ext>
          </c:extLst>
        </c:ser>
        <c:ser>
          <c:idx val="5"/>
          <c:order val="5"/>
          <c:tx>
            <c:strRef>
              <c:f>Sheet1!$B$17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0.28987004975079905</c:v>
                </c:pt>
                <c:pt idx="1">
                  <c:v>0.28987004975079905</c:v>
                </c:pt>
              </c:numCache>
            </c:numRef>
          </c:xVal>
          <c:yVal>
            <c:numRef>
              <c:f>Sheet1!$B$172:$B$173</c:f>
              <c:numCache>
                <c:formatCode>General</c:formatCode>
                <c:ptCount val="2"/>
                <c:pt idx="0">
                  <c:v>3.1101577984060606E-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6:$A$177</c:f>
              <c:numCache>
                <c:formatCode>General</c:formatCode>
                <c:ptCount val="2"/>
                <c:pt idx="0">
                  <c:v>0</c:v>
                </c:pt>
                <c:pt idx="1">
                  <c:v>0.32888493428125432</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1-F32D-48B7-BC20-E66FC6253BAD}"/>
            </c:ext>
          </c:extLst>
        </c:ser>
        <c:ser>
          <c:idx val="7"/>
          <c:order val="7"/>
          <c:tx>
            <c:strRef>
              <c:f>Sheet1!$B$17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0:$A$181</c:f>
              <c:numCache>
                <c:formatCode>General</c:formatCode>
                <c:ptCount val="2"/>
                <c:pt idx="0">
                  <c:v>0.32888493428125432</c:v>
                </c:pt>
                <c:pt idx="1">
                  <c:v>0.32888493428125432</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4:$A$238</c:f>
              <c:numCache>
                <c:formatCode>General</c:formatCode>
                <c:ptCount val="55"/>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pt idx="52">
                  <c:v>0.28987004975079905</c:v>
                </c:pt>
                <c:pt idx="53">
                  <c:v>0.27575744047645689</c:v>
                </c:pt>
                <c:pt idx="54">
                  <c:v>0.32888493428125432</c:v>
                </c:pt>
              </c:numCache>
            </c:numRef>
          </c:xVal>
          <c:yVal>
            <c:numRef>
              <c:f>Sheet1!$B$184:$B$238</c:f>
              <c:numCache>
                <c:formatCode>General</c:formatCode>
                <c:ptCount val="55"/>
                <c:pt idx="0">
                  <c:v>2.9413873016704839E-2</c:v>
                </c:pt>
                <c:pt idx="1">
                  <c:v>2.9896344890080709E-2</c:v>
                </c:pt>
                <c:pt idx="2">
                  <c:v>3.0155656486461964E-2</c:v>
                </c:pt>
                <c:pt idx="3">
                  <c:v>2.7109900331363727E-2</c:v>
                </c:pt>
                <c:pt idx="4">
                  <c:v>2.4371775225560388E-2</c:v>
                </c:pt>
                <c:pt idx="5">
                  <c:v>2.4094268404047922E-2</c:v>
                </c:pt>
                <c:pt idx="6">
                  <c:v>2.4322183284519114E-2</c:v>
                </c:pt>
                <c:pt idx="7">
                  <c:v>2.5263903460272262E-2</c:v>
                </c:pt>
                <c:pt idx="8">
                  <c:v>2.7533717749061021E-2</c:v>
                </c:pt>
                <c:pt idx="9">
                  <c:v>2.9136059572005948E-2</c:v>
                </c:pt>
                <c:pt idx="10">
                  <c:v>2.8439725189245424E-2</c:v>
                </c:pt>
                <c:pt idx="11">
                  <c:v>2.8481575446516888E-2</c:v>
                </c:pt>
                <c:pt idx="12">
                  <c:v>3.0108594349578348E-2</c:v>
                </c:pt>
                <c:pt idx="13">
                  <c:v>3.169054387055209E-2</c:v>
                </c:pt>
                <c:pt idx="14">
                  <c:v>3.1465934595702259E-2</c:v>
                </c:pt>
                <c:pt idx="15">
                  <c:v>3.1477667841337743E-2</c:v>
                </c:pt>
                <c:pt idx="16">
                  <c:v>3.1573121681829512E-2</c:v>
                </c:pt>
                <c:pt idx="17">
                  <c:v>3.1532924296196564E-2</c:v>
                </c:pt>
                <c:pt idx="18">
                  <c:v>3.0515660900336583E-2</c:v>
                </c:pt>
                <c:pt idx="19">
                  <c:v>3.0211789143868836E-2</c:v>
                </c:pt>
                <c:pt idx="20">
                  <c:v>2.8955614795748236E-2</c:v>
                </c:pt>
                <c:pt idx="21">
                  <c:v>3.2772131418724967E-2</c:v>
                </c:pt>
                <c:pt idx="22">
                  <c:v>3.3542665870490845E-2</c:v>
                </c:pt>
                <c:pt idx="23">
                  <c:v>3.3435184307609174E-2</c:v>
                </c:pt>
                <c:pt idx="24">
                  <c:v>3.268271460365052E-2</c:v>
                </c:pt>
                <c:pt idx="25">
                  <c:v>3.3870059534782497E-2</c:v>
                </c:pt>
                <c:pt idx="26">
                  <c:v>3.3073079926514877E-2</c:v>
                </c:pt>
                <c:pt idx="27">
                  <c:v>3.1808643842456727E-2</c:v>
                </c:pt>
                <c:pt idx="28">
                  <c:v>3.0502176751221188E-2</c:v>
                </c:pt>
                <c:pt idx="29">
                  <c:v>2.7906678470255915E-2</c:v>
                </c:pt>
                <c:pt idx="30">
                  <c:v>2.5033266393526828E-2</c:v>
                </c:pt>
                <c:pt idx="31">
                  <c:v>2.630903103630991E-2</c:v>
                </c:pt>
                <c:pt idx="32">
                  <c:v>2.8693045313762239E-2</c:v>
                </c:pt>
                <c:pt idx="33">
                  <c:v>3.2596808075387743E-2</c:v>
                </c:pt>
                <c:pt idx="34">
                  <c:v>3.3462836223474769E-2</c:v>
                </c:pt>
                <c:pt idx="35">
                  <c:v>3.1780988069129081E-2</c:v>
                </c:pt>
                <c:pt idx="36">
                  <c:v>3.2997078119396075E-2</c:v>
                </c:pt>
                <c:pt idx="37">
                  <c:v>3.4241810296995578E-2</c:v>
                </c:pt>
                <c:pt idx="38">
                  <c:v>3.5259393566231922E-2</c:v>
                </c:pt>
                <c:pt idx="39">
                  <c:v>3.2524924643797831E-2</c:v>
                </c:pt>
                <c:pt idx="40">
                  <c:v>2.8308242375685959E-2</c:v>
                </c:pt>
                <c:pt idx="41">
                  <c:v>2.54404048951909E-2</c:v>
                </c:pt>
                <c:pt idx="42">
                  <c:v>2.3287513921568817E-2</c:v>
                </c:pt>
                <c:pt idx="43">
                  <c:v>2.3365554652546534E-2</c:v>
                </c:pt>
                <c:pt idx="44">
                  <c:v>2.3054756675168077E-2</c:v>
                </c:pt>
                <c:pt idx="45">
                  <c:v>2.3566114628330095E-2</c:v>
                </c:pt>
                <c:pt idx="46">
                  <c:v>2.5888630394799238E-2</c:v>
                </c:pt>
                <c:pt idx="47">
                  <c:v>2.6265547596405793E-2</c:v>
                </c:pt>
                <c:pt idx="48">
                  <c:v>2.7412822111043234E-2</c:v>
                </c:pt>
                <c:pt idx="49">
                  <c:v>2.5962622488181153E-2</c:v>
                </c:pt>
                <c:pt idx="50">
                  <c:v>2.4525712064247307E-2</c:v>
                </c:pt>
                <c:pt idx="51">
                  <c:v>2.4473274634488791E-2</c:v>
                </c:pt>
                <c:pt idx="52">
                  <c:v>3.1101577984060602E-2</c:v>
                </c:pt>
                <c:pt idx="53">
                  <c:v>3.3390590546211449E-2</c:v>
                </c:pt>
                <c:pt idx="54">
                  <c:v>2.4773509299877497E-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40737801608579088"/>
          <c:min val="0.18705920295984374"/>
        </c:scaling>
        <c:delete val="0"/>
        <c:axPos val="b"/>
        <c:title>
          <c:tx>
            <c:rich>
              <a:bodyPr rot="0" spcFirstLastPara="1" vertOverflow="ellipsis" vert="horz" wrap="square" anchor="ctr" anchorCtr="1"/>
              <a:lstStyle/>
              <a:p>
                <a:pPr>
                  <a:defRPr sz="800" b="0">
                    <a:latin typeface="Nexa Bold"/>
                  </a:defRPr>
                </a:pPr>
                <a:r>
                  <a:rPr lang="en-US"/>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3084051742229012</c:v>
                </c:pt>
                <c:pt idx="1">
                  <c:v>0.31591786351078627</c:v>
                </c:pt>
                <c:pt idx="2">
                  <c:v>0.32058023334902946</c:v>
                </c:pt>
                <c:pt idx="3">
                  <c:v>0.31551466024025998</c:v>
                </c:pt>
                <c:pt idx="4">
                  <c:v>0.31248983133575575</c:v>
                </c:pt>
                <c:pt idx="5">
                  <c:v>0.31209899175068745</c:v>
                </c:pt>
                <c:pt idx="6">
                  <c:v>0.31243915630070307</c:v>
                </c:pt>
                <c:pt idx="7">
                  <c:v>0.3133619793471481</c:v>
                </c:pt>
                <c:pt idx="8">
                  <c:v>0.31671907756813417</c:v>
                </c:pt>
                <c:pt idx="9">
                  <c:v>0.31082322826247477</c:v>
                </c:pt>
                <c:pt idx="10">
                  <c:v>0.31047212859141043</c:v>
                </c:pt>
                <c:pt idx="11">
                  <c:v>0.30851195946449417</c:v>
                </c:pt>
                <c:pt idx="12">
                  <c:v>0.30743476600274672</c:v>
                </c:pt>
                <c:pt idx="13">
                  <c:v>0.30557876018361524</c:v>
                </c:pt>
                <c:pt idx="14">
                  <c:v>0.30608180521683359</c:v>
                </c:pt>
                <c:pt idx="15">
                  <c:v>0.30537959003209308</c:v>
                </c:pt>
                <c:pt idx="16">
                  <c:v>0.30479028449342177</c:v>
                </c:pt>
                <c:pt idx="17">
                  <c:v>0.30535697989231286</c:v>
                </c:pt>
                <c:pt idx="18">
                  <c:v>0.30758733419811496</c:v>
                </c:pt>
                <c:pt idx="19">
                  <c:v>0.30384356418742708</c:v>
                </c:pt>
                <c:pt idx="20">
                  <c:v>0.30255871389344829</c:v>
                </c:pt>
                <c:pt idx="21">
                  <c:v>0.30131492720175512</c:v>
                </c:pt>
                <c:pt idx="22">
                  <c:v>0.30402402402402401</c:v>
                </c:pt>
                <c:pt idx="23">
                  <c:v>0.3041818228723267</c:v>
                </c:pt>
                <c:pt idx="24">
                  <c:v>0.30380595989557657</c:v>
                </c:pt>
                <c:pt idx="25">
                  <c:v>0.30266464709715091</c:v>
                </c:pt>
                <c:pt idx="26">
                  <c:v>0.30198090992432275</c:v>
                </c:pt>
                <c:pt idx="27">
                  <c:v>0.30261018186645428</c:v>
                </c:pt>
                <c:pt idx="28">
                  <c:v>0.30379475941413642</c:v>
                </c:pt>
                <c:pt idx="29">
                  <c:v>0.30510575091808745</c:v>
                </c:pt>
                <c:pt idx="30">
                  <c:v>0.30547263681592041</c:v>
                </c:pt>
                <c:pt idx="31">
                  <c:v>0.30191808942530629</c:v>
                </c:pt>
                <c:pt idx="32">
                  <c:v>0.30004016835781272</c:v>
                </c:pt>
                <c:pt idx="33">
                  <c:v>0.30140260803244229</c:v>
                </c:pt>
                <c:pt idx="34">
                  <c:v>0.30315931183998879</c:v>
                </c:pt>
                <c:pt idx="35">
                  <c:v>0.30423707530585153</c:v>
                </c:pt>
                <c:pt idx="36">
                  <c:v>0.30339368848493503</c:v>
                </c:pt>
                <c:pt idx="37">
                  <c:v>0.30312142377964563</c:v>
                </c:pt>
                <c:pt idx="38">
                  <c:v>0.30421477922015827</c:v>
                </c:pt>
                <c:pt idx="39">
                  <c:v>0.30360700245050509</c:v>
                </c:pt>
                <c:pt idx="40">
                  <c:v>0.30482776067799466</c:v>
                </c:pt>
                <c:pt idx="41">
                  <c:v>0.30496561046396053</c:v>
                </c:pt>
                <c:pt idx="42">
                  <c:v>0.30474260101509459</c:v>
                </c:pt>
                <c:pt idx="43">
                  <c:v>0.30487658997567685</c:v>
                </c:pt>
                <c:pt idx="44">
                  <c:v>0.30417377406912238</c:v>
                </c:pt>
                <c:pt idx="45">
                  <c:v>0.30429474182711519</c:v>
                </c:pt>
                <c:pt idx="46">
                  <c:v>0.30416987037597953</c:v>
                </c:pt>
                <c:pt idx="47">
                  <c:v>0.30177142857142858</c:v>
                </c:pt>
                <c:pt idx="48">
                  <c:v>0.30034428178139644</c:v>
                </c:pt>
                <c:pt idx="49">
                  <c:v>0.30020553910468561</c:v>
                </c:pt>
                <c:pt idx="50">
                  <c:v>0.30020393921120919</c:v>
                </c:pt>
                <c:pt idx="51">
                  <c:v>0.30029572161037082</c:v>
                </c:pt>
                <c:pt idx="52">
                  <c:v>0.30085731375024921</c:v>
                </c:pt>
                <c:pt idx="53">
                  <c:v>0.30374794069192751</c:v>
                </c:pt>
                <c:pt idx="54">
                  <c:v>0.30475569923731716</c:v>
                </c:pt>
                <c:pt idx="55">
                  <c:v>0.30484411191281596</c:v>
                </c:pt>
                <c:pt idx="56">
                  <c:v>0.29666067320451317</c:v>
                </c:pt>
                <c:pt idx="57">
                  <c:v>0.25400835544515327</c:v>
                </c:pt>
                <c:pt idx="58">
                  <c:v>0.23382400369980466</c:v>
                </c:pt>
                <c:pt idx="59">
                  <c:v>0.23943026116791946</c:v>
                </c:pt>
                <c:pt idx="60">
                  <c:v>0.25369491863085675</c:v>
                </c:pt>
                <c:pt idx="61">
                  <c:v>0.26335839430757868</c:v>
                </c:pt>
                <c:pt idx="62">
                  <c:v>0.24811366501794199</c:v>
                </c:pt>
                <c:pt idx="63">
                  <c:v>0.25331883600138116</c:v>
                </c:pt>
                <c:pt idx="64">
                  <c:v>0.27606841827999473</c:v>
                </c:pt>
                <c:pt idx="65">
                  <c:v>0.28160478817918266</c:v>
                </c:pt>
                <c:pt idx="66">
                  <c:v>0.29229782021117312</c:v>
                </c:pt>
                <c:pt idx="67">
                  <c:v>0.30127414335954045</c:v>
                </c:pt>
                <c:pt idx="68">
                  <c:v>0.30305886879569066</c:v>
                </c:pt>
                <c:pt idx="69">
                  <c:v>0.30492991022208221</c:v>
                </c:pt>
                <c:pt idx="70">
                  <c:v>0.30628978911194849</c:v>
                </c:pt>
                <c:pt idx="71">
                  <c:v>0.30507690665654685</c:v>
                </c:pt>
                <c:pt idx="72">
                  <c:v>0.30607670596048481</c:v>
                </c:pt>
                <c:pt idx="73">
                  <c:v>0.3116373241246056</c:v>
                </c:pt>
                <c:pt idx="74">
                  <c:v>0.31424842998124136</c:v>
                </c:pt>
                <c:pt idx="75">
                  <c:v>0.31320176754871626</c:v>
                </c:pt>
                <c:pt idx="76">
                  <c:v>0.31380953870863448</c:v>
                </c:pt>
                <c:pt idx="77">
                  <c:v>0.32590348409435188</c:v>
                </c:pt>
                <c:pt idx="78">
                  <c:v>0.33061711871301291</c:v>
                </c:pt>
                <c:pt idx="79">
                  <c:v>0.33376024237416513</c:v>
                </c:pt>
                <c:pt idx="80">
                  <c:v>0.334863282523373</c:v>
                </c:pt>
                <c:pt idx="81">
                  <c:v>0.33732775797715603</c:v>
                </c:pt>
                <c:pt idx="82">
                  <c:v>0.3340239432262419</c:v>
                </c:pt>
                <c:pt idx="83">
                  <c:v>0.32813911724353323</c:v>
                </c:pt>
                <c:pt idx="84">
                  <c:v>0.32451377453380215</c:v>
                </c:pt>
                <c:pt idx="85">
                  <c:v>0.3242920313313794</c:v>
                </c:pt>
                <c:pt idx="86">
                  <c:v>0.32834757834757833</c:v>
                </c:pt>
                <c:pt idx="87">
                  <c:v>0.33024565689467972</c:v>
                </c:pt>
                <c:pt idx="88">
                  <c:v>0.33047076978575868</c:v>
                </c:pt>
                <c:pt idx="89">
                  <c:v>0.32960364974033468</c:v>
                </c:pt>
                <c:pt idx="90">
                  <c:v>0.32877782475231143</c:v>
                </c:pt>
                <c:pt idx="91">
                  <c:v>0.33265505668454848</c:v>
                </c:pt>
                <c:pt idx="92">
                  <c:v>0.33383080669232584</c:v>
                </c:pt>
                <c:pt idx="93">
                  <c:v>0.33445095599479496</c:v>
                </c:pt>
                <c:pt idx="94">
                  <c:v>0.33425385899470356</c:v>
                </c:pt>
                <c:pt idx="95">
                  <c:v>0.33302358553829059</c:v>
                </c:pt>
                <c:pt idx="96">
                  <c:v>0.3331230702831911</c:v>
                </c:pt>
                <c:pt idx="97">
                  <c:v>0.33248279672509923</c:v>
                </c:pt>
                <c:pt idx="98">
                  <c:v>0.33184443040565192</c:v>
                </c:pt>
                <c:pt idx="99">
                  <c:v>0.31234357273380736</c:v>
                </c:pt>
                <c:pt idx="100">
                  <c:v>0.30123106937136429</c:v>
                </c:pt>
                <c:pt idx="101">
                  <c:v>0.30056872662328632</c:v>
                </c:pt>
              </c:numCache>
            </c:numRef>
          </c:xVal>
          <c:yVal>
            <c:numRef>
              <c:f>Sheet1!$B$2:$B$103</c:f>
              <c:numCache>
                <c:formatCode>General</c:formatCode>
                <c:ptCount val="102"/>
                <c:pt idx="0">
                  <c:v>3.1549194168607006E-2</c:v>
                </c:pt>
                <c:pt idx="1">
                  <c:v>2.5925076493376501E-2</c:v>
                </c:pt>
                <c:pt idx="2">
                  <c:v>1.9457371147598559E-2</c:v>
                </c:pt>
                <c:pt idx="3">
                  <c:v>2.1005226955186754E-2</c:v>
                </c:pt>
                <c:pt idx="4">
                  <c:v>2.3683174888924508E-2</c:v>
                </c:pt>
                <c:pt idx="5">
                  <c:v>2.4814911692122233E-2</c:v>
                </c:pt>
                <c:pt idx="6">
                  <c:v>2.2966901329024649E-2</c:v>
                </c:pt>
                <c:pt idx="7">
                  <c:v>2.1693356757167159E-2</c:v>
                </c:pt>
                <c:pt idx="8">
                  <c:v>2.508474647577718E-2</c:v>
                </c:pt>
                <c:pt idx="9">
                  <c:v>3.2219360006132694E-2</c:v>
                </c:pt>
                <c:pt idx="10">
                  <c:v>3.3455366889535383E-2</c:v>
                </c:pt>
                <c:pt idx="11">
                  <c:v>3.0774205038558523E-2</c:v>
                </c:pt>
                <c:pt idx="12">
                  <c:v>3.166311843777065E-2</c:v>
                </c:pt>
                <c:pt idx="13">
                  <c:v>2.9573633835338665E-2</c:v>
                </c:pt>
                <c:pt idx="14">
                  <c:v>2.9438294749618857E-2</c:v>
                </c:pt>
                <c:pt idx="15">
                  <c:v>3.2326555355538883E-2</c:v>
                </c:pt>
                <c:pt idx="16">
                  <c:v>3.0454183212358377E-2</c:v>
                </c:pt>
                <c:pt idx="17">
                  <c:v>3.0177244147381318E-2</c:v>
                </c:pt>
                <c:pt idx="18">
                  <c:v>3.0949579617420526E-2</c:v>
                </c:pt>
                <c:pt idx="19">
                  <c:v>3.3044676701229417E-2</c:v>
                </c:pt>
                <c:pt idx="20">
                  <c:v>3.4502368865567047E-2</c:v>
                </c:pt>
                <c:pt idx="21">
                  <c:v>3.8171203781773647E-2</c:v>
                </c:pt>
                <c:pt idx="22">
                  <c:v>3.2633840746857157E-2</c:v>
                </c:pt>
                <c:pt idx="23">
                  <c:v>3.22851825867847E-2</c:v>
                </c:pt>
                <c:pt idx="24">
                  <c:v>3.4293774474369265E-2</c:v>
                </c:pt>
                <c:pt idx="25">
                  <c:v>3.3493331489235549E-2</c:v>
                </c:pt>
                <c:pt idx="26">
                  <c:v>3.2256296982208908E-2</c:v>
                </c:pt>
                <c:pt idx="27">
                  <c:v>3.256327154323236E-2</c:v>
                </c:pt>
                <c:pt idx="28">
                  <c:v>3.0215972855570965E-2</c:v>
                </c:pt>
                <c:pt idx="29">
                  <c:v>2.971323515475446E-2</c:v>
                </c:pt>
                <c:pt idx="30">
                  <c:v>2.9886044202056927E-2</c:v>
                </c:pt>
                <c:pt idx="31">
                  <c:v>3.0113049153545669E-2</c:v>
                </c:pt>
                <c:pt idx="32">
                  <c:v>3.0121682992946059E-2</c:v>
                </c:pt>
                <c:pt idx="33">
                  <c:v>2.8704102443482309E-2</c:v>
                </c:pt>
                <c:pt idx="34">
                  <c:v>3.0602403901330309E-2</c:v>
                </c:pt>
                <c:pt idx="35">
                  <c:v>3.1456536502498786E-2</c:v>
                </c:pt>
                <c:pt idx="36">
                  <c:v>3.1516667937295108E-2</c:v>
                </c:pt>
                <c:pt idx="37">
                  <c:v>3.3226585884057164E-2</c:v>
                </c:pt>
                <c:pt idx="38">
                  <c:v>3.3016326225624587E-2</c:v>
                </c:pt>
                <c:pt idx="39">
                  <c:v>3.0075909553288729E-2</c:v>
                </c:pt>
                <c:pt idx="40">
                  <c:v>3.0308227143147046E-2</c:v>
                </c:pt>
                <c:pt idx="41">
                  <c:v>3.1273537834975489E-2</c:v>
                </c:pt>
                <c:pt idx="42">
                  <c:v>3.0059016900147784E-2</c:v>
                </c:pt>
                <c:pt idx="43">
                  <c:v>3.0573863083611635E-2</c:v>
                </c:pt>
                <c:pt idx="44">
                  <c:v>3.254448153409624E-2</c:v>
                </c:pt>
                <c:pt idx="45">
                  <c:v>3.2420025270644671E-2</c:v>
                </c:pt>
                <c:pt idx="46">
                  <c:v>3.0841270586476857E-2</c:v>
                </c:pt>
                <c:pt idx="47">
                  <c:v>3.4545476528939606E-2</c:v>
                </c:pt>
                <c:pt idx="48">
                  <c:v>3.9378011399146942E-2</c:v>
                </c:pt>
                <c:pt idx="49">
                  <c:v>3.4585845792310457E-2</c:v>
                </c:pt>
                <c:pt idx="50">
                  <c:v>3.6889295123608744E-2</c:v>
                </c:pt>
                <c:pt idx="51">
                  <c:v>3.516974061970235E-2</c:v>
                </c:pt>
                <c:pt idx="52">
                  <c:v>3.3440411726256954E-2</c:v>
                </c:pt>
                <c:pt idx="53">
                  <c:v>3.0775515895011849E-2</c:v>
                </c:pt>
                <c:pt idx="54">
                  <c:v>2.856172806220978E-2</c:v>
                </c:pt>
                <c:pt idx="55">
                  <c:v>2.9260191711765828E-2</c:v>
                </c:pt>
                <c:pt idx="56">
                  <c:v>3.1178692703543048E-2</c:v>
                </c:pt>
                <c:pt idx="57">
                  <c:v>3.7031471681131703E-2</c:v>
                </c:pt>
                <c:pt idx="58">
                  <c:v>3.9909501581123753E-2</c:v>
                </c:pt>
                <c:pt idx="59">
                  <c:v>3.3090443177845791E-2</c:v>
                </c:pt>
                <c:pt idx="60">
                  <c:v>2.0429936026239697E-2</c:v>
                </c:pt>
                <c:pt idx="61">
                  <c:v>1.5942339180034886E-2</c:v>
                </c:pt>
                <c:pt idx="62">
                  <c:v>2.6561543645322632E-2</c:v>
                </c:pt>
                <c:pt idx="63">
                  <c:v>3.5068893654044385E-2</c:v>
                </c:pt>
                <c:pt idx="64">
                  <c:v>3.0967228847484717E-2</c:v>
                </c:pt>
                <c:pt idx="65">
                  <c:v>2.6027056162994167E-2</c:v>
                </c:pt>
                <c:pt idx="66">
                  <c:v>2.5871503741223587E-2</c:v>
                </c:pt>
                <c:pt idx="67">
                  <c:v>2.691260699372984E-2</c:v>
                </c:pt>
                <c:pt idx="68">
                  <c:v>2.5874418970458959E-2</c:v>
                </c:pt>
                <c:pt idx="69">
                  <c:v>2.3193315376484971E-2</c:v>
                </c:pt>
                <c:pt idx="70">
                  <c:v>2.2686657383630057E-2</c:v>
                </c:pt>
                <c:pt idx="71">
                  <c:v>2.6189284143623485E-2</c:v>
                </c:pt>
                <c:pt idx="72">
                  <c:v>2.7336338114147821E-2</c:v>
                </c:pt>
                <c:pt idx="73">
                  <c:v>2.7740990571672709E-2</c:v>
                </c:pt>
                <c:pt idx="74">
                  <c:v>2.8775273119844166E-2</c:v>
                </c:pt>
                <c:pt idx="75">
                  <c:v>2.8510329318482425E-2</c:v>
                </c:pt>
                <c:pt idx="76">
                  <c:v>2.7909474603405617E-2</c:v>
                </c:pt>
                <c:pt idx="77">
                  <c:v>2.354699792786898E-2</c:v>
                </c:pt>
                <c:pt idx="78">
                  <c:v>2.3516397046911525E-2</c:v>
                </c:pt>
                <c:pt idx="79">
                  <c:v>2.2115174941799768E-2</c:v>
                </c:pt>
                <c:pt idx="80">
                  <c:v>2.2268202762568419E-2</c:v>
                </c:pt>
                <c:pt idx="81">
                  <c:v>2.1244426266941792E-2</c:v>
                </c:pt>
                <c:pt idx="82">
                  <c:v>3.1177386289303839E-2</c:v>
                </c:pt>
                <c:pt idx="83">
                  <c:v>2.6306476866990773E-2</c:v>
                </c:pt>
                <c:pt idx="84">
                  <c:v>2.5524833007679375E-2</c:v>
                </c:pt>
                <c:pt idx="85">
                  <c:v>2.6871534411513368E-2</c:v>
                </c:pt>
                <c:pt idx="86">
                  <c:v>2.6338851413823878E-2</c:v>
                </c:pt>
                <c:pt idx="87">
                  <c:v>2.4648701089615546E-2</c:v>
                </c:pt>
                <c:pt idx="88">
                  <c:v>2.6238033764437702E-2</c:v>
                </c:pt>
                <c:pt idx="89">
                  <c:v>3.0191859532939729E-2</c:v>
                </c:pt>
                <c:pt idx="90">
                  <c:v>3.0716851696320817E-2</c:v>
                </c:pt>
                <c:pt idx="91">
                  <c:v>3.1790352756617284E-2</c:v>
                </c:pt>
                <c:pt idx="92">
                  <c:v>2.9789485452214992E-2</c:v>
                </c:pt>
                <c:pt idx="93">
                  <c:v>2.7419432969366012E-2</c:v>
                </c:pt>
                <c:pt idx="94">
                  <c:v>2.5375304588112154E-2</c:v>
                </c:pt>
                <c:pt idx="95">
                  <c:v>2.7271435244645044E-2</c:v>
                </c:pt>
                <c:pt idx="96">
                  <c:v>2.4300725205733124E-2</c:v>
                </c:pt>
                <c:pt idx="97">
                  <c:v>2.5953063658202231E-2</c:v>
                </c:pt>
                <c:pt idx="98">
                  <c:v>2.870484051773789E-2</c:v>
                </c:pt>
                <c:pt idx="99">
                  <c:v>3.0161179689259059E-2</c:v>
                </c:pt>
                <c:pt idx="100">
                  <c:v>3.7558407981539428E-2</c:v>
                </c:pt>
                <c:pt idx="101">
                  <c:v>3.5796970668813106E-2</c:v>
                </c:pt>
              </c:numCache>
            </c:numRef>
          </c:yVal>
          <c:smooth val="0"/>
          <c:extLst>
            <c:ext xmlns:c16="http://schemas.microsoft.com/office/drawing/2014/chart" uri="{C3380CC4-5D6E-409C-BE32-E72D297353CC}">
              <c16:uniqueId val="{00000000-F32D-48B7-BC20-E66FC6253BAD}"/>
            </c:ext>
          </c:extLst>
        </c:ser>
        <c:ser>
          <c:idx val="1"/>
          <c:order val="1"/>
          <c:tx>
            <c:strRef>
              <c:f>Sheet1!$B$10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6:$A$157</c:f>
              <c:numCache>
                <c:formatCode>General</c:formatCode>
                <c:ptCount val="52"/>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numCache>
            </c:numRef>
          </c:xVal>
          <c:yVal>
            <c:numRef>
              <c:f>Sheet1!$B$106:$B$157</c:f>
              <c:numCache>
                <c:formatCode>General</c:formatCode>
                <c:ptCount val="52"/>
                <c:pt idx="0">
                  <c:v>3.3379430772150658E-2</c:v>
                </c:pt>
                <c:pt idx="1">
                  <c:v>3.5297770608354727E-2</c:v>
                </c:pt>
                <c:pt idx="2">
                  <c:v>3.603152077608085E-2</c:v>
                </c:pt>
                <c:pt idx="3">
                  <c:v>3.0978674639028675E-2</c:v>
                </c:pt>
                <c:pt idx="4">
                  <c:v>2.8133515753956471E-2</c:v>
                </c:pt>
                <c:pt idx="5">
                  <c:v>2.7512069607189618E-2</c:v>
                </c:pt>
                <c:pt idx="6">
                  <c:v>2.7535908601076187E-2</c:v>
                </c:pt>
                <c:pt idx="7">
                  <c:v>2.7306049137985969E-2</c:v>
                </c:pt>
                <c:pt idx="8">
                  <c:v>2.6838607545871734E-2</c:v>
                </c:pt>
                <c:pt idx="9">
                  <c:v>2.8577136215520643E-2</c:v>
                </c:pt>
                <c:pt idx="10">
                  <c:v>2.9045708307140341E-2</c:v>
                </c:pt>
                <c:pt idx="11">
                  <c:v>3.0151694267354034E-2</c:v>
                </c:pt>
                <c:pt idx="12">
                  <c:v>3.1278274774940926E-2</c:v>
                </c:pt>
                <c:pt idx="13">
                  <c:v>3.2623144271831599E-2</c:v>
                </c:pt>
                <c:pt idx="14">
                  <c:v>3.2081452766552027E-2</c:v>
                </c:pt>
                <c:pt idx="15">
                  <c:v>2.8476513020004538E-2</c:v>
                </c:pt>
                <c:pt idx="16">
                  <c:v>2.8897929262062423E-2</c:v>
                </c:pt>
                <c:pt idx="17">
                  <c:v>2.8572345272906727E-2</c:v>
                </c:pt>
                <c:pt idx="18">
                  <c:v>2.7582157287634194E-2</c:v>
                </c:pt>
                <c:pt idx="19">
                  <c:v>2.6684207925807661E-2</c:v>
                </c:pt>
                <c:pt idx="20">
                  <c:v>2.5074098168638374E-2</c:v>
                </c:pt>
                <c:pt idx="21">
                  <c:v>3.7053775555914395E-2</c:v>
                </c:pt>
                <c:pt idx="22">
                  <c:v>4.1201839145334811E-2</c:v>
                </c:pt>
                <c:pt idx="23">
                  <c:v>3.952108516249337E-2</c:v>
                </c:pt>
                <c:pt idx="24">
                  <c:v>3.301132678213544E-2</c:v>
                </c:pt>
                <c:pt idx="25">
                  <c:v>3.4672282379825628E-2</c:v>
                </c:pt>
                <c:pt idx="26">
                  <c:v>3.6478521099227869E-2</c:v>
                </c:pt>
                <c:pt idx="27">
                  <c:v>3.1719960612283417E-2</c:v>
                </c:pt>
                <c:pt idx="28">
                  <c:v>2.9844699099281863E-2</c:v>
                </c:pt>
                <c:pt idx="29">
                  <c:v>2.8247037929351546E-2</c:v>
                </c:pt>
                <c:pt idx="30">
                  <c:v>2.3926861689124793E-2</c:v>
                </c:pt>
                <c:pt idx="31">
                  <c:v>2.0770671408149036E-2</c:v>
                </c:pt>
                <c:pt idx="32">
                  <c:v>2.3460558709885785E-2</c:v>
                </c:pt>
                <c:pt idx="33">
                  <c:v>3.0427962862070307E-2</c:v>
                </c:pt>
                <c:pt idx="34">
                  <c:v>3.1037706913624008E-2</c:v>
                </c:pt>
                <c:pt idx="35">
                  <c:v>2.928997264422914E-2</c:v>
                </c:pt>
                <c:pt idx="36">
                  <c:v>2.9697936908540855E-2</c:v>
                </c:pt>
                <c:pt idx="37">
                  <c:v>3.0248130900335804E-2</c:v>
                </c:pt>
                <c:pt idx="38">
                  <c:v>3.5070387750061743E-2</c:v>
                </c:pt>
                <c:pt idx="39">
                  <c:v>3.1208337770205517E-2</c:v>
                </c:pt>
                <c:pt idx="40">
                  <c:v>2.6826790166755026E-2</c:v>
                </c:pt>
                <c:pt idx="41">
                  <c:v>2.4203784771293646E-2</c:v>
                </c:pt>
                <c:pt idx="42">
                  <c:v>2.4098053977022377E-2</c:v>
                </c:pt>
                <c:pt idx="43">
                  <c:v>2.4523754132153155E-2</c:v>
                </c:pt>
                <c:pt idx="44">
                  <c:v>2.2379504666963371E-2</c:v>
                </c:pt>
                <c:pt idx="45">
                  <c:v>2.104065524243157E-2</c:v>
                </c:pt>
                <c:pt idx="46">
                  <c:v>2.2028240128902143E-2</c:v>
                </c:pt>
                <c:pt idx="47">
                  <c:v>2.3321641522021073E-2</c:v>
                </c:pt>
                <c:pt idx="48">
                  <c:v>2.5721900660138006E-2</c:v>
                </c:pt>
                <c:pt idx="49">
                  <c:v>2.4967370312040958E-2</c:v>
                </c:pt>
                <c:pt idx="50">
                  <c:v>2.6033359791458374E-2</c:v>
                </c:pt>
                <c:pt idx="51">
                  <c:v>2.5702227757022279E-2</c:v>
                </c:pt>
              </c:numCache>
            </c:numRef>
          </c:yVal>
          <c:smooth val="0"/>
          <c:extLst>
            <c:ext xmlns:c16="http://schemas.microsoft.com/office/drawing/2014/chart" uri="{C3380CC4-5D6E-409C-BE32-E72D297353CC}">
              <c16:uniqueId val="{00000002-F32D-48B7-BC20-E66FC6253BAD}"/>
            </c:ext>
          </c:extLst>
        </c:ser>
        <c:ser>
          <c:idx val="2"/>
          <c:order val="2"/>
          <c:tx>
            <c:strRef>
              <c:f>Sheet1!$B$159</c:f>
              <c:strCache>
                <c:ptCount val="1"/>
                <c:pt idx="0">
                  <c:v>Custom Linep3yQ</c:v>
                </c:pt>
              </c:strCache>
            </c:strRef>
          </c:tx>
          <c:spPr>
            <a:ln w="19050" cap="rnd">
              <a:solidFill>
                <a:srgbClr val="C00000"/>
              </a:solidFill>
              <a:prstDash val="sysDot"/>
              <a:round/>
            </a:ln>
            <a:effectLst/>
          </c:spPr>
          <c:marker>
            <c:symbol val="none"/>
          </c:marker>
          <c:xVal>
            <c:numRef>
              <c:f>Sheet1!$A$160:$A$161</c:f>
              <c:numCache>
                <c:formatCode>General</c:formatCode>
                <c:ptCount val="2"/>
                <c:pt idx="0">
                  <c:v>0</c:v>
                </c:pt>
                <c:pt idx="1">
                  <c:v>0.27575744047645689</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3-F32D-48B7-BC20-E66FC6253BAD}"/>
            </c:ext>
          </c:extLst>
        </c:ser>
        <c:ser>
          <c:idx val="3"/>
          <c:order val="3"/>
          <c:tx>
            <c:strRef>
              <c:f>Sheet1!$B$16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0.27575744047645689</c:v>
                </c:pt>
                <c:pt idx="1">
                  <c:v>0.27575744047645689</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8:$A$169</c:f>
              <c:numCache>
                <c:formatCode>General</c:formatCode>
                <c:ptCount val="2"/>
                <c:pt idx="0">
                  <c:v>0</c:v>
                </c:pt>
                <c:pt idx="1">
                  <c:v>0.28987004975079905</c:v>
                </c:pt>
              </c:numCache>
            </c:numRef>
          </c:xVal>
          <c:yVal>
            <c:numRef>
              <c:f>Sheet1!$B$168:$B$169</c:f>
              <c:numCache>
                <c:formatCode>General</c:formatCode>
                <c:ptCount val="2"/>
                <c:pt idx="0">
                  <c:v>3.1101577984060606E-2</c:v>
                </c:pt>
                <c:pt idx="1">
                  <c:v>3.1101577984060606E-2</c:v>
                </c:pt>
              </c:numCache>
            </c:numRef>
          </c:yVal>
          <c:smooth val="0"/>
          <c:extLst>
            <c:ext xmlns:c16="http://schemas.microsoft.com/office/drawing/2014/chart" uri="{C3380CC4-5D6E-409C-BE32-E72D297353CC}">
              <c16:uniqueId val="{0000000A-F32D-48B7-BC20-E66FC6253BAD}"/>
            </c:ext>
          </c:extLst>
        </c:ser>
        <c:ser>
          <c:idx val="5"/>
          <c:order val="5"/>
          <c:tx>
            <c:strRef>
              <c:f>Sheet1!$B$17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0.28987004975079905</c:v>
                </c:pt>
                <c:pt idx="1">
                  <c:v>0.28987004975079905</c:v>
                </c:pt>
              </c:numCache>
            </c:numRef>
          </c:xVal>
          <c:yVal>
            <c:numRef>
              <c:f>Sheet1!$B$172:$B$173</c:f>
              <c:numCache>
                <c:formatCode>General</c:formatCode>
                <c:ptCount val="2"/>
                <c:pt idx="0">
                  <c:v>3.1101577984060606E-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6:$A$177</c:f>
              <c:numCache>
                <c:formatCode>General</c:formatCode>
                <c:ptCount val="2"/>
                <c:pt idx="0">
                  <c:v>0</c:v>
                </c:pt>
                <c:pt idx="1">
                  <c:v>0.32888493428125432</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1-F32D-48B7-BC20-E66FC6253BAD}"/>
            </c:ext>
          </c:extLst>
        </c:ser>
        <c:ser>
          <c:idx val="7"/>
          <c:order val="7"/>
          <c:tx>
            <c:strRef>
              <c:f>Sheet1!$B$17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0:$A$181</c:f>
              <c:numCache>
                <c:formatCode>General</c:formatCode>
                <c:ptCount val="2"/>
                <c:pt idx="0">
                  <c:v>0.32888493428125432</c:v>
                </c:pt>
                <c:pt idx="1">
                  <c:v>0.32888493428125432</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4:$A$238</c:f>
              <c:numCache>
                <c:formatCode>General</c:formatCode>
                <c:ptCount val="55"/>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pt idx="52">
                  <c:v>0.28987004975079905</c:v>
                </c:pt>
                <c:pt idx="53">
                  <c:v>0.27575744047645689</c:v>
                </c:pt>
                <c:pt idx="54">
                  <c:v>0.32888493428125432</c:v>
                </c:pt>
              </c:numCache>
            </c:numRef>
          </c:xVal>
          <c:yVal>
            <c:numRef>
              <c:f>Sheet1!$B$184:$B$238</c:f>
              <c:numCache>
                <c:formatCode>General</c:formatCode>
                <c:ptCount val="55"/>
                <c:pt idx="0">
                  <c:v>2.9413873016704839E-2</c:v>
                </c:pt>
                <c:pt idx="1">
                  <c:v>2.9896344890080709E-2</c:v>
                </c:pt>
                <c:pt idx="2">
                  <c:v>3.0155656486461964E-2</c:v>
                </c:pt>
                <c:pt idx="3">
                  <c:v>2.7109900331363727E-2</c:v>
                </c:pt>
                <c:pt idx="4">
                  <c:v>2.4371775225560388E-2</c:v>
                </c:pt>
                <c:pt idx="5">
                  <c:v>2.4094268404047922E-2</c:v>
                </c:pt>
                <c:pt idx="6">
                  <c:v>2.4322183284519114E-2</c:v>
                </c:pt>
                <c:pt idx="7">
                  <c:v>2.5263903460272262E-2</c:v>
                </c:pt>
                <c:pt idx="8">
                  <c:v>2.7533717749061021E-2</c:v>
                </c:pt>
                <c:pt idx="9">
                  <c:v>2.9136059572005948E-2</c:v>
                </c:pt>
                <c:pt idx="10">
                  <c:v>2.8439725189245424E-2</c:v>
                </c:pt>
                <c:pt idx="11">
                  <c:v>2.8481575446516888E-2</c:v>
                </c:pt>
                <c:pt idx="12">
                  <c:v>3.0108594349578348E-2</c:v>
                </c:pt>
                <c:pt idx="13">
                  <c:v>3.169054387055209E-2</c:v>
                </c:pt>
                <c:pt idx="14">
                  <c:v>3.1465934595702259E-2</c:v>
                </c:pt>
                <c:pt idx="15">
                  <c:v>3.1477667841337743E-2</c:v>
                </c:pt>
                <c:pt idx="16">
                  <c:v>3.1573121681829512E-2</c:v>
                </c:pt>
                <c:pt idx="17">
                  <c:v>3.1532924296196564E-2</c:v>
                </c:pt>
                <c:pt idx="18">
                  <c:v>3.0515660900336583E-2</c:v>
                </c:pt>
                <c:pt idx="19">
                  <c:v>3.0211789143868836E-2</c:v>
                </c:pt>
                <c:pt idx="20">
                  <c:v>2.8955614795748236E-2</c:v>
                </c:pt>
                <c:pt idx="21">
                  <c:v>3.2772131418724967E-2</c:v>
                </c:pt>
                <c:pt idx="22">
                  <c:v>3.3542665870490845E-2</c:v>
                </c:pt>
                <c:pt idx="23">
                  <c:v>3.3435184307609174E-2</c:v>
                </c:pt>
                <c:pt idx="24">
                  <c:v>3.268271460365052E-2</c:v>
                </c:pt>
                <c:pt idx="25">
                  <c:v>3.3870059534782497E-2</c:v>
                </c:pt>
                <c:pt idx="26">
                  <c:v>3.3073079926514877E-2</c:v>
                </c:pt>
                <c:pt idx="27">
                  <c:v>3.1808643842456727E-2</c:v>
                </c:pt>
                <c:pt idx="28">
                  <c:v>3.0502176751221188E-2</c:v>
                </c:pt>
                <c:pt idx="29">
                  <c:v>2.7906678470255915E-2</c:v>
                </c:pt>
                <c:pt idx="30">
                  <c:v>2.5033266393526828E-2</c:v>
                </c:pt>
                <c:pt idx="31">
                  <c:v>2.630903103630991E-2</c:v>
                </c:pt>
                <c:pt idx="32">
                  <c:v>2.8693045313762239E-2</c:v>
                </c:pt>
                <c:pt idx="33">
                  <c:v>3.2596808075387743E-2</c:v>
                </c:pt>
                <c:pt idx="34">
                  <c:v>3.3462836223474769E-2</c:v>
                </c:pt>
                <c:pt idx="35">
                  <c:v>3.1780988069129081E-2</c:v>
                </c:pt>
                <c:pt idx="36">
                  <c:v>3.2997078119396075E-2</c:v>
                </c:pt>
                <c:pt idx="37">
                  <c:v>3.4241810296995578E-2</c:v>
                </c:pt>
                <c:pt idx="38">
                  <c:v>3.5259393566231922E-2</c:v>
                </c:pt>
                <c:pt idx="39">
                  <c:v>3.2524924643797831E-2</c:v>
                </c:pt>
                <c:pt idx="40">
                  <c:v>2.8308242375685959E-2</c:v>
                </c:pt>
                <c:pt idx="41">
                  <c:v>2.54404048951909E-2</c:v>
                </c:pt>
                <c:pt idx="42">
                  <c:v>2.3287513921568817E-2</c:v>
                </c:pt>
                <c:pt idx="43">
                  <c:v>2.3365554652546534E-2</c:v>
                </c:pt>
                <c:pt idx="44">
                  <c:v>2.3054756675168077E-2</c:v>
                </c:pt>
                <c:pt idx="45">
                  <c:v>2.3566114628330095E-2</c:v>
                </c:pt>
                <c:pt idx="46">
                  <c:v>2.5888630394799238E-2</c:v>
                </c:pt>
                <c:pt idx="47">
                  <c:v>2.6265547596405793E-2</c:v>
                </c:pt>
                <c:pt idx="48">
                  <c:v>2.7412822111043234E-2</c:v>
                </c:pt>
                <c:pt idx="49">
                  <c:v>2.5962622488181153E-2</c:v>
                </c:pt>
                <c:pt idx="50">
                  <c:v>2.4525712064247307E-2</c:v>
                </c:pt>
                <c:pt idx="51">
                  <c:v>2.4473274634488791E-2</c:v>
                </c:pt>
                <c:pt idx="52">
                  <c:v>3.1101577984060602E-2</c:v>
                </c:pt>
                <c:pt idx="53">
                  <c:v>3.3390590546211449E-2</c:v>
                </c:pt>
                <c:pt idx="54">
                  <c:v>2.4773509299877497E-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40737801608579088"/>
          <c:min val="0.18705920295984374"/>
        </c:scaling>
        <c:delete val="0"/>
        <c:axPos val="b"/>
        <c:title>
          <c:tx>
            <c:rich>
              <a:bodyPr rot="0" spcFirstLastPara="1" vertOverflow="ellipsis" vert="horz" wrap="square" anchor="ctr" anchorCtr="1"/>
              <a:lstStyle/>
              <a:p>
                <a:pPr>
                  <a:defRPr sz="800" b="0">
                    <a:latin typeface="Nexa Bold"/>
                  </a:defRPr>
                </a:pPr>
                <a:r>
                  <a:rPr lang="en-US"/>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1291069944164441</c:v>
                </c:pt>
                <c:pt idx="1">
                  <c:v>0.13485892486555889</c:v>
                </c:pt>
                <c:pt idx="2">
                  <c:v>0.13361697278764331</c:v>
                </c:pt>
                <c:pt idx="3">
                  <c:v>0.13181455947245191</c:v>
                </c:pt>
                <c:pt idx="4">
                  <c:v>0.13079849733141291</c:v>
                </c:pt>
                <c:pt idx="5">
                  <c:v>0.12786527339341361</c:v>
                </c:pt>
                <c:pt idx="6">
                  <c:v>0.13389772495720559</c:v>
                </c:pt>
                <c:pt idx="7">
                  <c:v>0.1359519354250221</c:v>
                </c:pt>
                <c:pt idx="8">
                  <c:v>0.13408395448492219</c:v>
                </c:pt>
                <c:pt idx="9">
                  <c:v>0.1272173036352085</c:v>
                </c:pt>
                <c:pt idx="10">
                  <c:v>0.12580154817273331</c:v>
                </c:pt>
                <c:pt idx="11">
                  <c:v>0.1247833670603628</c:v>
                </c:pt>
                <c:pt idx="12">
                  <c:v>0.12616612542700109</c:v>
                </c:pt>
                <c:pt idx="13">
                  <c:v>0.13426073846412021</c:v>
                </c:pt>
                <c:pt idx="14">
                  <c:v>0.13040345544745011</c:v>
                </c:pt>
                <c:pt idx="15">
                  <c:v>0.12568196098787579</c:v>
                </c:pt>
                <c:pt idx="16">
                  <c:v>0.1284543866213313</c:v>
                </c:pt>
                <c:pt idx="17">
                  <c:v>0.13252000199740169</c:v>
                </c:pt>
                <c:pt idx="18">
                  <c:v>0.12612196270786419</c:v>
                </c:pt>
                <c:pt idx="19">
                  <c:v>0.13496886950214251</c:v>
                </c:pt>
                <c:pt idx="20">
                  <c:v>0.13064933940560819</c:v>
                </c:pt>
                <c:pt idx="21">
                  <c:v>0.12635635491031241</c:v>
                </c:pt>
                <c:pt idx="22">
                  <c:v>0.12863609693980929</c:v>
                </c:pt>
                <c:pt idx="23">
                  <c:v>0.13116494310893009</c:v>
                </c:pt>
                <c:pt idx="24">
                  <c:v>0.1278058186678292</c:v>
                </c:pt>
                <c:pt idx="25">
                  <c:v>0.1235932293079324</c:v>
                </c:pt>
                <c:pt idx="26">
                  <c:v>0.12290934252239009</c:v>
                </c:pt>
                <c:pt idx="27">
                  <c:v>0.12109503765009599</c:v>
                </c:pt>
                <c:pt idx="28">
                  <c:v>0.12207135397276341</c:v>
                </c:pt>
                <c:pt idx="29">
                  <c:v>0.1263122981136704</c:v>
                </c:pt>
                <c:pt idx="30">
                  <c:v>0.1263263635992006</c:v>
                </c:pt>
                <c:pt idx="31">
                  <c:v>0.12476889875077329</c:v>
                </c:pt>
                <c:pt idx="32">
                  <c:v>0.12674353123399981</c:v>
                </c:pt>
                <c:pt idx="33">
                  <c:v>0.12588695742723971</c:v>
                </c:pt>
                <c:pt idx="34">
                  <c:v>0.12390000002667199</c:v>
                </c:pt>
                <c:pt idx="35">
                  <c:v>0.12440850519118039</c:v>
                </c:pt>
                <c:pt idx="36">
                  <c:v>0.12336288941275771</c:v>
                </c:pt>
                <c:pt idx="37">
                  <c:v>0.1236579395008299</c:v>
                </c:pt>
                <c:pt idx="38">
                  <c:v>0.1244360084590832</c:v>
                </c:pt>
                <c:pt idx="39">
                  <c:v>0.12224083915887329</c:v>
                </c:pt>
                <c:pt idx="40">
                  <c:v>0.1219327444047168</c:v>
                </c:pt>
                <c:pt idx="41">
                  <c:v>0.1250560323566518</c:v>
                </c:pt>
                <c:pt idx="42">
                  <c:v>0.12745512740440279</c:v>
                </c:pt>
                <c:pt idx="43">
                  <c:v>0.1211984894858895</c:v>
                </c:pt>
                <c:pt idx="44">
                  <c:v>0.1258670226690102</c:v>
                </c:pt>
                <c:pt idx="45">
                  <c:v>0.1272339848348821</c:v>
                </c:pt>
                <c:pt idx="46">
                  <c:v>0.13490346412193621</c:v>
                </c:pt>
                <c:pt idx="47">
                  <c:v>0.1232399985423943</c:v>
                </c:pt>
                <c:pt idx="48">
                  <c:v>0.12311641114157899</c:v>
                </c:pt>
                <c:pt idx="49">
                  <c:v>0.1234350759255986</c:v>
                </c:pt>
                <c:pt idx="50">
                  <c:v>0.12419744604278141</c:v>
                </c:pt>
                <c:pt idx="51">
                  <c:v>0.13145508336915421</c:v>
                </c:pt>
                <c:pt idx="52">
                  <c:v>0.13109930113357529</c:v>
                </c:pt>
                <c:pt idx="53">
                  <c:v>0.13568928560863899</c:v>
                </c:pt>
                <c:pt idx="54">
                  <c:v>0.1285210371531505</c:v>
                </c:pt>
                <c:pt idx="55">
                  <c:v>0.1300753516373136</c:v>
                </c:pt>
                <c:pt idx="56">
                  <c:v>0.12489749950473671</c:v>
                </c:pt>
                <c:pt idx="57">
                  <c:v>0.10266521645136149</c:v>
                </c:pt>
                <c:pt idx="58">
                  <c:v>9.4621929093130358E-2</c:v>
                </c:pt>
                <c:pt idx="59">
                  <c:v>9.8212612965823731E-2</c:v>
                </c:pt>
                <c:pt idx="60">
                  <c:v>0.1102654339127445</c:v>
                </c:pt>
                <c:pt idx="61">
                  <c:v>0.1086326326560431</c:v>
                </c:pt>
                <c:pt idx="62">
                  <c:v>0.10273100071317991</c:v>
                </c:pt>
                <c:pt idx="63">
                  <c:v>0.1056131313298932</c:v>
                </c:pt>
                <c:pt idx="64">
                  <c:v>0.116037952360732</c:v>
                </c:pt>
                <c:pt idx="65">
                  <c:v>0.13065683342069531</c:v>
                </c:pt>
                <c:pt idx="66">
                  <c:v>0.132712182958446</c:v>
                </c:pt>
                <c:pt idx="67">
                  <c:v>0.12498087731066</c:v>
                </c:pt>
                <c:pt idx="68">
                  <c:v>0.1318623648264734</c:v>
                </c:pt>
                <c:pt idx="69">
                  <c:v>0.13405085209231629</c:v>
                </c:pt>
                <c:pt idx="70">
                  <c:v>0.12663942767242409</c:v>
                </c:pt>
                <c:pt idx="71">
                  <c:v>0.13715997078444109</c:v>
                </c:pt>
                <c:pt idx="72">
                  <c:v>0.1312699287114284</c:v>
                </c:pt>
                <c:pt idx="73">
                  <c:v>0.1290474255800157</c:v>
                </c:pt>
                <c:pt idx="74">
                  <c:v>0.12976627424972709</c:v>
                </c:pt>
                <c:pt idx="75">
                  <c:v>0.12686829869724861</c:v>
                </c:pt>
                <c:pt idx="76">
                  <c:v>0.1253623579280761</c:v>
                </c:pt>
                <c:pt idx="77">
                  <c:v>0.12968156222074531</c:v>
                </c:pt>
                <c:pt idx="78">
                  <c:v>0.12750329032649099</c:v>
                </c:pt>
                <c:pt idx="79">
                  <c:v>0.12461050546445129</c:v>
                </c:pt>
                <c:pt idx="80">
                  <c:v>0.12900335189603049</c:v>
                </c:pt>
                <c:pt idx="81">
                  <c:v>0.12741746962889991</c:v>
                </c:pt>
                <c:pt idx="82">
                  <c:v>0.1227246355993528</c:v>
                </c:pt>
                <c:pt idx="83">
                  <c:v>0.12325497363003669</c:v>
                </c:pt>
                <c:pt idx="84">
                  <c:v>0.1237777050026681</c:v>
                </c:pt>
                <c:pt idx="85">
                  <c:v>0.1227618684932686</c:v>
                </c:pt>
                <c:pt idx="86">
                  <c:v>0.12625273778634091</c:v>
                </c:pt>
                <c:pt idx="87">
                  <c:v>0.12848401925218161</c:v>
                </c:pt>
                <c:pt idx="88">
                  <c:v>0.12808991008793849</c:v>
                </c:pt>
                <c:pt idx="89">
                  <c:v>0.12669599383578639</c:v>
                </c:pt>
                <c:pt idx="90">
                  <c:v>0.128457244567205</c:v>
                </c:pt>
                <c:pt idx="91">
                  <c:v>0.1287495738807907</c:v>
                </c:pt>
                <c:pt idx="92">
                  <c:v>0.12753778198649329</c:v>
                </c:pt>
                <c:pt idx="93">
                  <c:v>0.12858384689357691</c:v>
                </c:pt>
                <c:pt idx="94">
                  <c:v>0.13053873342212541</c:v>
                </c:pt>
                <c:pt idx="95">
                  <c:v>0.1283681251237693</c:v>
                </c:pt>
                <c:pt idx="96">
                  <c:v>0.12712219330013799</c:v>
                </c:pt>
                <c:pt idx="97">
                  <c:v>0.12537888942730019</c:v>
                </c:pt>
                <c:pt idx="98">
                  <c:v>0.12745921704595151</c:v>
                </c:pt>
                <c:pt idx="99">
                  <c:v>0.1212266665697815</c:v>
                </c:pt>
                <c:pt idx="100">
                  <c:v>0.1141728668578047</c:v>
                </c:pt>
                <c:pt idx="101">
                  <c:v>0.115957494325048</c:v>
                </c:pt>
              </c:numCache>
            </c:numRef>
          </c:xVal>
          <c:yVal>
            <c:numRef>
              <c:f>Sheet1!$B$2:$B$103</c:f>
              <c:numCache>
                <c:formatCode>General</c:formatCode>
                <c:ptCount val="102"/>
                <c:pt idx="0">
                  <c:v>3.1549194168607013E-2</c:v>
                </c:pt>
                <c:pt idx="1">
                  <c:v>2.5925076493376501E-2</c:v>
                </c:pt>
                <c:pt idx="2">
                  <c:v>1.9457371147598559E-2</c:v>
                </c:pt>
                <c:pt idx="3">
                  <c:v>2.1005226955186751E-2</c:v>
                </c:pt>
                <c:pt idx="4">
                  <c:v>2.3683174888924512E-2</c:v>
                </c:pt>
                <c:pt idx="5">
                  <c:v>2.481491169212223E-2</c:v>
                </c:pt>
                <c:pt idx="6">
                  <c:v>2.2966901329024649E-2</c:v>
                </c:pt>
                <c:pt idx="7">
                  <c:v>2.1693356757167159E-2</c:v>
                </c:pt>
                <c:pt idx="8">
                  <c:v>2.508474647577718E-2</c:v>
                </c:pt>
                <c:pt idx="9">
                  <c:v>3.2219360006132687E-2</c:v>
                </c:pt>
                <c:pt idx="10">
                  <c:v>3.3455366889535383E-2</c:v>
                </c:pt>
                <c:pt idx="11">
                  <c:v>3.077420503855852E-2</c:v>
                </c:pt>
                <c:pt idx="12">
                  <c:v>3.166311843777065E-2</c:v>
                </c:pt>
                <c:pt idx="13">
                  <c:v>2.9573633835338661E-2</c:v>
                </c:pt>
                <c:pt idx="14">
                  <c:v>2.943829474961886E-2</c:v>
                </c:pt>
                <c:pt idx="15">
                  <c:v>3.2326555355538883E-2</c:v>
                </c:pt>
                <c:pt idx="16">
                  <c:v>3.045418321235838E-2</c:v>
                </c:pt>
                <c:pt idx="17">
                  <c:v>3.0177244147381321E-2</c:v>
                </c:pt>
                <c:pt idx="18">
                  <c:v>3.0949579617420529E-2</c:v>
                </c:pt>
                <c:pt idx="19">
                  <c:v>3.3044676701229417E-2</c:v>
                </c:pt>
                <c:pt idx="20">
                  <c:v>3.4502368865567047E-2</c:v>
                </c:pt>
                <c:pt idx="21">
                  <c:v>3.8171203781773647E-2</c:v>
                </c:pt>
                <c:pt idx="22">
                  <c:v>3.2633840746857157E-2</c:v>
                </c:pt>
                <c:pt idx="23">
                  <c:v>3.22851825867847E-2</c:v>
                </c:pt>
                <c:pt idx="24">
                  <c:v>3.4293774474369272E-2</c:v>
                </c:pt>
                <c:pt idx="25">
                  <c:v>3.3493331489235549E-2</c:v>
                </c:pt>
                <c:pt idx="26">
                  <c:v>3.2256296982208908E-2</c:v>
                </c:pt>
                <c:pt idx="27">
                  <c:v>3.256327154323236E-2</c:v>
                </c:pt>
                <c:pt idx="28">
                  <c:v>3.0215972855570969E-2</c:v>
                </c:pt>
                <c:pt idx="29">
                  <c:v>2.971323515475446E-2</c:v>
                </c:pt>
                <c:pt idx="30">
                  <c:v>2.9886044202056931E-2</c:v>
                </c:pt>
                <c:pt idx="31">
                  <c:v>3.0113049153545669E-2</c:v>
                </c:pt>
                <c:pt idx="32">
                  <c:v>3.0121682992946059E-2</c:v>
                </c:pt>
                <c:pt idx="33">
                  <c:v>2.8704102443482309E-2</c:v>
                </c:pt>
                <c:pt idx="34">
                  <c:v>3.0602403901330309E-2</c:v>
                </c:pt>
                <c:pt idx="35">
                  <c:v>3.1456536502498793E-2</c:v>
                </c:pt>
                <c:pt idx="36">
                  <c:v>3.1516667937295108E-2</c:v>
                </c:pt>
                <c:pt idx="37">
                  <c:v>3.3226585884057157E-2</c:v>
                </c:pt>
                <c:pt idx="38">
                  <c:v>3.3016326225624587E-2</c:v>
                </c:pt>
                <c:pt idx="39">
                  <c:v>3.0075909553288729E-2</c:v>
                </c:pt>
                <c:pt idx="40">
                  <c:v>3.030822714314705E-2</c:v>
                </c:pt>
                <c:pt idx="41">
                  <c:v>3.1273537834975489E-2</c:v>
                </c:pt>
                <c:pt idx="42">
                  <c:v>3.005901690014778E-2</c:v>
                </c:pt>
                <c:pt idx="43">
                  <c:v>3.0573863083611631E-2</c:v>
                </c:pt>
                <c:pt idx="44">
                  <c:v>3.254448153409624E-2</c:v>
                </c:pt>
                <c:pt idx="45">
                  <c:v>3.2420025270644671E-2</c:v>
                </c:pt>
                <c:pt idx="46">
                  <c:v>3.0841270586476861E-2</c:v>
                </c:pt>
                <c:pt idx="47">
                  <c:v>3.4545476528939613E-2</c:v>
                </c:pt>
                <c:pt idx="48">
                  <c:v>3.9378011399146942E-2</c:v>
                </c:pt>
                <c:pt idx="49">
                  <c:v>3.4585845792310457E-2</c:v>
                </c:pt>
                <c:pt idx="50">
                  <c:v>3.6889295123608737E-2</c:v>
                </c:pt>
                <c:pt idx="51">
                  <c:v>3.516974061970235E-2</c:v>
                </c:pt>
                <c:pt idx="52">
                  <c:v>3.3440411726256947E-2</c:v>
                </c:pt>
                <c:pt idx="53">
                  <c:v>3.0775515895011849E-2</c:v>
                </c:pt>
                <c:pt idx="54">
                  <c:v>2.856172806220978E-2</c:v>
                </c:pt>
                <c:pt idx="55">
                  <c:v>2.9260191711765832E-2</c:v>
                </c:pt>
                <c:pt idx="56">
                  <c:v>3.1178692703543051E-2</c:v>
                </c:pt>
                <c:pt idx="57">
                  <c:v>3.7031471681131703E-2</c:v>
                </c:pt>
                <c:pt idx="58">
                  <c:v>3.9909501581123753E-2</c:v>
                </c:pt>
                <c:pt idx="59">
                  <c:v>3.3090443177845791E-2</c:v>
                </c:pt>
                <c:pt idx="60">
                  <c:v>2.0429936026239701E-2</c:v>
                </c:pt>
                <c:pt idx="61">
                  <c:v>1.594233918003489E-2</c:v>
                </c:pt>
                <c:pt idx="62">
                  <c:v>2.6561543645322629E-2</c:v>
                </c:pt>
                <c:pt idx="63">
                  <c:v>3.5068893654044378E-2</c:v>
                </c:pt>
                <c:pt idx="64">
                  <c:v>3.0967228847484721E-2</c:v>
                </c:pt>
                <c:pt idx="65">
                  <c:v>2.602705616299417E-2</c:v>
                </c:pt>
                <c:pt idx="66">
                  <c:v>2.587150374122359E-2</c:v>
                </c:pt>
                <c:pt idx="67">
                  <c:v>2.691260699372984E-2</c:v>
                </c:pt>
                <c:pt idx="68">
                  <c:v>2.5874418970458959E-2</c:v>
                </c:pt>
                <c:pt idx="69">
                  <c:v>2.3193315376484971E-2</c:v>
                </c:pt>
                <c:pt idx="70">
                  <c:v>2.2686657383630061E-2</c:v>
                </c:pt>
                <c:pt idx="71">
                  <c:v>2.6189284143623481E-2</c:v>
                </c:pt>
                <c:pt idx="72">
                  <c:v>2.7336338114147821E-2</c:v>
                </c:pt>
                <c:pt idx="73">
                  <c:v>2.7740990571672709E-2</c:v>
                </c:pt>
                <c:pt idx="74">
                  <c:v>2.877527311984417E-2</c:v>
                </c:pt>
                <c:pt idx="75">
                  <c:v>2.8510329318482429E-2</c:v>
                </c:pt>
                <c:pt idx="76">
                  <c:v>2.7909474603405621E-2</c:v>
                </c:pt>
                <c:pt idx="77">
                  <c:v>2.354699792786898E-2</c:v>
                </c:pt>
                <c:pt idx="78">
                  <c:v>2.3516397046911521E-2</c:v>
                </c:pt>
                <c:pt idx="79">
                  <c:v>2.2115174941799771E-2</c:v>
                </c:pt>
                <c:pt idx="80">
                  <c:v>2.2268202762568419E-2</c:v>
                </c:pt>
                <c:pt idx="81">
                  <c:v>2.1244426266941788E-2</c:v>
                </c:pt>
                <c:pt idx="82">
                  <c:v>3.1177386289303839E-2</c:v>
                </c:pt>
                <c:pt idx="83">
                  <c:v>2.630647686699077E-2</c:v>
                </c:pt>
                <c:pt idx="84">
                  <c:v>2.5524833007679371E-2</c:v>
                </c:pt>
                <c:pt idx="85">
                  <c:v>2.6871534411513371E-2</c:v>
                </c:pt>
                <c:pt idx="86">
                  <c:v>2.6338851413823881E-2</c:v>
                </c:pt>
                <c:pt idx="87">
                  <c:v>2.464870108961555E-2</c:v>
                </c:pt>
                <c:pt idx="88">
                  <c:v>2.6238033764437702E-2</c:v>
                </c:pt>
                <c:pt idx="89">
                  <c:v>3.0191859532939729E-2</c:v>
                </c:pt>
                <c:pt idx="90">
                  <c:v>3.071685169632082E-2</c:v>
                </c:pt>
                <c:pt idx="91">
                  <c:v>3.1790352756617277E-2</c:v>
                </c:pt>
                <c:pt idx="92">
                  <c:v>2.9789485452214989E-2</c:v>
                </c:pt>
                <c:pt idx="93">
                  <c:v>2.7419432969366012E-2</c:v>
                </c:pt>
                <c:pt idx="94">
                  <c:v>2.5375304588112151E-2</c:v>
                </c:pt>
                <c:pt idx="95">
                  <c:v>2.727143524464504E-2</c:v>
                </c:pt>
                <c:pt idx="96">
                  <c:v>2.430072520573312E-2</c:v>
                </c:pt>
                <c:pt idx="97">
                  <c:v>2.5953063658202231E-2</c:v>
                </c:pt>
                <c:pt idx="98">
                  <c:v>2.870484051773789E-2</c:v>
                </c:pt>
                <c:pt idx="99">
                  <c:v>3.0161179689259059E-2</c:v>
                </c:pt>
                <c:pt idx="100">
                  <c:v>3.7558407981539428E-2</c:v>
                </c:pt>
                <c:pt idx="101">
                  <c:v>3.5796970668813113E-2</c:v>
                </c:pt>
              </c:numCache>
            </c:numRef>
          </c:yVal>
          <c:smooth val="0"/>
          <c:extLst>
            <c:ext xmlns:c16="http://schemas.microsoft.com/office/drawing/2014/chart" uri="{C3380CC4-5D6E-409C-BE32-E72D297353CC}">
              <c16:uniqueId val="{00000000-096C-4121-9522-6AB7243CCAAE}"/>
            </c:ext>
          </c:extLst>
        </c:ser>
        <c:ser>
          <c:idx val="1"/>
          <c:order val="1"/>
          <c:tx>
            <c:strRef>
              <c:f>Sheet1!$B$10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6:$A$157</c:f>
              <c:numCache>
                <c:formatCode>General</c:formatCode>
                <c:ptCount val="52"/>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numCache>
            </c:numRef>
          </c:xVal>
          <c:yVal>
            <c:numRef>
              <c:f>Sheet1!$B$106:$B$157</c:f>
              <c:numCache>
                <c:formatCode>General</c:formatCode>
                <c:ptCount val="52"/>
                <c:pt idx="0">
                  <c:v>3.3379430772150658E-2</c:v>
                </c:pt>
                <c:pt idx="1">
                  <c:v>3.5297770608354727E-2</c:v>
                </c:pt>
                <c:pt idx="2">
                  <c:v>3.603152077608085E-2</c:v>
                </c:pt>
                <c:pt idx="3">
                  <c:v>3.0978674639028671E-2</c:v>
                </c:pt>
                <c:pt idx="4">
                  <c:v>2.8133515753956471E-2</c:v>
                </c:pt>
                <c:pt idx="5">
                  <c:v>2.7512069607189622E-2</c:v>
                </c:pt>
                <c:pt idx="6">
                  <c:v>2.753590860107619E-2</c:v>
                </c:pt>
                <c:pt idx="7">
                  <c:v>2.7306049137985969E-2</c:v>
                </c:pt>
                <c:pt idx="8">
                  <c:v>2.683860754587173E-2</c:v>
                </c:pt>
                <c:pt idx="9">
                  <c:v>2.8577136215520639E-2</c:v>
                </c:pt>
                <c:pt idx="10">
                  <c:v>2.9045708307140341E-2</c:v>
                </c:pt>
                <c:pt idx="11">
                  <c:v>3.0151694267354031E-2</c:v>
                </c:pt>
                <c:pt idx="12">
                  <c:v>3.1278274774940933E-2</c:v>
                </c:pt>
                <c:pt idx="13">
                  <c:v>3.2623144271831599E-2</c:v>
                </c:pt>
                <c:pt idx="14">
                  <c:v>3.2081452766552027E-2</c:v>
                </c:pt>
                <c:pt idx="15">
                  <c:v>2.8476513020004542E-2</c:v>
                </c:pt>
                <c:pt idx="16">
                  <c:v>2.889792926206242E-2</c:v>
                </c:pt>
                <c:pt idx="17">
                  <c:v>2.8572345272906731E-2</c:v>
                </c:pt>
                <c:pt idx="18">
                  <c:v>2.758215728763419E-2</c:v>
                </c:pt>
                <c:pt idx="19">
                  <c:v>2.6684207925807661E-2</c:v>
                </c:pt>
                <c:pt idx="20">
                  <c:v>2.507409816863837E-2</c:v>
                </c:pt>
                <c:pt idx="21">
                  <c:v>3.7053775555914388E-2</c:v>
                </c:pt>
                <c:pt idx="22">
                  <c:v>4.1201839145334811E-2</c:v>
                </c:pt>
                <c:pt idx="23">
                  <c:v>3.952108516249337E-2</c:v>
                </c:pt>
                <c:pt idx="24">
                  <c:v>3.301132678213544E-2</c:v>
                </c:pt>
                <c:pt idx="25">
                  <c:v>3.4672282379825628E-2</c:v>
                </c:pt>
                <c:pt idx="26">
                  <c:v>3.6478521099227869E-2</c:v>
                </c:pt>
                <c:pt idx="27">
                  <c:v>3.1719960612283417E-2</c:v>
                </c:pt>
                <c:pt idx="28">
                  <c:v>2.9844699099281859E-2</c:v>
                </c:pt>
                <c:pt idx="29">
                  <c:v>2.824703792935155E-2</c:v>
                </c:pt>
                <c:pt idx="30">
                  <c:v>2.3926861689124789E-2</c:v>
                </c:pt>
                <c:pt idx="31">
                  <c:v>2.077067140814904E-2</c:v>
                </c:pt>
                <c:pt idx="32">
                  <c:v>2.3460558709885782E-2</c:v>
                </c:pt>
                <c:pt idx="33">
                  <c:v>3.042796286207031E-2</c:v>
                </c:pt>
                <c:pt idx="34">
                  <c:v>3.1037706913624011E-2</c:v>
                </c:pt>
                <c:pt idx="35">
                  <c:v>2.928997264422914E-2</c:v>
                </c:pt>
                <c:pt idx="36">
                  <c:v>2.9697936908540851E-2</c:v>
                </c:pt>
                <c:pt idx="37">
                  <c:v>3.0248130900335801E-2</c:v>
                </c:pt>
                <c:pt idx="38">
                  <c:v>3.5070387750061743E-2</c:v>
                </c:pt>
                <c:pt idx="39">
                  <c:v>3.120833777020552E-2</c:v>
                </c:pt>
                <c:pt idx="40">
                  <c:v>2.682679016675503E-2</c:v>
                </c:pt>
                <c:pt idx="41">
                  <c:v>2.4203784771293649E-2</c:v>
                </c:pt>
                <c:pt idx="42">
                  <c:v>2.4098053977022381E-2</c:v>
                </c:pt>
                <c:pt idx="43">
                  <c:v>2.4523754132153151E-2</c:v>
                </c:pt>
                <c:pt idx="44">
                  <c:v>2.2379504666963371E-2</c:v>
                </c:pt>
                <c:pt idx="45">
                  <c:v>2.104065524243157E-2</c:v>
                </c:pt>
                <c:pt idx="46">
                  <c:v>2.202824012890214E-2</c:v>
                </c:pt>
                <c:pt idx="47">
                  <c:v>2.3321641522021069E-2</c:v>
                </c:pt>
                <c:pt idx="48">
                  <c:v>2.5721900660138009E-2</c:v>
                </c:pt>
                <c:pt idx="49">
                  <c:v>2.4967370312040962E-2</c:v>
                </c:pt>
                <c:pt idx="50">
                  <c:v>2.603335979145837E-2</c:v>
                </c:pt>
                <c:pt idx="51">
                  <c:v>2.5702227757022279E-2</c:v>
                </c:pt>
              </c:numCache>
            </c:numRef>
          </c:yVal>
          <c:smooth val="0"/>
          <c:extLst>
            <c:ext xmlns:c16="http://schemas.microsoft.com/office/drawing/2014/chart" uri="{C3380CC4-5D6E-409C-BE32-E72D297353CC}">
              <c16:uniqueId val="{00000002-096C-4121-9522-6AB7243CCAAE}"/>
            </c:ext>
          </c:extLst>
        </c:ser>
        <c:ser>
          <c:idx val="2"/>
          <c:order val="2"/>
          <c:tx>
            <c:strRef>
              <c:f>Sheet1!$B$15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0:$A$161</c:f>
              <c:numCache>
                <c:formatCode>General</c:formatCode>
                <c:ptCount val="2"/>
                <c:pt idx="0">
                  <c:v>0</c:v>
                </c:pt>
                <c:pt idx="1">
                  <c:v>0.1108820277239114</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5-096C-4121-9522-6AB7243CCAAE}"/>
            </c:ext>
          </c:extLst>
        </c:ser>
        <c:ser>
          <c:idx val="3"/>
          <c:order val="3"/>
          <c:tx>
            <c:strRef>
              <c:f>Sheet1!$B$16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0.1108820277239114</c:v>
                </c:pt>
                <c:pt idx="1">
                  <c:v>0.1108820277239114</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8:$A$169</c:f>
              <c:numCache>
                <c:formatCode>General</c:formatCode>
                <c:ptCount val="2"/>
                <c:pt idx="0">
                  <c:v>0</c:v>
                </c:pt>
                <c:pt idx="1">
                  <c:v>0.11732114474802791</c:v>
                </c:pt>
              </c:numCache>
            </c:numRef>
          </c:xVal>
          <c:yVal>
            <c:numRef>
              <c:f>Sheet1!$B$168:$B$169</c:f>
              <c:numCache>
                <c:formatCode>General</c:formatCode>
                <c:ptCount val="2"/>
                <c:pt idx="0">
                  <c:v>3.1101577984060609E-2</c:v>
                </c:pt>
                <c:pt idx="1">
                  <c:v>3.1101577984060609E-2</c:v>
                </c:pt>
              </c:numCache>
            </c:numRef>
          </c:yVal>
          <c:smooth val="0"/>
          <c:extLst>
            <c:ext xmlns:c16="http://schemas.microsoft.com/office/drawing/2014/chart" uri="{C3380CC4-5D6E-409C-BE32-E72D297353CC}">
              <c16:uniqueId val="{0000000D-096C-4121-9522-6AB7243CCAAE}"/>
            </c:ext>
          </c:extLst>
        </c:ser>
        <c:ser>
          <c:idx val="5"/>
          <c:order val="5"/>
          <c:tx>
            <c:strRef>
              <c:f>Sheet1!$B$17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0.11732114474802791</c:v>
                </c:pt>
                <c:pt idx="1">
                  <c:v>0.11732114474802791</c:v>
                </c:pt>
              </c:numCache>
            </c:numRef>
          </c:xVal>
          <c:yVal>
            <c:numRef>
              <c:f>Sheet1!$B$172:$B$173</c:f>
              <c:numCache>
                <c:formatCode>General</c:formatCode>
                <c:ptCount val="2"/>
                <c:pt idx="0">
                  <c:v>3.1101577984060609E-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6:$A$177</c:f>
              <c:numCache>
                <c:formatCode>General</c:formatCode>
                <c:ptCount val="2"/>
                <c:pt idx="0">
                  <c:v>0</c:v>
                </c:pt>
                <c:pt idx="1">
                  <c:v>0.13512234665834599</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5-096C-4121-9522-6AB7243CCAAE}"/>
            </c:ext>
          </c:extLst>
        </c:ser>
        <c:ser>
          <c:idx val="7"/>
          <c:order val="7"/>
          <c:tx>
            <c:strRef>
              <c:f>Sheet1!$B$17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0:$A$181</c:f>
              <c:numCache>
                <c:formatCode>General</c:formatCode>
                <c:ptCount val="2"/>
                <c:pt idx="0">
                  <c:v>0.13512234665834599</c:v>
                </c:pt>
                <c:pt idx="1">
                  <c:v>0.13512234665834599</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4:$A$238</c:f>
              <c:numCache>
                <c:formatCode>General</c:formatCode>
                <c:ptCount val="55"/>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pt idx="52">
                  <c:v>0.11732114474802791</c:v>
                </c:pt>
                <c:pt idx="53">
                  <c:v>0.1108820277239114</c:v>
                </c:pt>
                <c:pt idx="54">
                  <c:v>0.13512234665834599</c:v>
                </c:pt>
              </c:numCache>
            </c:numRef>
          </c:xVal>
          <c:yVal>
            <c:numRef>
              <c:f>Sheet1!$B$184:$B$238</c:f>
              <c:numCache>
                <c:formatCode>General</c:formatCode>
                <c:ptCount val="55"/>
                <c:pt idx="0">
                  <c:v>3.1620668745252142E-2</c:v>
                </c:pt>
                <c:pt idx="1">
                  <c:v>3.1654790245678951E-2</c:v>
                </c:pt>
                <c:pt idx="2">
                  <c:v>3.2783325344754151E-2</c:v>
                </c:pt>
                <c:pt idx="3">
                  <c:v>3.022688607526958E-2</c:v>
                </c:pt>
                <c:pt idx="4">
                  <c:v>2.8540776744242852E-2</c:v>
                </c:pt>
                <c:pt idx="5">
                  <c:v>2.8198639317480349E-2</c:v>
                </c:pt>
                <c:pt idx="6">
                  <c:v>2.8149354774764782E-2</c:v>
                </c:pt>
                <c:pt idx="7">
                  <c:v>2.8199004366077019E-2</c:v>
                </c:pt>
                <c:pt idx="8">
                  <c:v>3.0157282303857849E-2</c:v>
                </c:pt>
                <c:pt idx="9">
                  <c:v>2.9717490317624731E-2</c:v>
                </c:pt>
                <c:pt idx="10">
                  <c:v>2.880162617160174E-2</c:v>
                </c:pt>
                <c:pt idx="11">
                  <c:v>3.0799476543192809E-2</c:v>
                </c:pt>
                <c:pt idx="12">
                  <c:v>2.8080121278043681E-2</c:v>
                </c:pt>
                <c:pt idx="13">
                  <c:v>2.8247092051713919E-2</c:v>
                </c:pt>
                <c:pt idx="14">
                  <c:v>2.639540124703324E-2</c:v>
                </c:pt>
                <c:pt idx="15">
                  <c:v>1.9220157910636009E-2</c:v>
                </c:pt>
                <c:pt idx="16">
                  <c:v>2.9292926757015069E-2</c:v>
                </c:pt>
                <c:pt idx="17">
                  <c:v>2.9541107656935999E-2</c:v>
                </c:pt>
                <c:pt idx="18">
                  <c:v>3.1154431279754719E-2</c:v>
                </c:pt>
                <c:pt idx="19">
                  <c:v>2.9461129531890291E-2</c:v>
                </c:pt>
                <c:pt idx="20">
                  <c:v>3.0313783713891131E-2</c:v>
                </c:pt>
                <c:pt idx="21">
                  <c:v>3.3508822667282862E-2</c:v>
                </c:pt>
                <c:pt idx="22">
                  <c:v>3.4739165058279807E-2</c:v>
                </c:pt>
                <c:pt idx="23">
                  <c:v>3.3561500120319547E-2</c:v>
                </c:pt>
                <c:pt idx="24">
                  <c:v>3.0961282548418428E-2</c:v>
                </c:pt>
                <c:pt idx="25">
                  <c:v>3.325613118609181E-2</c:v>
                </c:pt>
                <c:pt idx="26">
                  <c:v>3.230935798656305E-2</c:v>
                </c:pt>
                <c:pt idx="27">
                  <c:v>3.0186042242885399E-2</c:v>
                </c:pt>
                <c:pt idx="28">
                  <c:v>2.9826699740302571E-2</c:v>
                </c:pt>
                <c:pt idx="29">
                  <c:v>2.8461825588360749E-2</c:v>
                </c:pt>
                <c:pt idx="30">
                  <c:v>2.6667445839888119E-2</c:v>
                </c:pt>
                <c:pt idx="31">
                  <c:v>2.9333797528733729E-2</c:v>
                </c:pt>
                <c:pt idx="32">
                  <c:v>2.8469462201818171E-2</c:v>
                </c:pt>
                <c:pt idx="33">
                  <c:v>3.1278574864500211E-2</c:v>
                </c:pt>
                <c:pt idx="34">
                  <c:v>3.362517184260494E-2</c:v>
                </c:pt>
                <c:pt idx="35">
                  <c:v>3.1259339751075838E-2</c:v>
                </c:pt>
                <c:pt idx="36">
                  <c:v>3.2466678789921898E-2</c:v>
                </c:pt>
                <c:pt idx="37">
                  <c:v>3.336561461501103E-2</c:v>
                </c:pt>
                <c:pt idx="38">
                  <c:v>3.1897061212580187E-2</c:v>
                </c:pt>
                <c:pt idx="39">
                  <c:v>3.0591232179052279E-2</c:v>
                </c:pt>
                <c:pt idx="40">
                  <c:v>2.6490890509876141E-2</c:v>
                </c:pt>
                <c:pt idx="41">
                  <c:v>2.5005655171483909E-2</c:v>
                </c:pt>
                <c:pt idx="42">
                  <c:v>2.471524594195228E-2</c:v>
                </c:pt>
                <c:pt idx="43">
                  <c:v>2.5740688254943609E-2</c:v>
                </c:pt>
                <c:pt idx="44">
                  <c:v>2.534241769031121E-2</c:v>
                </c:pt>
                <c:pt idx="45">
                  <c:v>2.5785004878787769E-2</c:v>
                </c:pt>
                <c:pt idx="46">
                  <c:v>2.6712805427711591E-2</c:v>
                </c:pt>
                <c:pt idx="47">
                  <c:v>2.6016063432124481E-2</c:v>
                </c:pt>
                <c:pt idx="48">
                  <c:v>2.645901837190287E-2</c:v>
                </c:pt>
                <c:pt idx="49">
                  <c:v>2.253097533810856E-2</c:v>
                </c:pt>
                <c:pt idx="50">
                  <c:v>2.3407974477709061E-2</c:v>
                </c:pt>
                <c:pt idx="51">
                  <c:v>2.5267129597052979E-2</c:v>
                </c:pt>
                <c:pt idx="52">
                  <c:v>3.1101577984060599E-2</c:v>
                </c:pt>
                <c:pt idx="53">
                  <c:v>3.3390590546211449E-2</c:v>
                </c:pt>
                <c:pt idx="54">
                  <c:v>2.47735092998775E-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18089307194123574"/>
          <c:min val="7.5697543274504286E-2"/>
        </c:scaling>
        <c:delete val="0"/>
        <c:axPos val="b"/>
        <c:title>
          <c:tx>
            <c:rich>
              <a:bodyPr rot="0" spcFirstLastPara="1" vertOverflow="ellipsis" vert="horz" wrap="square" anchor="ctr" anchorCtr="1"/>
              <a:lstStyle/>
              <a:p>
                <a:pPr>
                  <a:defRPr sz="800" b="0">
                    <a:solidFill>
                      <a:srgbClr val="575555"/>
                    </a:solidFill>
                    <a:latin typeface="Nexa Bold"/>
                  </a:defRPr>
                </a:pPr>
                <a:r>
                  <a:rPr lang="en-US"/>
                  <a:t>Price Ix vs. Gillette Fusion5</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3084051742229012</c:v>
                </c:pt>
                <c:pt idx="1">
                  <c:v>0.31591786351078627</c:v>
                </c:pt>
                <c:pt idx="2">
                  <c:v>0.32058023334902946</c:v>
                </c:pt>
                <c:pt idx="3">
                  <c:v>0.31551466024025998</c:v>
                </c:pt>
                <c:pt idx="4">
                  <c:v>0.31248983133575575</c:v>
                </c:pt>
                <c:pt idx="5">
                  <c:v>0.31209899175068745</c:v>
                </c:pt>
                <c:pt idx="6">
                  <c:v>0.31243915630070307</c:v>
                </c:pt>
                <c:pt idx="7">
                  <c:v>0.3133619793471481</c:v>
                </c:pt>
                <c:pt idx="8">
                  <c:v>0.31671907756813417</c:v>
                </c:pt>
                <c:pt idx="9">
                  <c:v>0.31082322826247477</c:v>
                </c:pt>
                <c:pt idx="10">
                  <c:v>0.31047212859141043</c:v>
                </c:pt>
                <c:pt idx="11">
                  <c:v>0.30851195946449417</c:v>
                </c:pt>
                <c:pt idx="12">
                  <c:v>0.30743476600274672</c:v>
                </c:pt>
                <c:pt idx="13">
                  <c:v>0.30557876018361524</c:v>
                </c:pt>
                <c:pt idx="14">
                  <c:v>0.30608180521683359</c:v>
                </c:pt>
                <c:pt idx="15">
                  <c:v>0.30537959003209308</c:v>
                </c:pt>
                <c:pt idx="16">
                  <c:v>0.30479028449342177</c:v>
                </c:pt>
                <c:pt idx="17">
                  <c:v>0.30535697989231286</c:v>
                </c:pt>
                <c:pt idx="18">
                  <c:v>0.30758733419811496</c:v>
                </c:pt>
                <c:pt idx="19">
                  <c:v>0.30384356418742708</c:v>
                </c:pt>
                <c:pt idx="20">
                  <c:v>0.30255871389344829</c:v>
                </c:pt>
                <c:pt idx="21">
                  <c:v>0.30131492720175512</c:v>
                </c:pt>
                <c:pt idx="22">
                  <c:v>0.30402402402402401</c:v>
                </c:pt>
                <c:pt idx="23">
                  <c:v>0.3041818228723267</c:v>
                </c:pt>
                <c:pt idx="24">
                  <c:v>0.30380595989557657</c:v>
                </c:pt>
                <c:pt idx="25">
                  <c:v>0.30266464709715091</c:v>
                </c:pt>
                <c:pt idx="26">
                  <c:v>0.30198090992432275</c:v>
                </c:pt>
                <c:pt idx="27">
                  <c:v>0.30261018186645428</c:v>
                </c:pt>
                <c:pt idx="28">
                  <c:v>0.30379475941413642</c:v>
                </c:pt>
                <c:pt idx="29">
                  <c:v>0.30510575091808745</c:v>
                </c:pt>
                <c:pt idx="30">
                  <c:v>0.30547263681592041</c:v>
                </c:pt>
                <c:pt idx="31">
                  <c:v>0.30191808942530629</c:v>
                </c:pt>
                <c:pt idx="32">
                  <c:v>0.30004016835781272</c:v>
                </c:pt>
                <c:pt idx="33">
                  <c:v>0.30140260803244229</c:v>
                </c:pt>
                <c:pt idx="34">
                  <c:v>0.30315931183998879</c:v>
                </c:pt>
                <c:pt idx="35">
                  <c:v>0.30423707530585153</c:v>
                </c:pt>
                <c:pt idx="36">
                  <c:v>0.30339368848493503</c:v>
                </c:pt>
                <c:pt idx="37">
                  <c:v>0.30312142377964563</c:v>
                </c:pt>
                <c:pt idx="38">
                  <c:v>0.30421477922015827</c:v>
                </c:pt>
                <c:pt idx="39">
                  <c:v>0.30360700245050509</c:v>
                </c:pt>
                <c:pt idx="40">
                  <c:v>0.30482776067799466</c:v>
                </c:pt>
                <c:pt idx="41">
                  <c:v>0.30496561046396053</c:v>
                </c:pt>
                <c:pt idx="42">
                  <c:v>0.30474260101509459</c:v>
                </c:pt>
                <c:pt idx="43">
                  <c:v>0.30487658997567685</c:v>
                </c:pt>
                <c:pt idx="44">
                  <c:v>0.30417377406912238</c:v>
                </c:pt>
                <c:pt idx="45">
                  <c:v>0.30429474182711519</c:v>
                </c:pt>
                <c:pt idx="46">
                  <c:v>0.30416987037597953</c:v>
                </c:pt>
                <c:pt idx="47">
                  <c:v>0.30177142857142858</c:v>
                </c:pt>
                <c:pt idx="48">
                  <c:v>0.30034428178139644</c:v>
                </c:pt>
                <c:pt idx="49">
                  <c:v>0.30020553910468561</c:v>
                </c:pt>
                <c:pt idx="50">
                  <c:v>0.30020393921120919</c:v>
                </c:pt>
                <c:pt idx="51">
                  <c:v>0.30029572161037082</c:v>
                </c:pt>
                <c:pt idx="52">
                  <c:v>0.30085731375024921</c:v>
                </c:pt>
                <c:pt idx="53">
                  <c:v>0.30374794069192751</c:v>
                </c:pt>
                <c:pt idx="54">
                  <c:v>0.30475569923731716</c:v>
                </c:pt>
                <c:pt idx="55">
                  <c:v>0.30484411191281596</c:v>
                </c:pt>
                <c:pt idx="56">
                  <c:v>0.29666067320451317</c:v>
                </c:pt>
                <c:pt idx="57">
                  <c:v>0.25400835544515327</c:v>
                </c:pt>
                <c:pt idx="58">
                  <c:v>0.23382400369980466</c:v>
                </c:pt>
                <c:pt idx="59">
                  <c:v>0.23943026116791946</c:v>
                </c:pt>
                <c:pt idx="60">
                  <c:v>0.25369491863085675</c:v>
                </c:pt>
                <c:pt idx="61">
                  <c:v>0.26335839430757868</c:v>
                </c:pt>
                <c:pt idx="62">
                  <c:v>0.24811366501794199</c:v>
                </c:pt>
                <c:pt idx="63">
                  <c:v>0.25331883600138116</c:v>
                </c:pt>
                <c:pt idx="64">
                  <c:v>0.27606841827999473</c:v>
                </c:pt>
                <c:pt idx="65">
                  <c:v>0.28160478817918266</c:v>
                </c:pt>
                <c:pt idx="66">
                  <c:v>0.29229782021117312</c:v>
                </c:pt>
                <c:pt idx="67">
                  <c:v>0.30127414335954045</c:v>
                </c:pt>
                <c:pt idx="68">
                  <c:v>0.30305886879569066</c:v>
                </c:pt>
                <c:pt idx="69">
                  <c:v>0.30492991022208221</c:v>
                </c:pt>
                <c:pt idx="70">
                  <c:v>0.30628978911194849</c:v>
                </c:pt>
                <c:pt idx="71">
                  <c:v>0.30507690665654685</c:v>
                </c:pt>
                <c:pt idx="72">
                  <c:v>0.30607670596048481</c:v>
                </c:pt>
                <c:pt idx="73">
                  <c:v>0.3116373241246056</c:v>
                </c:pt>
                <c:pt idx="74">
                  <c:v>0.31424842998124136</c:v>
                </c:pt>
                <c:pt idx="75">
                  <c:v>0.31320176754871626</c:v>
                </c:pt>
                <c:pt idx="76">
                  <c:v>0.31380953870863448</c:v>
                </c:pt>
                <c:pt idx="77">
                  <c:v>0.32590348409435188</c:v>
                </c:pt>
                <c:pt idx="78">
                  <c:v>0.33061711871301291</c:v>
                </c:pt>
                <c:pt idx="79">
                  <c:v>0.33376024237416513</c:v>
                </c:pt>
                <c:pt idx="80">
                  <c:v>0.334863282523373</c:v>
                </c:pt>
                <c:pt idx="81">
                  <c:v>0.33732775797715603</c:v>
                </c:pt>
                <c:pt idx="82">
                  <c:v>0.3340239432262419</c:v>
                </c:pt>
                <c:pt idx="83">
                  <c:v>0.32813911724353323</c:v>
                </c:pt>
                <c:pt idx="84">
                  <c:v>0.32451377453380215</c:v>
                </c:pt>
                <c:pt idx="85">
                  <c:v>0.3242920313313794</c:v>
                </c:pt>
                <c:pt idx="86">
                  <c:v>0.32834757834757833</c:v>
                </c:pt>
                <c:pt idx="87">
                  <c:v>0.33024565689467972</c:v>
                </c:pt>
                <c:pt idx="88">
                  <c:v>0.33047076978575868</c:v>
                </c:pt>
                <c:pt idx="89">
                  <c:v>0.32960364974033468</c:v>
                </c:pt>
                <c:pt idx="90">
                  <c:v>0.32877782475231143</c:v>
                </c:pt>
                <c:pt idx="91">
                  <c:v>0.33265505668454848</c:v>
                </c:pt>
                <c:pt idx="92">
                  <c:v>0.33383080669232584</c:v>
                </c:pt>
                <c:pt idx="93">
                  <c:v>0.33445095599479496</c:v>
                </c:pt>
                <c:pt idx="94">
                  <c:v>0.33425385899470356</c:v>
                </c:pt>
                <c:pt idx="95">
                  <c:v>0.33302358553829059</c:v>
                </c:pt>
                <c:pt idx="96">
                  <c:v>0.3331230702831911</c:v>
                </c:pt>
                <c:pt idx="97">
                  <c:v>0.33248279672509923</c:v>
                </c:pt>
                <c:pt idx="98">
                  <c:v>0.33184443040565192</c:v>
                </c:pt>
                <c:pt idx="99">
                  <c:v>0.31234357273380736</c:v>
                </c:pt>
                <c:pt idx="100">
                  <c:v>0.30123106937136429</c:v>
                </c:pt>
                <c:pt idx="101">
                  <c:v>0.30056872662328632</c:v>
                </c:pt>
              </c:numCache>
            </c:numRef>
          </c:xVal>
          <c:yVal>
            <c:numRef>
              <c:f>Sheet1!$B$2:$B$103</c:f>
              <c:numCache>
                <c:formatCode>General</c:formatCode>
                <c:ptCount val="102"/>
                <c:pt idx="0">
                  <c:v>3.1549194168607006E-2</c:v>
                </c:pt>
                <c:pt idx="1">
                  <c:v>2.5925076493376501E-2</c:v>
                </c:pt>
                <c:pt idx="2">
                  <c:v>1.9457371147598559E-2</c:v>
                </c:pt>
                <c:pt idx="3">
                  <c:v>2.1005226955186754E-2</c:v>
                </c:pt>
                <c:pt idx="4">
                  <c:v>2.3683174888924508E-2</c:v>
                </c:pt>
                <c:pt idx="5">
                  <c:v>2.4814911692122233E-2</c:v>
                </c:pt>
                <c:pt idx="6">
                  <c:v>2.2966901329024649E-2</c:v>
                </c:pt>
                <c:pt idx="7">
                  <c:v>2.1693356757167159E-2</c:v>
                </c:pt>
                <c:pt idx="8">
                  <c:v>2.508474647577718E-2</c:v>
                </c:pt>
                <c:pt idx="9">
                  <c:v>3.2219360006132694E-2</c:v>
                </c:pt>
                <c:pt idx="10">
                  <c:v>3.3455366889535383E-2</c:v>
                </c:pt>
                <c:pt idx="11">
                  <c:v>3.0774205038558523E-2</c:v>
                </c:pt>
                <c:pt idx="12">
                  <c:v>3.166311843777065E-2</c:v>
                </c:pt>
                <c:pt idx="13">
                  <c:v>2.9573633835338665E-2</c:v>
                </c:pt>
                <c:pt idx="14">
                  <c:v>2.9438294749618857E-2</c:v>
                </c:pt>
                <c:pt idx="15">
                  <c:v>3.2326555355538883E-2</c:v>
                </c:pt>
                <c:pt idx="16">
                  <c:v>3.0454183212358377E-2</c:v>
                </c:pt>
                <c:pt idx="17">
                  <c:v>3.0177244147381318E-2</c:v>
                </c:pt>
                <c:pt idx="18">
                  <c:v>3.0949579617420526E-2</c:v>
                </c:pt>
                <c:pt idx="19">
                  <c:v>3.3044676701229417E-2</c:v>
                </c:pt>
                <c:pt idx="20">
                  <c:v>3.4502368865567047E-2</c:v>
                </c:pt>
                <c:pt idx="21">
                  <c:v>3.8171203781773647E-2</c:v>
                </c:pt>
                <c:pt idx="22">
                  <c:v>3.2633840746857157E-2</c:v>
                </c:pt>
                <c:pt idx="23">
                  <c:v>3.22851825867847E-2</c:v>
                </c:pt>
                <c:pt idx="24">
                  <c:v>3.4293774474369265E-2</c:v>
                </c:pt>
                <c:pt idx="25">
                  <c:v>3.3493331489235549E-2</c:v>
                </c:pt>
                <c:pt idx="26">
                  <c:v>3.2256296982208908E-2</c:v>
                </c:pt>
                <c:pt idx="27">
                  <c:v>3.256327154323236E-2</c:v>
                </c:pt>
                <c:pt idx="28">
                  <c:v>3.0215972855570965E-2</c:v>
                </c:pt>
                <c:pt idx="29">
                  <c:v>2.971323515475446E-2</c:v>
                </c:pt>
                <c:pt idx="30">
                  <c:v>2.9886044202056927E-2</c:v>
                </c:pt>
                <c:pt idx="31">
                  <c:v>3.0113049153545669E-2</c:v>
                </c:pt>
                <c:pt idx="32">
                  <c:v>3.0121682992946059E-2</c:v>
                </c:pt>
                <c:pt idx="33">
                  <c:v>2.8704102443482309E-2</c:v>
                </c:pt>
                <c:pt idx="34">
                  <c:v>3.0602403901330309E-2</c:v>
                </c:pt>
                <c:pt idx="35">
                  <c:v>3.1456536502498786E-2</c:v>
                </c:pt>
                <c:pt idx="36">
                  <c:v>3.1516667937295108E-2</c:v>
                </c:pt>
                <c:pt idx="37">
                  <c:v>3.3226585884057164E-2</c:v>
                </c:pt>
                <c:pt idx="38">
                  <c:v>3.3016326225624587E-2</c:v>
                </c:pt>
                <c:pt idx="39">
                  <c:v>3.0075909553288729E-2</c:v>
                </c:pt>
                <c:pt idx="40">
                  <c:v>3.0308227143147046E-2</c:v>
                </c:pt>
                <c:pt idx="41">
                  <c:v>3.1273537834975489E-2</c:v>
                </c:pt>
                <c:pt idx="42">
                  <c:v>3.0059016900147784E-2</c:v>
                </c:pt>
                <c:pt idx="43">
                  <c:v>3.0573863083611635E-2</c:v>
                </c:pt>
                <c:pt idx="44">
                  <c:v>3.254448153409624E-2</c:v>
                </c:pt>
                <c:pt idx="45">
                  <c:v>3.2420025270644671E-2</c:v>
                </c:pt>
                <c:pt idx="46">
                  <c:v>3.0841270586476857E-2</c:v>
                </c:pt>
                <c:pt idx="47">
                  <c:v>3.4545476528939606E-2</c:v>
                </c:pt>
                <c:pt idx="48">
                  <c:v>3.9378011399146942E-2</c:v>
                </c:pt>
                <c:pt idx="49">
                  <c:v>3.4585845792310457E-2</c:v>
                </c:pt>
                <c:pt idx="50">
                  <c:v>3.6889295123608744E-2</c:v>
                </c:pt>
                <c:pt idx="51">
                  <c:v>3.516974061970235E-2</c:v>
                </c:pt>
                <c:pt idx="52">
                  <c:v>3.3440411726256954E-2</c:v>
                </c:pt>
                <c:pt idx="53">
                  <c:v>3.0775515895011849E-2</c:v>
                </c:pt>
                <c:pt idx="54">
                  <c:v>2.856172806220978E-2</c:v>
                </c:pt>
                <c:pt idx="55">
                  <c:v>2.9260191711765828E-2</c:v>
                </c:pt>
                <c:pt idx="56">
                  <c:v>3.1178692703543048E-2</c:v>
                </c:pt>
                <c:pt idx="57">
                  <c:v>3.7031471681131703E-2</c:v>
                </c:pt>
                <c:pt idx="58">
                  <c:v>3.9909501581123753E-2</c:v>
                </c:pt>
                <c:pt idx="59">
                  <c:v>3.3090443177845791E-2</c:v>
                </c:pt>
                <c:pt idx="60">
                  <c:v>2.0429936026239697E-2</c:v>
                </c:pt>
                <c:pt idx="61">
                  <c:v>1.5942339180034886E-2</c:v>
                </c:pt>
                <c:pt idx="62">
                  <c:v>2.6561543645322632E-2</c:v>
                </c:pt>
                <c:pt idx="63">
                  <c:v>3.5068893654044385E-2</c:v>
                </c:pt>
                <c:pt idx="64">
                  <c:v>3.0967228847484717E-2</c:v>
                </c:pt>
                <c:pt idx="65">
                  <c:v>2.6027056162994167E-2</c:v>
                </c:pt>
                <c:pt idx="66">
                  <c:v>2.5871503741223587E-2</c:v>
                </c:pt>
                <c:pt idx="67">
                  <c:v>2.691260699372984E-2</c:v>
                </c:pt>
                <c:pt idx="68">
                  <c:v>2.5874418970458959E-2</c:v>
                </c:pt>
                <c:pt idx="69">
                  <c:v>2.3193315376484971E-2</c:v>
                </c:pt>
                <c:pt idx="70">
                  <c:v>2.2686657383630057E-2</c:v>
                </c:pt>
                <c:pt idx="71">
                  <c:v>2.6189284143623485E-2</c:v>
                </c:pt>
                <c:pt idx="72">
                  <c:v>2.7336338114147821E-2</c:v>
                </c:pt>
                <c:pt idx="73">
                  <c:v>2.7740990571672709E-2</c:v>
                </c:pt>
                <c:pt idx="74">
                  <c:v>2.8775273119844166E-2</c:v>
                </c:pt>
                <c:pt idx="75">
                  <c:v>2.8510329318482425E-2</c:v>
                </c:pt>
                <c:pt idx="76">
                  <c:v>2.7909474603405617E-2</c:v>
                </c:pt>
                <c:pt idx="77">
                  <c:v>2.354699792786898E-2</c:v>
                </c:pt>
                <c:pt idx="78">
                  <c:v>2.3516397046911525E-2</c:v>
                </c:pt>
                <c:pt idx="79">
                  <c:v>2.2115174941799768E-2</c:v>
                </c:pt>
                <c:pt idx="80">
                  <c:v>2.2268202762568419E-2</c:v>
                </c:pt>
                <c:pt idx="81">
                  <c:v>2.1244426266941792E-2</c:v>
                </c:pt>
                <c:pt idx="82">
                  <c:v>3.1177386289303839E-2</c:v>
                </c:pt>
                <c:pt idx="83">
                  <c:v>2.6306476866990773E-2</c:v>
                </c:pt>
                <c:pt idx="84">
                  <c:v>2.5524833007679375E-2</c:v>
                </c:pt>
                <c:pt idx="85">
                  <c:v>2.6871534411513368E-2</c:v>
                </c:pt>
                <c:pt idx="86">
                  <c:v>2.6338851413823878E-2</c:v>
                </c:pt>
                <c:pt idx="87">
                  <c:v>2.4648701089615546E-2</c:v>
                </c:pt>
                <c:pt idx="88">
                  <c:v>2.6238033764437702E-2</c:v>
                </c:pt>
                <c:pt idx="89">
                  <c:v>3.0191859532939729E-2</c:v>
                </c:pt>
                <c:pt idx="90">
                  <c:v>3.0716851696320817E-2</c:v>
                </c:pt>
                <c:pt idx="91">
                  <c:v>3.1790352756617284E-2</c:v>
                </c:pt>
                <c:pt idx="92">
                  <c:v>2.9789485452214992E-2</c:v>
                </c:pt>
                <c:pt idx="93">
                  <c:v>2.7419432969366012E-2</c:v>
                </c:pt>
                <c:pt idx="94">
                  <c:v>2.5375304588112154E-2</c:v>
                </c:pt>
                <c:pt idx="95">
                  <c:v>2.7271435244645044E-2</c:v>
                </c:pt>
                <c:pt idx="96">
                  <c:v>2.4300725205733124E-2</c:v>
                </c:pt>
                <c:pt idx="97">
                  <c:v>2.5953063658202231E-2</c:v>
                </c:pt>
                <c:pt idx="98">
                  <c:v>2.870484051773789E-2</c:v>
                </c:pt>
                <c:pt idx="99">
                  <c:v>3.0161179689259059E-2</c:v>
                </c:pt>
                <c:pt idx="100">
                  <c:v>3.7558407981539428E-2</c:v>
                </c:pt>
                <c:pt idx="101">
                  <c:v>3.5796970668813106E-2</c:v>
                </c:pt>
              </c:numCache>
            </c:numRef>
          </c:yVal>
          <c:smooth val="0"/>
          <c:extLst>
            <c:ext xmlns:c16="http://schemas.microsoft.com/office/drawing/2014/chart" uri="{C3380CC4-5D6E-409C-BE32-E72D297353CC}">
              <c16:uniqueId val="{00000000-F32D-48B7-BC20-E66FC6253BAD}"/>
            </c:ext>
          </c:extLst>
        </c:ser>
        <c:ser>
          <c:idx val="1"/>
          <c:order val="1"/>
          <c:tx>
            <c:strRef>
              <c:f>Sheet1!$B$10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6:$A$157</c:f>
              <c:numCache>
                <c:formatCode>General</c:formatCode>
                <c:ptCount val="52"/>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numCache>
            </c:numRef>
          </c:xVal>
          <c:yVal>
            <c:numRef>
              <c:f>Sheet1!$B$106:$B$157</c:f>
              <c:numCache>
                <c:formatCode>General</c:formatCode>
                <c:ptCount val="52"/>
                <c:pt idx="0">
                  <c:v>3.3379430772150658E-2</c:v>
                </c:pt>
                <c:pt idx="1">
                  <c:v>3.5297770608354727E-2</c:v>
                </c:pt>
                <c:pt idx="2">
                  <c:v>3.603152077608085E-2</c:v>
                </c:pt>
                <c:pt idx="3">
                  <c:v>3.0978674639028675E-2</c:v>
                </c:pt>
                <c:pt idx="4">
                  <c:v>2.8133515753956471E-2</c:v>
                </c:pt>
                <c:pt idx="5">
                  <c:v>2.7512069607189618E-2</c:v>
                </c:pt>
                <c:pt idx="6">
                  <c:v>2.7535908601076187E-2</c:v>
                </c:pt>
                <c:pt idx="7">
                  <c:v>2.7306049137985969E-2</c:v>
                </c:pt>
                <c:pt idx="8">
                  <c:v>2.6838607545871734E-2</c:v>
                </c:pt>
                <c:pt idx="9">
                  <c:v>2.8577136215520643E-2</c:v>
                </c:pt>
                <c:pt idx="10">
                  <c:v>2.9045708307140341E-2</c:v>
                </c:pt>
                <c:pt idx="11">
                  <c:v>3.0151694267354034E-2</c:v>
                </c:pt>
                <c:pt idx="12">
                  <c:v>3.1278274774940926E-2</c:v>
                </c:pt>
                <c:pt idx="13">
                  <c:v>3.2623144271831599E-2</c:v>
                </c:pt>
                <c:pt idx="14">
                  <c:v>3.2081452766552027E-2</c:v>
                </c:pt>
                <c:pt idx="15">
                  <c:v>2.8476513020004538E-2</c:v>
                </c:pt>
                <c:pt idx="16">
                  <c:v>2.8897929262062423E-2</c:v>
                </c:pt>
                <c:pt idx="17">
                  <c:v>2.8572345272906727E-2</c:v>
                </c:pt>
                <c:pt idx="18">
                  <c:v>2.7582157287634194E-2</c:v>
                </c:pt>
                <c:pt idx="19">
                  <c:v>2.6684207925807661E-2</c:v>
                </c:pt>
                <c:pt idx="20">
                  <c:v>2.5074098168638374E-2</c:v>
                </c:pt>
                <c:pt idx="21">
                  <c:v>3.7053775555914395E-2</c:v>
                </c:pt>
                <c:pt idx="22">
                  <c:v>4.1201839145334811E-2</c:v>
                </c:pt>
                <c:pt idx="23">
                  <c:v>3.952108516249337E-2</c:v>
                </c:pt>
                <c:pt idx="24">
                  <c:v>3.301132678213544E-2</c:v>
                </c:pt>
                <c:pt idx="25">
                  <c:v>3.4672282379825628E-2</c:v>
                </c:pt>
                <c:pt idx="26">
                  <c:v>3.6478521099227869E-2</c:v>
                </c:pt>
                <c:pt idx="27">
                  <c:v>3.1719960612283417E-2</c:v>
                </c:pt>
                <c:pt idx="28">
                  <c:v>2.9844699099281863E-2</c:v>
                </c:pt>
                <c:pt idx="29">
                  <c:v>2.8247037929351546E-2</c:v>
                </c:pt>
                <c:pt idx="30">
                  <c:v>2.3926861689124793E-2</c:v>
                </c:pt>
                <c:pt idx="31">
                  <c:v>2.0770671408149036E-2</c:v>
                </c:pt>
                <c:pt idx="32">
                  <c:v>2.3460558709885785E-2</c:v>
                </c:pt>
                <c:pt idx="33">
                  <c:v>3.0427962862070307E-2</c:v>
                </c:pt>
                <c:pt idx="34">
                  <c:v>3.1037706913624008E-2</c:v>
                </c:pt>
                <c:pt idx="35">
                  <c:v>2.928997264422914E-2</c:v>
                </c:pt>
                <c:pt idx="36">
                  <c:v>2.9697936908540855E-2</c:v>
                </c:pt>
                <c:pt idx="37">
                  <c:v>3.0248130900335804E-2</c:v>
                </c:pt>
                <c:pt idx="38">
                  <c:v>3.5070387750061743E-2</c:v>
                </c:pt>
                <c:pt idx="39">
                  <c:v>3.1208337770205517E-2</c:v>
                </c:pt>
                <c:pt idx="40">
                  <c:v>2.6826790166755026E-2</c:v>
                </c:pt>
                <c:pt idx="41">
                  <c:v>2.4203784771293646E-2</c:v>
                </c:pt>
                <c:pt idx="42">
                  <c:v>2.4098053977022377E-2</c:v>
                </c:pt>
                <c:pt idx="43">
                  <c:v>2.4523754132153155E-2</c:v>
                </c:pt>
                <c:pt idx="44">
                  <c:v>2.2379504666963371E-2</c:v>
                </c:pt>
                <c:pt idx="45">
                  <c:v>2.104065524243157E-2</c:v>
                </c:pt>
                <c:pt idx="46">
                  <c:v>2.2028240128902143E-2</c:v>
                </c:pt>
                <c:pt idx="47">
                  <c:v>2.3321641522021073E-2</c:v>
                </c:pt>
                <c:pt idx="48">
                  <c:v>2.5721900660138006E-2</c:v>
                </c:pt>
                <c:pt idx="49">
                  <c:v>2.4967370312040958E-2</c:v>
                </c:pt>
                <c:pt idx="50">
                  <c:v>2.6033359791458374E-2</c:v>
                </c:pt>
                <c:pt idx="51">
                  <c:v>2.5702227757022279E-2</c:v>
                </c:pt>
              </c:numCache>
            </c:numRef>
          </c:yVal>
          <c:smooth val="0"/>
          <c:extLst>
            <c:ext xmlns:c16="http://schemas.microsoft.com/office/drawing/2014/chart" uri="{C3380CC4-5D6E-409C-BE32-E72D297353CC}">
              <c16:uniqueId val="{00000002-F32D-48B7-BC20-E66FC6253BAD}"/>
            </c:ext>
          </c:extLst>
        </c:ser>
        <c:ser>
          <c:idx val="2"/>
          <c:order val="2"/>
          <c:tx>
            <c:strRef>
              <c:f>Sheet1!$B$159</c:f>
              <c:strCache>
                <c:ptCount val="1"/>
                <c:pt idx="0">
                  <c:v>Custom Linep3yQ</c:v>
                </c:pt>
              </c:strCache>
            </c:strRef>
          </c:tx>
          <c:spPr>
            <a:ln w="19050" cap="rnd">
              <a:solidFill>
                <a:srgbClr val="C00000"/>
              </a:solidFill>
              <a:prstDash val="sysDot"/>
              <a:round/>
            </a:ln>
            <a:effectLst/>
          </c:spPr>
          <c:marker>
            <c:symbol val="none"/>
          </c:marker>
          <c:xVal>
            <c:numRef>
              <c:f>Sheet1!$A$160:$A$161</c:f>
              <c:numCache>
                <c:formatCode>General</c:formatCode>
                <c:ptCount val="2"/>
                <c:pt idx="0">
                  <c:v>0</c:v>
                </c:pt>
                <c:pt idx="1">
                  <c:v>0.27575744047645689</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3-F32D-48B7-BC20-E66FC6253BAD}"/>
            </c:ext>
          </c:extLst>
        </c:ser>
        <c:ser>
          <c:idx val="3"/>
          <c:order val="3"/>
          <c:tx>
            <c:strRef>
              <c:f>Sheet1!$B$16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0.27575744047645689</c:v>
                </c:pt>
                <c:pt idx="1">
                  <c:v>0.27575744047645689</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8:$A$169</c:f>
              <c:numCache>
                <c:formatCode>General</c:formatCode>
                <c:ptCount val="2"/>
                <c:pt idx="0">
                  <c:v>0</c:v>
                </c:pt>
                <c:pt idx="1">
                  <c:v>0.28987004975079905</c:v>
                </c:pt>
              </c:numCache>
            </c:numRef>
          </c:xVal>
          <c:yVal>
            <c:numRef>
              <c:f>Sheet1!$B$168:$B$169</c:f>
              <c:numCache>
                <c:formatCode>General</c:formatCode>
                <c:ptCount val="2"/>
                <c:pt idx="0">
                  <c:v>3.1101577984060606E-2</c:v>
                </c:pt>
                <c:pt idx="1">
                  <c:v>3.1101577984060606E-2</c:v>
                </c:pt>
              </c:numCache>
            </c:numRef>
          </c:yVal>
          <c:smooth val="0"/>
          <c:extLst>
            <c:ext xmlns:c16="http://schemas.microsoft.com/office/drawing/2014/chart" uri="{C3380CC4-5D6E-409C-BE32-E72D297353CC}">
              <c16:uniqueId val="{0000000A-F32D-48B7-BC20-E66FC6253BAD}"/>
            </c:ext>
          </c:extLst>
        </c:ser>
        <c:ser>
          <c:idx val="5"/>
          <c:order val="5"/>
          <c:tx>
            <c:strRef>
              <c:f>Sheet1!$B$17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0.28987004975079905</c:v>
                </c:pt>
                <c:pt idx="1">
                  <c:v>0.28987004975079905</c:v>
                </c:pt>
              </c:numCache>
            </c:numRef>
          </c:xVal>
          <c:yVal>
            <c:numRef>
              <c:f>Sheet1!$B$172:$B$173</c:f>
              <c:numCache>
                <c:formatCode>General</c:formatCode>
                <c:ptCount val="2"/>
                <c:pt idx="0">
                  <c:v>3.1101577984060606E-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6:$A$177</c:f>
              <c:numCache>
                <c:formatCode>General</c:formatCode>
                <c:ptCount val="2"/>
                <c:pt idx="0">
                  <c:v>0</c:v>
                </c:pt>
                <c:pt idx="1">
                  <c:v>0.32888493428125432</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1-F32D-48B7-BC20-E66FC6253BAD}"/>
            </c:ext>
          </c:extLst>
        </c:ser>
        <c:ser>
          <c:idx val="7"/>
          <c:order val="7"/>
          <c:tx>
            <c:strRef>
              <c:f>Sheet1!$B$17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0:$A$181</c:f>
              <c:numCache>
                <c:formatCode>General</c:formatCode>
                <c:ptCount val="2"/>
                <c:pt idx="0">
                  <c:v>0.32888493428125432</c:v>
                </c:pt>
                <c:pt idx="1">
                  <c:v>0.32888493428125432</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4:$A$238</c:f>
              <c:numCache>
                <c:formatCode>General</c:formatCode>
                <c:ptCount val="55"/>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pt idx="52">
                  <c:v>0.28987004975079905</c:v>
                </c:pt>
                <c:pt idx="53">
                  <c:v>0.27575744047645689</c:v>
                </c:pt>
                <c:pt idx="54">
                  <c:v>0.32888493428125432</c:v>
                </c:pt>
              </c:numCache>
            </c:numRef>
          </c:xVal>
          <c:yVal>
            <c:numRef>
              <c:f>Sheet1!$B$184:$B$238</c:f>
              <c:numCache>
                <c:formatCode>General</c:formatCode>
                <c:ptCount val="55"/>
                <c:pt idx="0">
                  <c:v>2.9413873016704839E-2</c:v>
                </c:pt>
                <c:pt idx="1">
                  <c:v>2.9896344890080709E-2</c:v>
                </c:pt>
                <c:pt idx="2">
                  <c:v>3.0155656486461964E-2</c:v>
                </c:pt>
                <c:pt idx="3">
                  <c:v>2.7109900331363727E-2</c:v>
                </c:pt>
                <c:pt idx="4">
                  <c:v>2.4371775225560388E-2</c:v>
                </c:pt>
                <c:pt idx="5">
                  <c:v>2.4094268404047922E-2</c:v>
                </c:pt>
                <c:pt idx="6">
                  <c:v>2.4322183284519114E-2</c:v>
                </c:pt>
                <c:pt idx="7">
                  <c:v>2.5263903460272262E-2</c:v>
                </c:pt>
                <c:pt idx="8">
                  <c:v>2.7533717749061021E-2</c:v>
                </c:pt>
                <c:pt idx="9">
                  <c:v>2.9136059572005948E-2</c:v>
                </c:pt>
                <c:pt idx="10">
                  <c:v>2.8439725189245424E-2</c:v>
                </c:pt>
                <c:pt idx="11">
                  <c:v>2.8481575446516888E-2</c:v>
                </c:pt>
                <c:pt idx="12">
                  <c:v>3.0108594349578348E-2</c:v>
                </c:pt>
                <c:pt idx="13">
                  <c:v>3.169054387055209E-2</c:v>
                </c:pt>
                <c:pt idx="14">
                  <c:v>3.1465934595702259E-2</c:v>
                </c:pt>
                <c:pt idx="15">
                  <c:v>3.1477667841337743E-2</c:v>
                </c:pt>
                <c:pt idx="16">
                  <c:v>3.1573121681829512E-2</c:v>
                </c:pt>
                <c:pt idx="17">
                  <c:v>3.1532924296196564E-2</c:v>
                </c:pt>
                <c:pt idx="18">
                  <c:v>3.0515660900336583E-2</c:v>
                </c:pt>
                <c:pt idx="19">
                  <c:v>3.0211789143868836E-2</c:v>
                </c:pt>
                <c:pt idx="20">
                  <c:v>2.8955614795748236E-2</c:v>
                </c:pt>
                <c:pt idx="21">
                  <c:v>3.2772131418724967E-2</c:v>
                </c:pt>
                <c:pt idx="22">
                  <c:v>3.3542665870490845E-2</c:v>
                </c:pt>
                <c:pt idx="23">
                  <c:v>3.3435184307609174E-2</c:v>
                </c:pt>
                <c:pt idx="24">
                  <c:v>3.268271460365052E-2</c:v>
                </c:pt>
                <c:pt idx="25">
                  <c:v>3.3870059534782497E-2</c:v>
                </c:pt>
                <c:pt idx="26">
                  <c:v>3.3073079926514877E-2</c:v>
                </c:pt>
                <c:pt idx="27">
                  <c:v>3.1808643842456727E-2</c:v>
                </c:pt>
                <c:pt idx="28">
                  <c:v>3.0502176751221188E-2</c:v>
                </c:pt>
                <c:pt idx="29">
                  <c:v>2.7906678470255915E-2</c:v>
                </c:pt>
                <c:pt idx="30">
                  <c:v>2.5033266393526828E-2</c:v>
                </c:pt>
                <c:pt idx="31">
                  <c:v>2.630903103630991E-2</c:v>
                </c:pt>
                <c:pt idx="32">
                  <c:v>2.8693045313762239E-2</c:v>
                </c:pt>
                <c:pt idx="33">
                  <c:v>3.2596808075387743E-2</c:v>
                </c:pt>
                <c:pt idx="34">
                  <c:v>3.3462836223474769E-2</c:v>
                </c:pt>
                <c:pt idx="35">
                  <c:v>3.1780988069129081E-2</c:v>
                </c:pt>
                <c:pt idx="36">
                  <c:v>3.2997078119396075E-2</c:v>
                </c:pt>
                <c:pt idx="37">
                  <c:v>3.4241810296995578E-2</c:v>
                </c:pt>
                <c:pt idx="38">
                  <c:v>3.5259393566231922E-2</c:v>
                </c:pt>
                <c:pt idx="39">
                  <c:v>3.2524924643797831E-2</c:v>
                </c:pt>
                <c:pt idx="40">
                  <c:v>2.8308242375685959E-2</c:v>
                </c:pt>
                <c:pt idx="41">
                  <c:v>2.54404048951909E-2</c:v>
                </c:pt>
                <c:pt idx="42">
                  <c:v>2.3287513921568817E-2</c:v>
                </c:pt>
                <c:pt idx="43">
                  <c:v>2.3365554652546534E-2</c:v>
                </c:pt>
                <c:pt idx="44">
                  <c:v>2.3054756675168077E-2</c:v>
                </c:pt>
                <c:pt idx="45">
                  <c:v>2.3566114628330095E-2</c:v>
                </c:pt>
                <c:pt idx="46">
                  <c:v>2.5888630394799238E-2</c:v>
                </c:pt>
                <c:pt idx="47">
                  <c:v>2.6265547596405793E-2</c:v>
                </c:pt>
                <c:pt idx="48">
                  <c:v>2.7412822111043234E-2</c:v>
                </c:pt>
                <c:pt idx="49">
                  <c:v>2.5962622488181153E-2</c:v>
                </c:pt>
                <c:pt idx="50">
                  <c:v>2.4525712064247307E-2</c:v>
                </c:pt>
                <c:pt idx="51">
                  <c:v>2.4473274634488791E-2</c:v>
                </c:pt>
                <c:pt idx="52">
                  <c:v>3.1101577984060602E-2</c:v>
                </c:pt>
                <c:pt idx="53">
                  <c:v>3.3390590546211449E-2</c:v>
                </c:pt>
                <c:pt idx="54">
                  <c:v>2.4773509299877497E-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40737801608579088"/>
          <c:min val="0.18705920295984374"/>
        </c:scaling>
        <c:delete val="0"/>
        <c:axPos val="b"/>
        <c:title>
          <c:tx>
            <c:rich>
              <a:bodyPr rot="0" spcFirstLastPara="1" vertOverflow="ellipsis" vert="horz" wrap="square" anchor="ctr" anchorCtr="1"/>
              <a:lstStyle/>
              <a:p>
                <a:pPr>
                  <a:defRPr sz="800" b="0">
                    <a:latin typeface="Nexa Bold"/>
                  </a:defRPr>
                </a:pPr>
                <a:r>
                  <a:rPr lang="en-US"/>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1291069944164441</c:v>
                </c:pt>
                <c:pt idx="1">
                  <c:v>0.13485892486555889</c:v>
                </c:pt>
                <c:pt idx="2">
                  <c:v>0.13361697278764331</c:v>
                </c:pt>
                <c:pt idx="3">
                  <c:v>0.13181455947245191</c:v>
                </c:pt>
                <c:pt idx="4">
                  <c:v>0.13079849733141291</c:v>
                </c:pt>
                <c:pt idx="5">
                  <c:v>0.12786527339341361</c:v>
                </c:pt>
                <c:pt idx="6">
                  <c:v>0.13389772495720559</c:v>
                </c:pt>
                <c:pt idx="7">
                  <c:v>0.1359519354250221</c:v>
                </c:pt>
                <c:pt idx="8">
                  <c:v>0.13408395448492219</c:v>
                </c:pt>
                <c:pt idx="9">
                  <c:v>0.1272173036352085</c:v>
                </c:pt>
                <c:pt idx="10">
                  <c:v>0.12580154817273331</c:v>
                </c:pt>
                <c:pt idx="11">
                  <c:v>0.1247833670603628</c:v>
                </c:pt>
                <c:pt idx="12">
                  <c:v>0.12616612542700109</c:v>
                </c:pt>
                <c:pt idx="13">
                  <c:v>0.13426073846412021</c:v>
                </c:pt>
                <c:pt idx="14">
                  <c:v>0.13040345544745011</c:v>
                </c:pt>
                <c:pt idx="15">
                  <c:v>0.12568196098787579</c:v>
                </c:pt>
                <c:pt idx="16">
                  <c:v>0.1284543866213313</c:v>
                </c:pt>
                <c:pt idx="17">
                  <c:v>0.13252000199740169</c:v>
                </c:pt>
                <c:pt idx="18">
                  <c:v>0.12612196270786419</c:v>
                </c:pt>
                <c:pt idx="19">
                  <c:v>0.13496886950214251</c:v>
                </c:pt>
                <c:pt idx="20">
                  <c:v>0.13064933940560819</c:v>
                </c:pt>
                <c:pt idx="21">
                  <c:v>0.12635635491031241</c:v>
                </c:pt>
                <c:pt idx="22">
                  <c:v>0.12863609693980929</c:v>
                </c:pt>
                <c:pt idx="23">
                  <c:v>0.13116494310893009</c:v>
                </c:pt>
                <c:pt idx="24">
                  <c:v>0.1278058186678292</c:v>
                </c:pt>
                <c:pt idx="25">
                  <c:v>0.1235932293079324</c:v>
                </c:pt>
                <c:pt idx="26">
                  <c:v>0.12290934252239009</c:v>
                </c:pt>
                <c:pt idx="27">
                  <c:v>0.12109503765009599</c:v>
                </c:pt>
                <c:pt idx="28">
                  <c:v>0.12207135397276341</c:v>
                </c:pt>
                <c:pt idx="29">
                  <c:v>0.1263122981136704</c:v>
                </c:pt>
                <c:pt idx="30">
                  <c:v>0.1263263635992006</c:v>
                </c:pt>
                <c:pt idx="31">
                  <c:v>0.12476889875077329</c:v>
                </c:pt>
                <c:pt idx="32">
                  <c:v>0.12674353123399981</c:v>
                </c:pt>
                <c:pt idx="33">
                  <c:v>0.12588695742723971</c:v>
                </c:pt>
                <c:pt idx="34">
                  <c:v>0.12390000002667199</c:v>
                </c:pt>
                <c:pt idx="35">
                  <c:v>0.12440850519118039</c:v>
                </c:pt>
                <c:pt idx="36">
                  <c:v>0.12336288941275771</c:v>
                </c:pt>
                <c:pt idx="37">
                  <c:v>0.1236579395008299</c:v>
                </c:pt>
                <c:pt idx="38">
                  <c:v>0.1244360084590832</c:v>
                </c:pt>
                <c:pt idx="39">
                  <c:v>0.12224083915887329</c:v>
                </c:pt>
                <c:pt idx="40">
                  <c:v>0.1219327444047168</c:v>
                </c:pt>
                <c:pt idx="41">
                  <c:v>0.1250560323566518</c:v>
                </c:pt>
                <c:pt idx="42">
                  <c:v>0.12745512740440279</c:v>
                </c:pt>
                <c:pt idx="43">
                  <c:v>0.1211984894858895</c:v>
                </c:pt>
                <c:pt idx="44">
                  <c:v>0.1258670226690102</c:v>
                </c:pt>
                <c:pt idx="45">
                  <c:v>0.1272339848348821</c:v>
                </c:pt>
                <c:pt idx="46">
                  <c:v>0.13490346412193621</c:v>
                </c:pt>
                <c:pt idx="47">
                  <c:v>0.1232399985423943</c:v>
                </c:pt>
                <c:pt idx="48">
                  <c:v>0.12311641114157899</c:v>
                </c:pt>
                <c:pt idx="49">
                  <c:v>0.1234350759255986</c:v>
                </c:pt>
                <c:pt idx="50">
                  <c:v>0.12419744604278141</c:v>
                </c:pt>
                <c:pt idx="51">
                  <c:v>0.13145508336915421</c:v>
                </c:pt>
                <c:pt idx="52">
                  <c:v>0.13109930113357529</c:v>
                </c:pt>
                <c:pt idx="53">
                  <c:v>0.13568928560863899</c:v>
                </c:pt>
                <c:pt idx="54">
                  <c:v>0.1285210371531505</c:v>
                </c:pt>
                <c:pt idx="55">
                  <c:v>0.1300753516373136</c:v>
                </c:pt>
                <c:pt idx="56">
                  <c:v>0.12489749950473671</c:v>
                </c:pt>
                <c:pt idx="57">
                  <c:v>0.10266521645136149</c:v>
                </c:pt>
                <c:pt idx="58">
                  <c:v>9.4621929093130358E-2</c:v>
                </c:pt>
                <c:pt idx="59">
                  <c:v>9.8212612965823731E-2</c:v>
                </c:pt>
                <c:pt idx="60">
                  <c:v>0.1102654339127445</c:v>
                </c:pt>
                <c:pt idx="61">
                  <c:v>0.1086326326560431</c:v>
                </c:pt>
                <c:pt idx="62">
                  <c:v>0.10273100071317991</c:v>
                </c:pt>
                <c:pt idx="63">
                  <c:v>0.1056131313298932</c:v>
                </c:pt>
                <c:pt idx="64">
                  <c:v>0.116037952360732</c:v>
                </c:pt>
                <c:pt idx="65">
                  <c:v>0.13065683342069531</c:v>
                </c:pt>
                <c:pt idx="66">
                  <c:v>0.132712182958446</c:v>
                </c:pt>
                <c:pt idx="67">
                  <c:v>0.12498087731066</c:v>
                </c:pt>
                <c:pt idx="68">
                  <c:v>0.1318623648264734</c:v>
                </c:pt>
                <c:pt idx="69">
                  <c:v>0.13405085209231629</c:v>
                </c:pt>
                <c:pt idx="70">
                  <c:v>0.12663942767242409</c:v>
                </c:pt>
                <c:pt idx="71">
                  <c:v>0.13715997078444109</c:v>
                </c:pt>
                <c:pt idx="72">
                  <c:v>0.1312699287114284</c:v>
                </c:pt>
                <c:pt idx="73">
                  <c:v>0.1290474255800157</c:v>
                </c:pt>
                <c:pt idx="74">
                  <c:v>0.12976627424972709</c:v>
                </c:pt>
                <c:pt idx="75">
                  <c:v>0.12686829869724861</c:v>
                </c:pt>
                <c:pt idx="76">
                  <c:v>0.1253623579280761</c:v>
                </c:pt>
                <c:pt idx="77">
                  <c:v>0.12968156222074531</c:v>
                </c:pt>
                <c:pt idx="78">
                  <c:v>0.12750329032649099</c:v>
                </c:pt>
                <c:pt idx="79">
                  <c:v>0.12461050546445129</c:v>
                </c:pt>
                <c:pt idx="80">
                  <c:v>0.12900335189603049</c:v>
                </c:pt>
                <c:pt idx="81">
                  <c:v>0.12741746962889991</c:v>
                </c:pt>
                <c:pt idx="82">
                  <c:v>0.1227246355993528</c:v>
                </c:pt>
                <c:pt idx="83">
                  <c:v>0.12325497363003669</c:v>
                </c:pt>
                <c:pt idx="84">
                  <c:v>0.1237777050026681</c:v>
                </c:pt>
                <c:pt idx="85">
                  <c:v>0.1227618684932686</c:v>
                </c:pt>
                <c:pt idx="86">
                  <c:v>0.12625273778634091</c:v>
                </c:pt>
                <c:pt idx="87">
                  <c:v>0.12848401925218161</c:v>
                </c:pt>
                <c:pt idx="88">
                  <c:v>0.12808991008793849</c:v>
                </c:pt>
                <c:pt idx="89">
                  <c:v>0.12669599383578639</c:v>
                </c:pt>
                <c:pt idx="90">
                  <c:v>0.128457244567205</c:v>
                </c:pt>
                <c:pt idx="91">
                  <c:v>0.1287495738807907</c:v>
                </c:pt>
                <c:pt idx="92">
                  <c:v>0.12753778198649329</c:v>
                </c:pt>
                <c:pt idx="93">
                  <c:v>0.12858384689357691</c:v>
                </c:pt>
                <c:pt idx="94">
                  <c:v>0.13053873342212541</c:v>
                </c:pt>
                <c:pt idx="95">
                  <c:v>0.1283681251237693</c:v>
                </c:pt>
                <c:pt idx="96">
                  <c:v>0.12712219330013799</c:v>
                </c:pt>
                <c:pt idx="97">
                  <c:v>0.12537888942730019</c:v>
                </c:pt>
                <c:pt idx="98">
                  <c:v>0.12745921704595151</c:v>
                </c:pt>
                <c:pt idx="99">
                  <c:v>0.1212266665697815</c:v>
                </c:pt>
                <c:pt idx="100">
                  <c:v>0.1141728668578047</c:v>
                </c:pt>
                <c:pt idx="101">
                  <c:v>0.115957494325048</c:v>
                </c:pt>
              </c:numCache>
            </c:numRef>
          </c:xVal>
          <c:yVal>
            <c:numRef>
              <c:f>Sheet1!$B$2:$B$103</c:f>
              <c:numCache>
                <c:formatCode>General</c:formatCode>
                <c:ptCount val="102"/>
                <c:pt idx="0">
                  <c:v>3.1549194168607013E-2</c:v>
                </c:pt>
                <c:pt idx="1">
                  <c:v>2.5925076493376501E-2</c:v>
                </c:pt>
                <c:pt idx="2">
                  <c:v>1.9457371147598559E-2</c:v>
                </c:pt>
                <c:pt idx="3">
                  <c:v>2.1005226955186751E-2</c:v>
                </c:pt>
                <c:pt idx="4">
                  <c:v>2.3683174888924512E-2</c:v>
                </c:pt>
                <c:pt idx="5">
                  <c:v>2.481491169212223E-2</c:v>
                </c:pt>
                <c:pt idx="6">
                  <c:v>2.2966901329024649E-2</c:v>
                </c:pt>
                <c:pt idx="7">
                  <c:v>2.1693356757167159E-2</c:v>
                </c:pt>
                <c:pt idx="8">
                  <c:v>2.508474647577718E-2</c:v>
                </c:pt>
                <c:pt idx="9">
                  <c:v>3.2219360006132687E-2</c:v>
                </c:pt>
                <c:pt idx="10">
                  <c:v>3.3455366889535383E-2</c:v>
                </c:pt>
                <c:pt idx="11">
                  <c:v>3.077420503855852E-2</c:v>
                </c:pt>
                <c:pt idx="12">
                  <c:v>3.166311843777065E-2</c:v>
                </c:pt>
                <c:pt idx="13">
                  <c:v>2.9573633835338661E-2</c:v>
                </c:pt>
                <c:pt idx="14">
                  <c:v>2.943829474961886E-2</c:v>
                </c:pt>
                <c:pt idx="15">
                  <c:v>3.2326555355538883E-2</c:v>
                </c:pt>
                <c:pt idx="16">
                  <c:v>3.045418321235838E-2</c:v>
                </c:pt>
                <c:pt idx="17">
                  <c:v>3.0177244147381321E-2</c:v>
                </c:pt>
                <c:pt idx="18">
                  <c:v>3.0949579617420529E-2</c:v>
                </c:pt>
                <c:pt idx="19">
                  <c:v>3.3044676701229417E-2</c:v>
                </c:pt>
                <c:pt idx="20">
                  <c:v>3.4502368865567047E-2</c:v>
                </c:pt>
                <c:pt idx="21">
                  <c:v>3.8171203781773647E-2</c:v>
                </c:pt>
                <c:pt idx="22">
                  <c:v>3.2633840746857157E-2</c:v>
                </c:pt>
                <c:pt idx="23">
                  <c:v>3.22851825867847E-2</c:v>
                </c:pt>
                <c:pt idx="24">
                  <c:v>3.4293774474369272E-2</c:v>
                </c:pt>
                <c:pt idx="25">
                  <c:v>3.3493331489235549E-2</c:v>
                </c:pt>
                <c:pt idx="26">
                  <c:v>3.2256296982208908E-2</c:v>
                </c:pt>
                <c:pt idx="27">
                  <c:v>3.256327154323236E-2</c:v>
                </c:pt>
                <c:pt idx="28">
                  <c:v>3.0215972855570969E-2</c:v>
                </c:pt>
                <c:pt idx="29">
                  <c:v>2.971323515475446E-2</c:v>
                </c:pt>
                <c:pt idx="30">
                  <c:v>2.9886044202056931E-2</c:v>
                </c:pt>
                <c:pt idx="31">
                  <c:v>3.0113049153545669E-2</c:v>
                </c:pt>
                <c:pt idx="32">
                  <c:v>3.0121682992946059E-2</c:v>
                </c:pt>
                <c:pt idx="33">
                  <c:v>2.8704102443482309E-2</c:v>
                </c:pt>
                <c:pt idx="34">
                  <c:v>3.0602403901330309E-2</c:v>
                </c:pt>
                <c:pt idx="35">
                  <c:v>3.1456536502498793E-2</c:v>
                </c:pt>
                <c:pt idx="36">
                  <c:v>3.1516667937295108E-2</c:v>
                </c:pt>
                <c:pt idx="37">
                  <c:v>3.3226585884057157E-2</c:v>
                </c:pt>
                <c:pt idx="38">
                  <c:v>3.3016326225624587E-2</c:v>
                </c:pt>
                <c:pt idx="39">
                  <c:v>3.0075909553288729E-2</c:v>
                </c:pt>
                <c:pt idx="40">
                  <c:v>3.030822714314705E-2</c:v>
                </c:pt>
                <c:pt idx="41">
                  <c:v>3.1273537834975489E-2</c:v>
                </c:pt>
                <c:pt idx="42">
                  <c:v>3.005901690014778E-2</c:v>
                </c:pt>
                <c:pt idx="43">
                  <c:v>3.0573863083611631E-2</c:v>
                </c:pt>
                <c:pt idx="44">
                  <c:v>3.254448153409624E-2</c:v>
                </c:pt>
                <c:pt idx="45">
                  <c:v>3.2420025270644671E-2</c:v>
                </c:pt>
                <c:pt idx="46">
                  <c:v>3.0841270586476861E-2</c:v>
                </c:pt>
                <c:pt idx="47">
                  <c:v>3.4545476528939613E-2</c:v>
                </c:pt>
                <c:pt idx="48">
                  <c:v>3.9378011399146942E-2</c:v>
                </c:pt>
                <c:pt idx="49">
                  <c:v>3.4585845792310457E-2</c:v>
                </c:pt>
                <c:pt idx="50">
                  <c:v>3.6889295123608737E-2</c:v>
                </c:pt>
                <c:pt idx="51">
                  <c:v>3.516974061970235E-2</c:v>
                </c:pt>
                <c:pt idx="52">
                  <c:v>3.3440411726256947E-2</c:v>
                </c:pt>
                <c:pt idx="53">
                  <c:v>3.0775515895011849E-2</c:v>
                </c:pt>
                <c:pt idx="54">
                  <c:v>2.856172806220978E-2</c:v>
                </c:pt>
                <c:pt idx="55">
                  <c:v>2.9260191711765832E-2</c:v>
                </c:pt>
                <c:pt idx="56">
                  <c:v>3.1178692703543051E-2</c:v>
                </c:pt>
                <c:pt idx="57">
                  <c:v>3.7031471681131703E-2</c:v>
                </c:pt>
                <c:pt idx="58">
                  <c:v>3.9909501581123753E-2</c:v>
                </c:pt>
                <c:pt idx="59">
                  <c:v>3.3090443177845791E-2</c:v>
                </c:pt>
                <c:pt idx="60">
                  <c:v>2.0429936026239701E-2</c:v>
                </c:pt>
                <c:pt idx="61">
                  <c:v>1.594233918003489E-2</c:v>
                </c:pt>
                <c:pt idx="62">
                  <c:v>2.6561543645322629E-2</c:v>
                </c:pt>
                <c:pt idx="63">
                  <c:v>3.5068893654044378E-2</c:v>
                </c:pt>
                <c:pt idx="64">
                  <c:v>3.0967228847484721E-2</c:v>
                </c:pt>
                <c:pt idx="65">
                  <c:v>2.602705616299417E-2</c:v>
                </c:pt>
                <c:pt idx="66">
                  <c:v>2.587150374122359E-2</c:v>
                </c:pt>
                <c:pt idx="67">
                  <c:v>2.691260699372984E-2</c:v>
                </c:pt>
                <c:pt idx="68">
                  <c:v>2.5874418970458959E-2</c:v>
                </c:pt>
                <c:pt idx="69">
                  <c:v>2.3193315376484971E-2</c:v>
                </c:pt>
                <c:pt idx="70">
                  <c:v>2.2686657383630061E-2</c:v>
                </c:pt>
                <c:pt idx="71">
                  <c:v>2.6189284143623481E-2</c:v>
                </c:pt>
                <c:pt idx="72">
                  <c:v>2.7336338114147821E-2</c:v>
                </c:pt>
                <c:pt idx="73">
                  <c:v>2.7740990571672709E-2</c:v>
                </c:pt>
                <c:pt idx="74">
                  <c:v>2.877527311984417E-2</c:v>
                </c:pt>
                <c:pt idx="75">
                  <c:v>2.8510329318482429E-2</c:v>
                </c:pt>
                <c:pt idx="76">
                  <c:v>2.7909474603405621E-2</c:v>
                </c:pt>
                <c:pt idx="77">
                  <c:v>2.354699792786898E-2</c:v>
                </c:pt>
                <c:pt idx="78">
                  <c:v>2.3516397046911521E-2</c:v>
                </c:pt>
                <c:pt idx="79">
                  <c:v>2.2115174941799771E-2</c:v>
                </c:pt>
                <c:pt idx="80">
                  <c:v>2.2268202762568419E-2</c:v>
                </c:pt>
                <c:pt idx="81">
                  <c:v>2.1244426266941788E-2</c:v>
                </c:pt>
                <c:pt idx="82">
                  <c:v>3.1177386289303839E-2</c:v>
                </c:pt>
                <c:pt idx="83">
                  <c:v>2.630647686699077E-2</c:v>
                </c:pt>
                <c:pt idx="84">
                  <c:v>2.5524833007679371E-2</c:v>
                </c:pt>
                <c:pt idx="85">
                  <c:v>2.6871534411513371E-2</c:v>
                </c:pt>
                <c:pt idx="86">
                  <c:v>2.6338851413823881E-2</c:v>
                </c:pt>
                <c:pt idx="87">
                  <c:v>2.464870108961555E-2</c:v>
                </c:pt>
                <c:pt idx="88">
                  <c:v>2.6238033764437702E-2</c:v>
                </c:pt>
                <c:pt idx="89">
                  <c:v>3.0191859532939729E-2</c:v>
                </c:pt>
                <c:pt idx="90">
                  <c:v>3.071685169632082E-2</c:v>
                </c:pt>
                <c:pt idx="91">
                  <c:v>3.1790352756617277E-2</c:v>
                </c:pt>
                <c:pt idx="92">
                  <c:v>2.9789485452214989E-2</c:v>
                </c:pt>
                <c:pt idx="93">
                  <c:v>2.7419432969366012E-2</c:v>
                </c:pt>
                <c:pt idx="94">
                  <c:v>2.5375304588112151E-2</c:v>
                </c:pt>
                <c:pt idx="95">
                  <c:v>2.727143524464504E-2</c:v>
                </c:pt>
                <c:pt idx="96">
                  <c:v>2.430072520573312E-2</c:v>
                </c:pt>
                <c:pt idx="97">
                  <c:v>2.5953063658202231E-2</c:v>
                </c:pt>
                <c:pt idx="98">
                  <c:v>2.870484051773789E-2</c:v>
                </c:pt>
                <c:pt idx="99">
                  <c:v>3.0161179689259059E-2</c:v>
                </c:pt>
                <c:pt idx="100">
                  <c:v>3.7558407981539428E-2</c:v>
                </c:pt>
                <c:pt idx="101">
                  <c:v>3.5796970668813113E-2</c:v>
                </c:pt>
              </c:numCache>
            </c:numRef>
          </c:yVal>
          <c:smooth val="0"/>
          <c:extLst>
            <c:ext xmlns:c16="http://schemas.microsoft.com/office/drawing/2014/chart" uri="{C3380CC4-5D6E-409C-BE32-E72D297353CC}">
              <c16:uniqueId val="{00000000-096C-4121-9522-6AB7243CCAAE}"/>
            </c:ext>
          </c:extLst>
        </c:ser>
        <c:ser>
          <c:idx val="1"/>
          <c:order val="1"/>
          <c:tx>
            <c:strRef>
              <c:f>Sheet1!$B$10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6:$A$157</c:f>
              <c:numCache>
                <c:formatCode>General</c:formatCode>
                <c:ptCount val="52"/>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numCache>
            </c:numRef>
          </c:xVal>
          <c:yVal>
            <c:numRef>
              <c:f>Sheet1!$B$106:$B$157</c:f>
              <c:numCache>
                <c:formatCode>General</c:formatCode>
                <c:ptCount val="52"/>
                <c:pt idx="0">
                  <c:v>3.3379430772150658E-2</c:v>
                </c:pt>
                <c:pt idx="1">
                  <c:v>3.5297770608354727E-2</c:v>
                </c:pt>
                <c:pt idx="2">
                  <c:v>3.603152077608085E-2</c:v>
                </c:pt>
                <c:pt idx="3">
                  <c:v>3.0978674639028671E-2</c:v>
                </c:pt>
                <c:pt idx="4">
                  <c:v>2.8133515753956471E-2</c:v>
                </c:pt>
                <c:pt idx="5">
                  <c:v>2.7512069607189622E-2</c:v>
                </c:pt>
                <c:pt idx="6">
                  <c:v>2.753590860107619E-2</c:v>
                </c:pt>
                <c:pt idx="7">
                  <c:v>2.7306049137985969E-2</c:v>
                </c:pt>
                <c:pt idx="8">
                  <c:v>2.683860754587173E-2</c:v>
                </c:pt>
                <c:pt idx="9">
                  <c:v>2.8577136215520639E-2</c:v>
                </c:pt>
                <c:pt idx="10">
                  <c:v>2.9045708307140341E-2</c:v>
                </c:pt>
                <c:pt idx="11">
                  <c:v>3.0151694267354031E-2</c:v>
                </c:pt>
                <c:pt idx="12">
                  <c:v>3.1278274774940933E-2</c:v>
                </c:pt>
                <c:pt idx="13">
                  <c:v>3.2623144271831599E-2</c:v>
                </c:pt>
                <c:pt idx="14">
                  <c:v>3.2081452766552027E-2</c:v>
                </c:pt>
                <c:pt idx="15">
                  <c:v>2.8476513020004542E-2</c:v>
                </c:pt>
                <c:pt idx="16">
                  <c:v>2.889792926206242E-2</c:v>
                </c:pt>
                <c:pt idx="17">
                  <c:v>2.8572345272906731E-2</c:v>
                </c:pt>
                <c:pt idx="18">
                  <c:v>2.758215728763419E-2</c:v>
                </c:pt>
                <c:pt idx="19">
                  <c:v>2.6684207925807661E-2</c:v>
                </c:pt>
                <c:pt idx="20">
                  <c:v>2.507409816863837E-2</c:v>
                </c:pt>
                <c:pt idx="21">
                  <c:v>3.7053775555914388E-2</c:v>
                </c:pt>
                <c:pt idx="22">
                  <c:v>4.1201839145334811E-2</c:v>
                </c:pt>
                <c:pt idx="23">
                  <c:v>3.952108516249337E-2</c:v>
                </c:pt>
                <c:pt idx="24">
                  <c:v>3.301132678213544E-2</c:v>
                </c:pt>
                <c:pt idx="25">
                  <c:v>3.4672282379825628E-2</c:v>
                </c:pt>
                <c:pt idx="26">
                  <c:v>3.6478521099227869E-2</c:v>
                </c:pt>
                <c:pt idx="27">
                  <c:v>3.1719960612283417E-2</c:v>
                </c:pt>
                <c:pt idx="28">
                  <c:v>2.9844699099281859E-2</c:v>
                </c:pt>
                <c:pt idx="29">
                  <c:v>2.824703792935155E-2</c:v>
                </c:pt>
                <c:pt idx="30">
                  <c:v>2.3926861689124789E-2</c:v>
                </c:pt>
                <c:pt idx="31">
                  <c:v>2.077067140814904E-2</c:v>
                </c:pt>
                <c:pt idx="32">
                  <c:v>2.3460558709885782E-2</c:v>
                </c:pt>
                <c:pt idx="33">
                  <c:v>3.042796286207031E-2</c:v>
                </c:pt>
                <c:pt idx="34">
                  <c:v>3.1037706913624011E-2</c:v>
                </c:pt>
                <c:pt idx="35">
                  <c:v>2.928997264422914E-2</c:v>
                </c:pt>
                <c:pt idx="36">
                  <c:v>2.9697936908540851E-2</c:v>
                </c:pt>
                <c:pt idx="37">
                  <c:v>3.0248130900335801E-2</c:v>
                </c:pt>
                <c:pt idx="38">
                  <c:v>3.5070387750061743E-2</c:v>
                </c:pt>
                <c:pt idx="39">
                  <c:v>3.120833777020552E-2</c:v>
                </c:pt>
                <c:pt idx="40">
                  <c:v>2.682679016675503E-2</c:v>
                </c:pt>
                <c:pt idx="41">
                  <c:v>2.4203784771293649E-2</c:v>
                </c:pt>
                <c:pt idx="42">
                  <c:v>2.4098053977022381E-2</c:v>
                </c:pt>
                <c:pt idx="43">
                  <c:v>2.4523754132153151E-2</c:v>
                </c:pt>
                <c:pt idx="44">
                  <c:v>2.2379504666963371E-2</c:v>
                </c:pt>
                <c:pt idx="45">
                  <c:v>2.104065524243157E-2</c:v>
                </c:pt>
                <c:pt idx="46">
                  <c:v>2.202824012890214E-2</c:v>
                </c:pt>
                <c:pt idx="47">
                  <c:v>2.3321641522021069E-2</c:v>
                </c:pt>
                <c:pt idx="48">
                  <c:v>2.5721900660138009E-2</c:v>
                </c:pt>
                <c:pt idx="49">
                  <c:v>2.4967370312040962E-2</c:v>
                </c:pt>
                <c:pt idx="50">
                  <c:v>2.603335979145837E-2</c:v>
                </c:pt>
                <c:pt idx="51">
                  <c:v>2.5702227757022279E-2</c:v>
                </c:pt>
              </c:numCache>
            </c:numRef>
          </c:yVal>
          <c:smooth val="0"/>
          <c:extLst>
            <c:ext xmlns:c16="http://schemas.microsoft.com/office/drawing/2014/chart" uri="{C3380CC4-5D6E-409C-BE32-E72D297353CC}">
              <c16:uniqueId val="{00000002-096C-4121-9522-6AB7243CCAAE}"/>
            </c:ext>
          </c:extLst>
        </c:ser>
        <c:ser>
          <c:idx val="2"/>
          <c:order val="2"/>
          <c:tx>
            <c:strRef>
              <c:f>Sheet1!$B$15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0:$A$161</c:f>
              <c:numCache>
                <c:formatCode>General</c:formatCode>
                <c:ptCount val="2"/>
                <c:pt idx="0">
                  <c:v>0</c:v>
                </c:pt>
                <c:pt idx="1">
                  <c:v>0.1108820277239114</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5-096C-4121-9522-6AB7243CCAAE}"/>
            </c:ext>
          </c:extLst>
        </c:ser>
        <c:ser>
          <c:idx val="3"/>
          <c:order val="3"/>
          <c:tx>
            <c:strRef>
              <c:f>Sheet1!$B$16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0.1108820277239114</c:v>
                </c:pt>
                <c:pt idx="1">
                  <c:v>0.1108820277239114</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8:$A$169</c:f>
              <c:numCache>
                <c:formatCode>General</c:formatCode>
                <c:ptCount val="2"/>
                <c:pt idx="0">
                  <c:v>0</c:v>
                </c:pt>
                <c:pt idx="1">
                  <c:v>0.11732114474802791</c:v>
                </c:pt>
              </c:numCache>
            </c:numRef>
          </c:xVal>
          <c:yVal>
            <c:numRef>
              <c:f>Sheet1!$B$168:$B$169</c:f>
              <c:numCache>
                <c:formatCode>General</c:formatCode>
                <c:ptCount val="2"/>
                <c:pt idx="0">
                  <c:v>3.1101577984060609E-2</c:v>
                </c:pt>
                <c:pt idx="1">
                  <c:v>3.1101577984060609E-2</c:v>
                </c:pt>
              </c:numCache>
            </c:numRef>
          </c:yVal>
          <c:smooth val="0"/>
          <c:extLst>
            <c:ext xmlns:c16="http://schemas.microsoft.com/office/drawing/2014/chart" uri="{C3380CC4-5D6E-409C-BE32-E72D297353CC}">
              <c16:uniqueId val="{0000000D-096C-4121-9522-6AB7243CCAAE}"/>
            </c:ext>
          </c:extLst>
        </c:ser>
        <c:ser>
          <c:idx val="5"/>
          <c:order val="5"/>
          <c:tx>
            <c:strRef>
              <c:f>Sheet1!$B$17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0.11732114474802791</c:v>
                </c:pt>
                <c:pt idx="1">
                  <c:v>0.11732114474802791</c:v>
                </c:pt>
              </c:numCache>
            </c:numRef>
          </c:xVal>
          <c:yVal>
            <c:numRef>
              <c:f>Sheet1!$B$172:$B$173</c:f>
              <c:numCache>
                <c:formatCode>General</c:formatCode>
                <c:ptCount val="2"/>
                <c:pt idx="0">
                  <c:v>3.1101577984060609E-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6:$A$177</c:f>
              <c:numCache>
                <c:formatCode>General</c:formatCode>
                <c:ptCount val="2"/>
                <c:pt idx="0">
                  <c:v>0</c:v>
                </c:pt>
                <c:pt idx="1">
                  <c:v>0.13512234665834599</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5-096C-4121-9522-6AB7243CCAAE}"/>
            </c:ext>
          </c:extLst>
        </c:ser>
        <c:ser>
          <c:idx val="7"/>
          <c:order val="7"/>
          <c:tx>
            <c:strRef>
              <c:f>Sheet1!$B$17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0:$A$181</c:f>
              <c:numCache>
                <c:formatCode>General</c:formatCode>
                <c:ptCount val="2"/>
                <c:pt idx="0">
                  <c:v>0.13512234665834599</c:v>
                </c:pt>
                <c:pt idx="1">
                  <c:v>0.13512234665834599</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4:$A$238</c:f>
              <c:numCache>
                <c:formatCode>General</c:formatCode>
                <c:ptCount val="55"/>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pt idx="52">
                  <c:v>0.11732114474802791</c:v>
                </c:pt>
                <c:pt idx="53">
                  <c:v>0.1108820277239114</c:v>
                </c:pt>
                <c:pt idx="54">
                  <c:v>0.13512234665834599</c:v>
                </c:pt>
              </c:numCache>
            </c:numRef>
          </c:xVal>
          <c:yVal>
            <c:numRef>
              <c:f>Sheet1!$B$184:$B$238</c:f>
              <c:numCache>
                <c:formatCode>General</c:formatCode>
                <c:ptCount val="55"/>
                <c:pt idx="0">
                  <c:v>3.1620668745252142E-2</c:v>
                </c:pt>
                <c:pt idx="1">
                  <c:v>3.1654790245678951E-2</c:v>
                </c:pt>
                <c:pt idx="2">
                  <c:v>3.2783325344754151E-2</c:v>
                </c:pt>
                <c:pt idx="3">
                  <c:v>3.022688607526958E-2</c:v>
                </c:pt>
                <c:pt idx="4">
                  <c:v>2.8540776744242852E-2</c:v>
                </c:pt>
                <c:pt idx="5">
                  <c:v>2.8198639317480349E-2</c:v>
                </c:pt>
                <c:pt idx="6">
                  <c:v>2.8149354774764782E-2</c:v>
                </c:pt>
                <c:pt idx="7">
                  <c:v>2.8199004366077019E-2</c:v>
                </c:pt>
                <c:pt idx="8">
                  <c:v>3.0157282303857849E-2</c:v>
                </c:pt>
                <c:pt idx="9">
                  <c:v>2.9717490317624731E-2</c:v>
                </c:pt>
                <c:pt idx="10">
                  <c:v>2.880162617160174E-2</c:v>
                </c:pt>
                <c:pt idx="11">
                  <c:v>3.0799476543192809E-2</c:v>
                </c:pt>
                <c:pt idx="12">
                  <c:v>2.8080121278043681E-2</c:v>
                </c:pt>
                <c:pt idx="13">
                  <c:v>2.8247092051713919E-2</c:v>
                </c:pt>
                <c:pt idx="14">
                  <c:v>2.639540124703324E-2</c:v>
                </c:pt>
                <c:pt idx="15">
                  <c:v>1.9220157910636009E-2</c:v>
                </c:pt>
                <c:pt idx="16">
                  <c:v>2.9292926757015069E-2</c:v>
                </c:pt>
                <c:pt idx="17">
                  <c:v>2.9541107656935999E-2</c:v>
                </c:pt>
                <c:pt idx="18">
                  <c:v>3.1154431279754719E-2</c:v>
                </c:pt>
                <c:pt idx="19">
                  <c:v>2.9461129531890291E-2</c:v>
                </c:pt>
                <c:pt idx="20">
                  <c:v>3.0313783713891131E-2</c:v>
                </c:pt>
                <c:pt idx="21">
                  <c:v>3.3508822667282862E-2</c:v>
                </c:pt>
                <c:pt idx="22">
                  <c:v>3.4739165058279807E-2</c:v>
                </c:pt>
                <c:pt idx="23">
                  <c:v>3.3561500120319547E-2</c:v>
                </c:pt>
                <c:pt idx="24">
                  <c:v>3.0961282548418428E-2</c:v>
                </c:pt>
                <c:pt idx="25">
                  <c:v>3.325613118609181E-2</c:v>
                </c:pt>
                <c:pt idx="26">
                  <c:v>3.230935798656305E-2</c:v>
                </c:pt>
                <c:pt idx="27">
                  <c:v>3.0186042242885399E-2</c:v>
                </c:pt>
                <c:pt idx="28">
                  <c:v>2.9826699740302571E-2</c:v>
                </c:pt>
                <c:pt idx="29">
                  <c:v>2.8461825588360749E-2</c:v>
                </c:pt>
                <c:pt idx="30">
                  <c:v>2.6667445839888119E-2</c:v>
                </c:pt>
                <c:pt idx="31">
                  <c:v>2.9333797528733729E-2</c:v>
                </c:pt>
                <c:pt idx="32">
                  <c:v>2.8469462201818171E-2</c:v>
                </c:pt>
                <c:pt idx="33">
                  <c:v>3.1278574864500211E-2</c:v>
                </c:pt>
                <c:pt idx="34">
                  <c:v>3.362517184260494E-2</c:v>
                </c:pt>
                <c:pt idx="35">
                  <c:v>3.1259339751075838E-2</c:v>
                </c:pt>
                <c:pt idx="36">
                  <c:v>3.2466678789921898E-2</c:v>
                </c:pt>
                <c:pt idx="37">
                  <c:v>3.336561461501103E-2</c:v>
                </c:pt>
                <c:pt idx="38">
                  <c:v>3.1897061212580187E-2</c:v>
                </c:pt>
                <c:pt idx="39">
                  <c:v>3.0591232179052279E-2</c:v>
                </c:pt>
                <c:pt idx="40">
                  <c:v>2.6490890509876141E-2</c:v>
                </c:pt>
                <c:pt idx="41">
                  <c:v>2.5005655171483909E-2</c:v>
                </c:pt>
                <c:pt idx="42">
                  <c:v>2.471524594195228E-2</c:v>
                </c:pt>
                <c:pt idx="43">
                  <c:v>2.5740688254943609E-2</c:v>
                </c:pt>
                <c:pt idx="44">
                  <c:v>2.534241769031121E-2</c:v>
                </c:pt>
                <c:pt idx="45">
                  <c:v>2.5785004878787769E-2</c:v>
                </c:pt>
                <c:pt idx="46">
                  <c:v>2.6712805427711591E-2</c:v>
                </c:pt>
                <c:pt idx="47">
                  <c:v>2.6016063432124481E-2</c:v>
                </c:pt>
                <c:pt idx="48">
                  <c:v>2.645901837190287E-2</c:v>
                </c:pt>
                <c:pt idx="49">
                  <c:v>2.253097533810856E-2</c:v>
                </c:pt>
                <c:pt idx="50">
                  <c:v>2.3407974477709061E-2</c:v>
                </c:pt>
                <c:pt idx="51">
                  <c:v>2.5267129597052979E-2</c:v>
                </c:pt>
                <c:pt idx="52">
                  <c:v>3.1101577984060599E-2</c:v>
                </c:pt>
                <c:pt idx="53">
                  <c:v>3.3390590546211449E-2</c:v>
                </c:pt>
                <c:pt idx="54">
                  <c:v>2.47735092998775E-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18089307194123574"/>
          <c:min val="7.5697543274504286E-2"/>
        </c:scaling>
        <c:delete val="0"/>
        <c:axPos val="b"/>
        <c:title>
          <c:tx>
            <c:rich>
              <a:bodyPr rot="0" spcFirstLastPara="1" vertOverflow="ellipsis" vert="horz" wrap="square" anchor="ctr" anchorCtr="1"/>
              <a:lstStyle/>
              <a:p>
                <a:pPr>
                  <a:defRPr sz="800" b="0">
                    <a:solidFill>
                      <a:srgbClr val="575555"/>
                    </a:solidFill>
                    <a:latin typeface="Nexa Bold"/>
                  </a:defRPr>
                </a:pPr>
                <a:r>
                  <a:rPr lang="en-US"/>
                  <a:t>Price Ix vs. Gillette Fusion5</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3084051742229012</c:v>
                </c:pt>
                <c:pt idx="1">
                  <c:v>0.31591786351078627</c:v>
                </c:pt>
                <c:pt idx="2">
                  <c:v>0.32058023334902946</c:v>
                </c:pt>
                <c:pt idx="3">
                  <c:v>0.31551466024025998</c:v>
                </c:pt>
                <c:pt idx="4">
                  <c:v>0.31248983133575575</c:v>
                </c:pt>
                <c:pt idx="5">
                  <c:v>0.31209899175068745</c:v>
                </c:pt>
                <c:pt idx="6">
                  <c:v>0.31243915630070307</c:v>
                </c:pt>
                <c:pt idx="7">
                  <c:v>0.3133619793471481</c:v>
                </c:pt>
                <c:pt idx="8">
                  <c:v>0.31671907756813417</c:v>
                </c:pt>
                <c:pt idx="9">
                  <c:v>0.31082322826247477</c:v>
                </c:pt>
                <c:pt idx="10">
                  <c:v>0.31047212859141043</c:v>
                </c:pt>
                <c:pt idx="11">
                  <c:v>0.30851195946449417</c:v>
                </c:pt>
                <c:pt idx="12">
                  <c:v>0.30743476600274672</c:v>
                </c:pt>
                <c:pt idx="13">
                  <c:v>0.30557876018361524</c:v>
                </c:pt>
                <c:pt idx="14">
                  <c:v>0.30608180521683359</c:v>
                </c:pt>
                <c:pt idx="15">
                  <c:v>0.30537959003209308</c:v>
                </c:pt>
                <c:pt idx="16">
                  <c:v>0.30479028449342177</c:v>
                </c:pt>
                <c:pt idx="17">
                  <c:v>0.30535697989231286</c:v>
                </c:pt>
                <c:pt idx="18">
                  <c:v>0.30758733419811496</c:v>
                </c:pt>
                <c:pt idx="19">
                  <c:v>0.30384356418742708</c:v>
                </c:pt>
                <c:pt idx="20">
                  <c:v>0.30255871389344829</c:v>
                </c:pt>
                <c:pt idx="21">
                  <c:v>0.30131492720175512</c:v>
                </c:pt>
                <c:pt idx="22">
                  <c:v>0.30402402402402401</c:v>
                </c:pt>
                <c:pt idx="23">
                  <c:v>0.3041818228723267</c:v>
                </c:pt>
                <c:pt idx="24">
                  <c:v>0.30380595989557657</c:v>
                </c:pt>
                <c:pt idx="25">
                  <c:v>0.30266464709715091</c:v>
                </c:pt>
                <c:pt idx="26">
                  <c:v>0.30198090992432275</c:v>
                </c:pt>
                <c:pt idx="27">
                  <c:v>0.30261018186645428</c:v>
                </c:pt>
                <c:pt idx="28">
                  <c:v>0.30379475941413642</c:v>
                </c:pt>
                <c:pt idx="29">
                  <c:v>0.30510575091808745</c:v>
                </c:pt>
                <c:pt idx="30">
                  <c:v>0.30547263681592041</c:v>
                </c:pt>
                <c:pt idx="31">
                  <c:v>0.30191808942530629</c:v>
                </c:pt>
                <c:pt idx="32">
                  <c:v>0.30004016835781272</c:v>
                </c:pt>
                <c:pt idx="33">
                  <c:v>0.30140260803244229</c:v>
                </c:pt>
                <c:pt idx="34">
                  <c:v>0.30315931183998879</c:v>
                </c:pt>
                <c:pt idx="35">
                  <c:v>0.30423707530585153</c:v>
                </c:pt>
                <c:pt idx="36">
                  <c:v>0.30339368848493503</c:v>
                </c:pt>
                <c:pt idx="37">
                  <c:v>0.30312142377964563</c:v>
                </c:pt>
                <c:pt idx="38">
                  <c:v>0.30421477922015827</c:v>
                </c:pt>
                <c:pt idx="39">
                  <c:v>0.30360700245050509</c:v>
                </c:pt>
                <c:pt idx="40">
                  <c:v>0.30482776067799466</c:v>
                </c:pt>
                <c:pt idx="41">
                  <c:v>0.30496561046396053</c:v>
                </c:pt>
                <c:pt idx="42">
                  <c:v>0.30474260101509459</c:v>
                </c:pt>
                <c:pt idx="43">
                  <c:v>0.30487658997567685</c:v>
                </c:pt>
                <c:pt idx="44">
                  <c:v>0.30417377406912238</c:v>
                </c:pt>
                <c:pt idx="45">
                  <c:v>0.30429474182711519</c:v>
                </c:pt>
                <c:pt idx="46">
                  <c:v>0.30416987037597953</c:v>
                </c:pt>
                <c:pt idx="47">
                  <c:v>0.30177142857142858</c:v>
                </c:pt>
                <c:pt idx="48">
                  <c:v>0.30034428178139644</c:v>
                </c:pt>
                <c:pt idx="49">
                  <c:v>0.30020553910468561</c:v>
                </c:pt>
                <c:pt idx="50">
                  <c:v>0.30020393921120919</c:v>
                </c:pt>
                <c:pt idx="51">
                  <c:v>0.30029572161037082</c:v>
                </c:pt>
                <c:pt idx="52">
                  <c:v>0.30085731375024921</c:v>
                </c:pt>
                <c:pt idx="53">
                  <c:v>0.30374794069192751</c:v>
                </c:pt>
                <c:pt idx="54">
                  <c:v>0.30475569923731716</c:v>
                </c:pt>
                <c:pt idx="55">
                  <c:v>0.30484411191281596</c:v>
                </c:pt>
                <c:pt idx="56">
                  <c:v>0.29666067320451317</c:v>
                </c:pt>
                <c:pt idx="57">
                  <c:v>0.25400835544515327</c:v>
                </c:pt>
                <c:pt idx="58">
                  <c:v>0.23382400369980466</c:v>
                </c:pt>
                <c:pt idx="59">
                  <c:v>0.23943026116791946</c:v>
                </c:pt>
                <c:pt idx="60">
                  <c:v>0.25369491863085675</c:v>
                </c:pt>
                <c:pt idx="61">
                  <c:v>0.26335839430757868</c:v>
                </c:pt>
                <c:pt idx="62">
                  <c:v>0.24811366501794199</c:v>
                </c:pt>
                <c:pt idx="63">
                  <c:v>0.25331883600138116</c:v>
                </c:pt>
                <c:pt idx="64">
                  <c:v>0.27606841827999473</c:v>
                </c:pt>
                <c:pt idx="65">
                  <c:v>0.28160478817918266</c:v>
                </c:pt>
                <c:pt idx="66">
                  <c:v>0.29229782021117312</c:v>
                </c:pt>
                <c:pt idx="67">
                  <c:v>0.30127414335954045</c:v>
                </c:pt>
                <c:pt idx="68">
                  <c:v>0.30305886879569066</c:v>
                </c:pt>
                <c:pt idx="69">
                  <c:v>0.30492991022208221</c:v>
                </c:pt>
                <c:pt idx="70">
                  <c:v>0.30628978911194849</c:v>
                </c:pt>
                <c:pt idx="71">
                  <c:v>0.30507690665654685</c:v>
                </c:pt>
                <c:pt idx="72">
                  <c:v>0.30607670596048481</c:v>
                </c:pt>
                <c:pt idx="73">
                  <c:v>0.3116373241246056</c:v>
                </c:pt>
                <c:pt idx="74">
                  <c:v>0.31424842998124136</c:v>
                </c:pt>
                <c:pt idx="75">
                  <c:v>0.31320176754871626</c:v>
                </c:pt>
                <c:pt idx="76">
                  <c:v>0.31380953870863448</c:v>
                </c:pt>
                <c:pt idx="77">
                  <c:v>0.32590348409435188</c:v>
                </c:pt>
                <c:pt idx="78">
                  <c:v>0.33061711871301291</c:v>
                </c:pt>
                <c:pt idx="79">
                  <c:v>0.33376024237416513</c:v>
                </c:pt>
                <c:pt idx="80">
                  <c:v>0.334863282523373</c:v>
                </c:pt>
                <c:pt idx="81">
                  <c:v>0.33732775797715603</c:v>
                </c:pt>
                <c:pt idx="82">
                  <c:v>0.3340239432262419</c:v>
                </c:pt>
                <c:pt idx="83">
                  <c:v>0.32813911724353323</c:v>
                </c:pt>
                <c:pt idx="84">
                  <c:v>0.32451377453380215</c:v>
                </c:pt>
                <c:pt idx="85">
                  <c:v>0.3242920313313794</c:v>
                </c:pt>
                <c:pt idx="86">
                  <c:v>0.32834757834757833</c:v>
                </c:pt>
                <c:pt idx="87">
                  <c:v>0.33024565689467972</c:v>
                </c:pt>
                <c:pt idx="88">
                  <c:v>0.33047076978575868</c:v>
                </c:pt>
                <c:pt idx="89">
                  <c:v>0.32960364974033468</c:v>
                </c:pt>
                <c:pt idx="90">
                  <c:v>0.32877782475231143</c:v>
                </c:pt>
                <c:pt idx="91">
                  <c:v>0.33265505668454848</c:v>
                </c:pt>
                <c:pt idx="92">
                  <c:v>0.33383080669232584</c:v>
                </c:pt>
                <c:pt idx="93">
                  <c:v>0.33445095599479496</c:v>
                </c:pt>
                <c:pt idx="94">
                  <c:v>0.33425385899470356</c:v>
                </c:pt>
                <c:pt idx="95">
                  <c:v>0.33302358553829059</c:v>
                </c:pt>
                <c:pt idx="96">
                  <c:v>0.3331230702831911</c:v>
                </c:pt>
                <c:pt idx="97">
                  <c:v>0.33248279672509923</c:v>
                </c:pt>
                <c:pt idx="98">
                  <c:v>0.33184443040565192</c:v>
                </c:pt>
                <c:pt idx="99">
                  <c:v>0.31234357273380736</c:v>
                </c:pt>
                <c:pt idx="100">
                  <c:v>0.30123106937136429</c:v>
                </c:pt>
                <c:pt idx="101">
                  <c:v>0.30056872662328632</c:v>
                </c:pt>
              </c:numCache>
            </c:numRef>
          </c:xVal>
          <c:yVal>
            <c:numRef>
              <c:f>Sheet1!$B$2:$B$103</c:f>
              <c:numCache>
                <c:formatCode>General</c:formatCode>
                <c:ptCount val="102"/>
                <c:pt idx="0">
                  <c:v>3.1549194168607006E-2</c:v>
                </c:pt>
                <c:pt idx="1">
                  <c:v>2.5925076493376501E-2</c:v>
                </c:pt>
                <c:pt idx="2">
                  <c:v>1.9457371147598559E-2</c:v>
                </c:pt>
                <c:pt idx="3">
                  <c:v>2.1005226955186754E-2</c:v>
                </c:pt>
                <c:pt idx="4">
                  <c:v>2.3683174888924508E-2</c:v>
                </c:pt>
                <c:pt idx="5">
                  <c:v>2.4814911692122233E-2</c:v>
                </c:pt>
                <c:pt idx="6">
                  <c:v>2.2966901329024649E-2</c:v>
                </c:pt>
                <c:pt idx="7">
                  <c:v>2.1693356757167159E-2</c:v>
                </c:pt>
                <c:pt idx="8">
                  <c:v>2.508474647577718E-2</c:v>
                </c:pt>
                <c:pt idx="9">
                  <c:v>3.2219360006132694E-2</c:v>
                </c:pt>
                <c:pt idx="10">
                  <c:v>3.3455366889535383E-2</c:v>
                </c:pt>
                <c:pt idx="11">
                  <c:v>3.0774205038558523E-2</c:v>
                </c:pt>
                <c:pt idx="12">
                  <c:v>3.166311843777065E-2</c:v>
                </c:pt>
                <c:pt idx="13">
                  <c:v>2.9573633835338665E-2</c:v>
                </c:pt>
                <c:pt idx="14">
                  <c:v>2.9438294749618857E-2</c:v>
                </c:pt>
                <c:pt idx="15">
                  <c:v>3.2326555355538883E-2</c:v>
                </c:pt>
                <c:pt idx="16">
                  <c:v>3.0454183212358377E-2</c:v>
                </c:pt>
                <c:pt idx="17">
                  <c:v>3.0177244147381318E-2</c:v>
                </c:pt>
                <c:pt idx="18">
                  <c:v>3.0949579617420526E-2</c:v>
                </c:pt>
                <c:pt idx="19">
                  <c:v>3.3044676701229417E-2</c:v>
                </c:pt>
                <c:pt idx="20">
                  <c:v>3.4502368865567047E-2</c:v>
                </c:pt>
                <c:pt idx="21">
                  <c:v>3.8171203781773647E-2</c:v>
                </c:pt>
                <c:pt idx="22">
                  <c:v>3.2633840746857157E-2</c:v>
                </c:pt>
                <c:pt idx="23">
                  <c:v>3.22851825867847E-2</c:v>
                </c:pt>
                <c:pt idx="24">
                  <c:v>3.4293774474369265E-2</c:v>
                </c:pt>
                <c:pt idx="25">
                  <c:v>3.3493331489235549E-2</c:v>
                </c:pt>
                <c:pt idx="26">
                  <c:v>3.2256296982208908E-2</c:v>
                </c:pt>
                <c:pt idx="27">
                  <c:v>3.256327154323236E-2</c:v>
                </c:pt>
                <c:pt idx="28">
                  <c:v>3.0215972855570965E-2</c:v>
                </c:pt>
                <c:pt idx="29">
                  <c:v>2.971323515475446E-2</c:v>
                </c:pt>
                <c:pt idx="30">
                  <c:v>2.9886044202056927E-2</c:v>
                </c:pt>
                <c:pt idx="31">
                  <c:v>3.0113049153545669E-2</c:v>
                </c:pt>
                <c:pt idx="32">
                  <c:v>3.0121682992946059E-2</c:v>
                </c:pt>
                <c:pt idx="33">
                  <c:v>2.8704102443482309E-2</c:v>
                </c:pt>
                <c:pt idx="34">
                  <c:v>3.0602403901330309E-2</c:v>
                </c:pt>
                <c:pt idx="35">
                  <c:v>3.1456536502498786E-2</c:v>
                </c:pt>
                <c:pt idx="36">
                  <c:v>3.1516667937295108E-2</c:v>
                </c:pt>
                <c:pt idx="37">
                  <c:v>3.3226585884057164E-2</c:v>
                </c:pt>
                <c:pt idx="38">
                  <c:v>3.3016326225624587E-2</c:v>
                </c:pt>
                <c:pt idx="39">
                  <c:v>3.0075909553288729E-2</c:v>
                </c:pt>
                <c:pt idx="40">
                  <c:v>3.0308227143147046E-2</c:v>
                </c:pt>
                <c:pt idx="41">
                  <c:v>3.1273537834975489E-2</c:v>
                </c:pt>
                <c:pt idx="42">
                  <c:v>3.0059016900147784E-2</c:v>
                </c:pt>
                <c:pt idx="43">
                  <c:v>3.0573863083611635E-2</c:v>
                </c:pt>
                <c:pt idx="44">
                  <c:v>3.254448153409624E-2</c:v>
                </c:pt>
                <c:pt idx="45">
                  <c:v>3.2420025270644671E-2</c:v>
                </c:pt>
                <c:pt idx="46">
                  <c:v>3.0841270586476857E-2</c:v>
                </c:pt>
                <c:pt idx="47">
                  <c:v>3.4545476528939606E-2</c:v>
                </c:pt>
                <c:pt idx="48">
                  <c:v>3.9378011399146942E-2</c:v>
                </c:pt>
                <c:pt idx="49">
                  <c:v>3.4585845792310457E-2</c:v>
                </c:pt>
                <c:pt idx="50">
                  <c:v>3.6889295123608744E-2</c:v>
                </c:pt>
                <c:pt idx="51">
                  <c:v>3.516974061970235E-2</c:v>
                </c:pt>
                <c:pt idx="52">
                  <c:v>3.3440411726256954E-2</c:v>
                </c:pt>
                <c:pt idx="53">
                  <c:v>3.0775515895011849E-2</c:v>
                </c:pt>
                <c:pt idx="54">
                  <c:v>2.856172806220978E-2</c:v>
                </c:pt>
                <c:pt idx="55">
                  <c:v>2.9260191711765828E-2</c:v>
                </c:pt>
                <c:pt idx="56">
                  <c:v>3.1178692703543048E-2</c:v>
                </c:pt>
                <c:pt idx="57">
                  <c:v>3.7031471681131703E-2</c:v>
                </c:pt>
                <c:pt idx="58">
                  <c:v>3.9909501581123753E-2</c:v>
                </c:pt>
                <c:pt idx="59">
                  <c:v>3.3090443177845791E-2</c:v>
                </c:pt>
                <c:pt idx="60">
                  <c:v>2.0429936026239697E-2</c:v>
                </c:pt>
                <c:pt idx="61">
                  <c:v>1.5942339180034886E-2</c:v>
                </c:pt>
                <c:pt idx="62">
                  <c:v>2.6561543645322632E-2</c:v>
                </c:pt>
                <c:pt idx="63">
                  <c:v>3.5068893654044385E-2</c:v>
                </c:pt>
                <c:pt idx="64">
                  <c:v>3.0967228847484717E-2</c:v>
                </c:pt>
                <c:pt idx="65">
                  <c:v>2.6027056162994167E-2</c:v>
                </c:pt>
                <c:pt idx="66">
                  <c:v>2.5871503741223587E-2</c:v>
                </c:pt>
                <c:pt idx="67">
                  <c:v>2.691260699372984E-2</c:v>
                </c:pt>
                <c:pt idx="68">
                  <c:v>2.5874418970458959E-2</c:v>
                </c:pt>
                <c:pt idx="69">
                  <c:v>2.3193315376484971E-2</c:v>
                </c:pt>
                <c:pt idx="70">
                  <c:v>2.2686657383630057E-2</c:v>
                </c:pt>
                <c:pt idx="71">
                  <c:v>2.6189284143623485E-2</c:v>
                </c:pt>
                <c:pt idx="72">
                  <c:v>2.7336338114147821E-2</c:v>
                </c:pt>
                <c:pt idx="73">
                  <c:v>2.7740990571672709E-2</c:v>
                </c:pt>
                <c:pt idx="74">
                  <c:v>2.8775273119844166E-2</c:v>
                </c:pt>
                <c:pt idx="75">
                  <c:v>2.8510329318482425E-2</c:v>
                </c:pt>
                <c:pt idx="76">
                  <c:v>2.7909474603405617E-2</c:v>
                </c:pt>
                <c:pt idx="77">
                  <c:v>2.354699792786898E-2</c:v>
                </c:pt>
                <c:pt idx="78">
                  <c:v>2.3516397046911525E-2</c:v>
                </c:pt>
                <c:pt idx="79">
                  <c:v>2.2115174941799768E-2</c:v>
                </c:pt>
                <c:pt idx="80">
                  <c:v>2.2268202762568419E-2</c:v>
                </c:pt>
                <c:pt idx="81">
                  <c:v>2.1244426266941792E-2</c:v>
                </c:pt>
                <c:pt idx="82">
                  <c:v>3.1177386289303839E-2</c:v>
                </c:pt>
                <c:pt idx="83">
                  <c:v>2.6306476866990773E-2</c:v>
                </c:pt>
                <c:pt idx="84">
                  <c:v>2.5524833007679375E-2</c:v>
                </c:pt>
                <c:pt idx="85">
                  <c:v>2.6871534411513368E-2</c:v>
                </c:pt>
                <c:pt idx="86">
                  <c:v>2.6338851413823878E-2</c:v>
                </c:pt>
                <c:pt idx="87">
                  <c:v>2.4648701089615546E-2</c:v>
                </c:pt>
                <c:pt idx="88">
                  <c:v>2.6238033764437702E-2</c:v>
                </c:pt>
                <c:pt idx="89">
                  <c:v>3.0191859532939729E-2</c:v>
                </c:pt>
                <c:pt idx="90">
                  <c:v>3.0716851696320817E-2</c:v>
                </c:pt>
                <c:pt idx="91">
                  <c:v>3.1790352756617284E-2</c:v>
                </c:pt>
                <c:pt idx="92">
                  <c:v>2.9789485452214992E-2</c:v>
                </c:pt>
                <c:pt idx="93">
                  <c:v>2.7419432969366012E-2</c:v>
                </c:pt>
                <c:pt idx="94">
                  <c:v>2.5375304588112154E-2</c:v>
                </c:pt>
                <c:pt idx="95">
                  <c:v>2.7271435244645044E-2</c:v>
                </c:pt>
                <c:pt idx="96">
                  <c:v>2.4300725205733124E-2</c:v>
                </c:pt>
                <c:pt idx="97">
                  <c:v>2.5953063658202231E-2</c:v>
                </c:pt>
                <c:pt idx="98">
                  <c:v>2.870484051773789E-2</c:v>
                </c:pt>
                <c:pt idx="99">
                  <c:v>3.0161179689259059E-2</c:v>
                </c:pt>
                <c:pt idx="100">
                  <c:v>3.7558407981539428E-2</c:v>
                </c:pt>
                <c:pt idx="101">
                  <c:v>3.5796970668813106E-2</c:v>
                </c:pt>
              </c:numCache>
            </c:numRef>
          </c:yVal>
          <c:smooth val="0"/>
          <c:extLst>
            <c:ext xmlns:c16="http://schemas.microsoft.com/office/drawing/2014/chart" uri="{C3380CC4-5D6E-409C-BE32-E72D297353CC}">
              <c16:uniqueId val="{00000000-F32D-48B7-BC20-E66FC6253BAD}"/>
            </c:ext>
          </c:extLst>
        </c:ser>
        <c:ser>
          <c:idx val="1"/>
          <c:order val="1"/>
          <c:tx>
            <c:strRef>
              <c:f>Sheet1!$B$10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6:$A$157</c:f>
              <c:numCache>
                <c:formatCode>General</c:formatCode>
                <c:ptCount val="52"/>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numCache>
            </c:numRef>
          </c:xVal>
          <c:yVal>
            <c:numRef>
              <c:f>Sheet1!$B$106:$B$157</c:f>
              <c:numCache>
                <c:formatCode>General</c:formatCode>
                <c:ptCount val="52"/>
                <c:pt idx="0">
                  <c:v>3.3379430772150658E-2</c:v>
                </c:pt>
                <c:pt idx="1">
                  <c:v>3.5297770608354727E-2</c:v>
                </c:pt>
                <c:pt idx="2">
                  <c:v>3.603152077608085E-2</c:v>
                </c:pt>
                <c:pt idx="3">
                  <c:v>3.0978674639028675E-2</c:v>
                </c:pt>
                <c:pt idx="4">
                  <c:v>2.8133515753956471E-2</c:v>
                </c:pt>
                <c:pt idx="5">
                  <c:v>2.7512069607189618E-2</c:v>
                </c:pt>
                <c:pt idx="6">
                  <c:v>2.7535908601076187E-2</c:v>
                </c:pt>
                <c:pt idx="7">
                  <c:v>2.7306049137985969E-2</c:v>
                </c:pt>
                <c:pt idx="8">
                  <c:v>2.6838607545871734E-2</c:v>
                </c:pt>
                <c:pt idx="9">
                  <c:v>2.8577136215520643E-2</c:v>
                </c:pt>
                <c:pt idx="10">
                  <c:v>2.9045708307140341E-2</c:v>
                </c:pt>
                <c:pt idx="11">
                  <c:v>3.0151694267354034E-2</c:v>
                </c:pt>
                <c:pt idx="12">
                  <c:v>3.1278274774940926E-2</c:v>
                </c:pt>
                <c:pt idx="13">
                  <c:v>3.2623144271831599E-2</c:v>
                </c:pt>
                <c:pt idx="14">
                  <c:v>3.2081452766552027E-2</c:v>
                </c:pt>
                <c:pt idx="15">
                  <c:v>2.8476513020004538E-2</c:v>
                </c:pt>
                <c:pt idx="16">
                  <c:v>2.8897929262062423E-2</c:v>
                </c:pt>
                <c:pt idx="17">
                  <c:v>2.8572345272906727E-2</c:v>
                </c:pt>
                <c:pt idx="18">
                  <c:v>2.7582157287634194E-2</c:v>
                </c:pt>
                <c:pt idx="19">
                  <c:v>2.6684207925807661E-2</c:v>
                </c:pt>
                <c:pt idx="20">
                  <c:v>2.5074098168638374E-2</c:v>
                </c:pt>
                <c:pt idx="21">
                  <c:v>3.7053775555914395E-2</c:v>
                </c:pt>
                <c:pt idx="22">
                  <c:v>4.1201839145334811E-2</c:v>
                </c:pt>
                <c:pt idx="23">
                  <c:v>3.952108516249337E-2</c:v>
                </c:pt>
                <c:pt idx="24">
                  <c:v>3.301132678213544E-2</c:v>
                </c:pt>
                <c:pt idx="25">
                  <c:v>3.4672282379825628E-2</c:v>
                </c:pt>
                <c:pt idx="26">
                  <c:v>3.6478521099227869E-2</c:v>
                </c:pt>
                <c:pt idx="27">
                  <c:v>3.1719960612283417E-2</c:v>
                </c:pt>
                <c:pt idx="28">
                  <c:v>2.9844699099281863E-2</c:v>
                </c:pt>
                <c:pt idx="29">
                  <c:v>2.8247037929351546E-2</c:v>
                </c:pt>
                <c:pt idx="30">
                  <c:v>2.3926861689124793E-2</c:v>
                </c:pt>
                <c:pt idx="31">
                  <c:v>2.0770671408149036E-2</c:v>
                </c:pt>
                <c:pt idx="32">
                  <c:v>2.3460558709885785E-2</c:v>
                </c:pt>
                <c:pt idx="33">
                  <c:v>3.0427962862070307E-2</c:v>
                </c:pt>
                <c:pt idx="34">
                  <c:v>3.1037706913624008E-2</c:v>
                </c:pt>
                <c:pt idx="35">
                  <c:v>2.928997264422914E-2</c:v>
                </c:pt>
                <c:pt idx="36">
                  <c:v>2.9697936908540855E-2</c:v>
                </c:pt>
                <c:pt idx="37">
                  <c:v>3.0248130900335804E-2</c:v>
                </c:pt>
                <c:pt idx="38">
                  <c:v>3.5070387750061743E-2</c:v>
                </c:pt>
                <c:pt idx="39">
                  <c:v>3.1208337770205517E-2</c:v>
                </c:pt>
                <c:pt idx="40">
                  <c:v>2.6826790166755026E-2</c:v>
                </c:pt>
                <c:pt idx="41">
                  <c:v>2.4203784771293646E-2</c:v>
                </c:pt>
                <c:pt idx="42">
                  <c:v>2.4098053977022377E-2</c:v>
                </c:pt>
                <c:pt idx="43">
                  <c:v>2.4523754132153155E-2</c:v>
                </c:pt>
                <c:pt idx="44">
                  <c:v>2.2379504666963371E-2</c:v>
                </c:pt>
                <c:pt idx="45">
                  <c:v>2.104065524243157E-2</c:v>
                </c:pt>
                <c:pt idx="46">
                  <c:v>2.2028240128902143E-2</c:v>
                </c:pt>
                <c:pt idx="47">
                  <c:v>2.3321641522021073E-2</c:v>
                </c:pt>
                <c:pt idx="48">
                  <c:v>2.5721900660138006E-2</c:v>
                </c:pt>
                <c:pt idx="49">
                  <c:v>2.4967370312040958E-2</c:v>
                </c:pt>
                <c:pt idx="50">
                  <c:v>2.6033359791458374E-2</c:v>
                </c:pt>
                <c:pt idx="51">
                  <c:v>2.5702227757022279E-2</c:v>
                </c:pt>
              </c:numCache>
            </c:numRef>
          </c:yVal>
          <c:smooth val="0"/>
          <c:extLst>
            <c:ext xmlns:c16="http://schemas.microsoft.com/office/drawing/2014/chart" uri="{C3380CC4-5D6E-409C-BE32-E72D297353CC}">
              <c16:uniqueId val="{00000002-F32D-48B7-BC20-E66FC6253BAD}"/>
            </c:ext>
          </c:extLst>
        </c:ser>
        <c:ser>
          <c:idx val="2"/>
          <c:order val="2"/>
          <c:tx>
            <c:strRef>
              <c:f>Sheet1!$B$159</c:f>
              <c:strCache>
                <c:ptCount val="1"/>
                <c:pt idx="0">
                  <c:v>Custom Linep3yQ</c:v>
                </c:pt>
              </c:strCache>
            </c:strRef>
          </c:tx>
          <c:spPr>
            <a:ln w="19050" cap="rnd">
              <a:solidFill>
                <a:srgbClr val="C00000"/>
              </a:solidFill>
              <a:prstDash val="sysDot"/>
              <a:round/>
            </a:ln>
            <a:effectLst/>
          </c:spPr>
          <c:marker>
            <c:symbol val="none"/>
          </c:marker>
          <c:xVal>
            <c:numRef>
              <c:f>Sheet1!$A$160:$A$161</c:f>
              <c:numCache>
                <c:formatCode>General</c:formatCode>
                <c:ptCount val="2"/>
                <c:pt idx="0">
                  <c:v>0</c:v>
                </c:pt>
                <c:pt idx="1">
                  <c:v>0.27575744047645689</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3-F32D-48B7-BC20-E66FC6253BAD}"/>
            </c:ext>
          </c:extLst>
        </c:ser>
        <c:ser>
          <c:idx val="3"/>
          <c:order val="3"/>
          <c:tx>
            <c:strRef>
              <c:f>Sheet1!$B$16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0.27575744047645689</c:v>
                </c:pt>
                <c:pt idx="1">
                  <c:v>0.27575744047645689</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8:$A$169</c:f>
              <c:numCache>
                <c:formatCode>General</c:formatCode>
                <c:ptCount val="2"/>
                <c:pt idx="0">
                  <c:v>0</c:v>
                </c:pt>
                <c:pt idx="1">
                  <c:v>0.28987004975079905</c:v>
                </c:pt>
              </c:numCache>
            </c:numRef>
          </c:xVal>
          <c:yVal>
            <c:numRef>
              <c:f>Sheet1!$B$168:$B$169</c:f>
              <c:numCache>
                <c:formatCode>General</c:formatCode>
                <c:ptCount val="2"/>
                <c:pt idx="0">
                  <c:v>3.1101577984060606E-2</c:v>
                </c:pt>
                <c:pt idx="1">
                  <c:v>3.1101577984060606E-2</c:v>
                </c:pt>
              </c:numCache>
            </c:numRef>
          </c:yVal>
          <c:smooth val="0"/>
          <c:extLst>
            <c:ext xmlns:c16="http://schemas.microsoft.com/office/drawing/2014/chart" uri="{C3380CC4-5D6E-409C-BE32-E72D297353CC}">
              <c16:uniqueId val="{0000000A-F32D-48B7-BC20-E66FC6253BAD}"/>
            </c:ext>
          </c:extLst>
        </c:ser>
        <c:ser>
          <c:idx val="5"/>
          <c:order val="5"/>
          <c:tx>
            <c:strRef>
              <c:f>Sheet1!$B$17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0.28987004975079905</c:v>
                </c:pt>
                <c:pt idx="1">
                  <c:v>0.28987004975079905</c:v>
                </c:pt>
              </c:numCache>
            </c:numRef>
          </c:xVal>
          <c:yVal>
            <c:numRef>
              <c:f>Sheet1!$B$172:$B$173</c:f>
              <c:numCache>
                <c:formatCode>General</c:formatCode>
                <c:ptCount val="2"/>
                <c:pt idx="0">
                  <c:v>3.1101577984060606E-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6:$A$177</c:f>
              <c:numCache>
                <c:formatCode>General</c:formatCode>
                <c:ptCount val="2"/>
                <c:pt idx="0">
                  <c:v>0</c:v>
                </c:pt>
                <c:pt idx="1">
                  <c:v>0.32888493428125432</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1-F32D-48B7-BC20-E66FC6253BAD}"/>
            </c:ext>
          </c:extLst>
        </c:ser>
        <c:ser>
          <c:idx val="7"/>
          <c:order val="7"/>
          <c:tx>
            <c:strRef>
              <c:f>Sheet1!$B$17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0:$A$181</c:f>
              <c:numCache>
                <c:formatCode>General</c:formatCode>
                <c:ptCount val="2"/>
                <c:pt idx="0">
                  <c:v>0.32888493428125432</c:v>
                </c:pt>
                <c:pt idx="1">
                  <c:v>0.32888493428125432</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4:$A$238</c:f>
              <c:numCache>
                <c:formatCode>General</c:formatCode>
                <c:ptCount val="55"/>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pt idx="52">
                  <c:v>0.28987004975079905</c:v>
                </c:pt>
                <c:pt idx="53">
                  <c:v>0.27575744047645689</c:v>
                </c:pt>
                <c:pt idx="54">
                  <c:v>0.32888493428125432</c:v>
                </c:pt>
              </c:numCache>
            </c:numRef>
          </c:xVal>
          <c:yVal>
            <c:numRef>
              <c:f>Sheet1!$B$184:$B$238</c:f>
              <c:numCache>
                <c:formatCode>General</c:formatCode>
                <c:ptCount val="55"/>
                <c:pt idx="0">
                  <c:v>2.9413873016704839E-2</c:v>
                </c:pt>
                <c:pt idx="1">
                  <c:v>2.9896344890080709E-2</c:v>
                </c:pt>
                <c:pt idx="2">
                  <c:v>3.0155656486461964E-2</c:v>
                </c:pt>
                <c:pt idx="3">
                  <c:v>2.7109900331363727E-2</c:v>
                </c:pt>
                <c:pt idx="4">
                  <c:v>2.4371775225560388E-2</c:v>
                </c:pt>
                <c:pt idx="5">
                  <c:v>2.4094268404047922E-2</c:v>
                </c:pt>
                <c:pt idx="6">
                  <c:v>2.4322183284519114E-2</c:v>
                </c:pt>
                <c:pt idx="7">
                  <c:v>2.5263903460272262E-2</c:v>
                </c:pt>
                <c:pt idx="8">
                  <c:v>2.7533717749061021E-2</c:v>
                </c:pt>
                <c:pt idx="9">
                  <c:v>2.9136059572005948E-2</c:v>
                </c:pt>
                <c:pt idx="10">
                  <c:v>2.8439725189245424E-2</c:v>
                </c:pt>
                <c:pt idx="11">
                  <c:v>2.8481575446516888E-2</c:v>
                </c:pt>
                <c:pt idx="12">
                  <c:v>3.0108594349578348E-2</c:v>
                </c:pt>
                <c:pt idx="13">
                  <c:v>3.169054387055209E-2</c:v>
                </c:pt>
                <c:pt idx="14">
                  <c:v>3.1465934595702259E-2</c:v>
                </c:pt>
                <c:pt idx="15">
                  <c:v>3.1477667841337743E-2</c:v>
                </c:pt>
                <c:pt idx="16">
                  <c:v>3.1573121681829512E-2</c:v>
                </c:pt>
                <c:pt idx="17">
                  <c:v>3.1532924296196564E-2</c:v>
                </c:pt>
                <c:pt idx="18">
                  <c:v>3.0515660900336583E-2</c:v>
                </c:pt>
                <c:pt idx="19">
                  <c:v>3.0211789143868836E-2</c:v>
                </c:pt>
                <c:pt idx="20">
                  <c:v>2.8955614795748236E-2</c:v>
                </c:pt>
                <c:pt idx="21">
                  <c:v>3.2772131418724967E-2</c:v>
                </c:pt>
                <c:pt idx="22">
                  <c:v>3.3542665870490845E-2</c:v>
                </c:pt>
                <c:pt idx="23">
                  <c:v>3.3435184307609174E-2</c:v>
                </c:pt>
                <c:pt idx="24">
                  <c:v>3.268271460365052E-2</c:v>
                </c:pt>
                <c:pt idx="25">
                  <c:v>3.3870059534782497E-2</c:v>
                </c:pt>
                <c:pt idx="26">
                  <c:v>3.3073079926514877E-2</c:v>
                </c:pt>
                <c:pt idx="27">
                  <c:v>3.1808643842456727E-2</c:v>
                </c:pt>
                <c:pt idx="28">
                  <c:v>3.0502176751221188E-2</c:v>
                </c:pt>
                <c:pt idx="29">
                  <c:v>2.7906678470255915E-2</c:v>
                </c:pt>
                <c:pt idx="30">
                  <c:v>2.5033266393526828E-2</c:v>
                </c:pt>
                <c:pt idx="31">
                  <c:v>2.630903103630991E-2</c:v>
                </c:pt>
                <c:pt idx="32">
                  <c:v>2.8693045313762239E-2</c:v>
                </c:pt>
                <c:pt idx="33">
                  <c:v>3.2596808075387743E-2</c:v>
                </c:pt>
                <c:pt idx="34">
                  <c:v>3.3462836223474769E-2</c:v>
                </c:pt>
                <c:pt idx="35">
                  <c:v>3.1780988069129081E-2</c:v>
                </c:pt>
                <c:pt idx="36">
                  <c:v>3.2997078119396075E-2</c:v>
                </c:pt>
                <c:pt idx="37">
                  <c:v>3.4241810296995578E-2</c:v>
                </c:pt>
                <c:pt idx="38">
                  <c:v>3.5259393566231922E-2</c:v>
                </c:pt>
                <c:pt idx="39">
                  <c:v>3.2524924643797831E-2</c:v>
                </c:pt>
                <c:pt idx="40">
                  <c:v>2.8308242375685959E-2</c:v>
                </c:pt>
                <c:pt idx="41">
                  <c:v>2.54404048951909E-2</c:v>
                </c:pt>
                <c:pt idx="42">
                  <c:v>2.3287513921568817E-2</c:v>
                </c:pt>
                <c:pt idx="43">
                  <c:v>2.3365554652546534E-2</c:v>
                </c:pt>
                <c:pt idx="44">
                  <c:v>2.3054756675168077E-2</c:v>
                </c:pt>
                <c:pt idx="45">
                  <c:v>2.3566114628330095E-2</c:v>
                </c:pt>
                <c:pt idx="46">
                  <c:v>2.5888630394799238E-2</c:v>
                </c:pt>
                <c:pt idx="47">
                  <c:v>2.6265547596405793E-2</c:v>
                </c:pt>
                <c:pt idx="48">
                  <c:v>2.7412822111043234E-2</c:v>
                </c:pt>
                <c:pt idx="49">
                  <c:v>2.5962622488181153E-2</c:v>
                </c:pt>
                <c:pt idx="50">
                  <c:v>2.4525712064247307E-2</c:v>
                </c:pt>
                <c:pt idx="51">
                  <c:v>2.4473274634488791E-2</c:v>
                </c:pt>
                <c:pt idx="52">
                  <c:v>3.1101577984060602E-2</c:v>
                </c:pt>
                <c:pt idx="53">
                  <c:v>3.3390590546211449E-2</c:v>
                </c:pt>
                <c:pt idx="54">
                  <c:v>2.4773509299877497E-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40737801608579088"/>
          <c:min val="0.18705920295984374"/>
        </c:scaling>
        <c:delete val="0"/>
        <c:axPos val="b"/>
        <c:title>
          <c:tx>
            <c:rich>
              <a:bodyPr rot="0" spcFirstLastPara="1" vertOverflow="ellipsis" vert="horz" wrap="square" anchor="ctr" anchorCtr="1"/>
              <a:lstStyle/>
              <a:p>
                <a:pPr>
                  <a:defRPr sz="800" b="0">
                    <a:latin typeface="Nexa Bold"/>
                  </a:defRPr>
                </a:pPr>
                <a:r>
                  <a:rPr lang="en-US"/>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1291069944164441</c:v>
                </c:pt>
                <c:pt idx="1">
                  <c:v>0.13485892486555889</c:v>
                </c:pt>
                <c:pt idx="2">
                  <c:v>0.13361697278764331</c:v>
                </c:pt>
                <c:pt idx="3">
                  <c:v>0.13181455947245191</c:v>
                </c:pt>
                <c:pt idx="4">
                  <c:v>0.13079849733141291</c:v>
                </c:pt>
                <c:pt idx="5">
                  <c:v>0.12786527339341361</c:v>
                </c:pt>
                <c:pt idx="6">
                  <c:v>0.13389772495720559</c:v>
                </c:pt>
                <c:pt idx="7">
                  <c:v>0.1359519354250221</c:v>
                </c:pt>
                <c:pt idx="8">
                  <c:v>0.13408395448492219</c:v>
                </c:pt>
                <c:pt idx="9">
                  <c:v>0.1272173036352085</c:v>
                </c:pt>
                <c:pt idx="10">
                  <c:v>0.12580154817273331</c:v>
                </c:pt>
                <c:pt idx="11">
                  <c:v>0.1247833670603628</c:v>
                </c:pt>
                <c:pt idx="12">
                  <c:v>0.12616612542700109</c:v>
                </c:pt>
                <c:pt idx="13">
                  <c:v>0.13426073846412021</c:v>
                </c:pt>
                <c:pt idx="14">
                  <c:v>0.13040345544745011</c:v>
                </c:pt>
                <c:pt idx="15">
                  <c:v>0.12568196098787579</c:v>
                </c:pt>
                <c:pt idx="16">
                  <c:v>0.1284543866213313</c:v>
                </c:pt>
                <c:pt idx="17">
                  <c:v>0.13252000199740169</c:v>
                </c:pt>
                <c:pt idx="18">
                  <c:v>0.12612196270786419</c:v>
                </c:pt>
                <c:pt idx="19">
                  <c:v>0.13496886950214251</c:v>
                </c:pt>
                <c:pt idx="20">
                  <c:v>0.13064933940560819</c:v>
                </c:pt>
                <c:pt idx="21">
                  <c:v>0.12635635491031241</c:v>
                </c:pt>
                <c:pt idx="22">
                  <c:v>0.12863609693980929</c:v>
                </c:pt>
                <c:pt idx="23">
                  <c:v>0.13116494310893009</c:v>
                </c:pt>
                <c:pt idx="24">
                  <c:v>0.1278058186678292</c:v>
                </c:pt>
                <c:pt idx="25">
                  <c:v>0.1235932293079324</c:v>
                </c:pt>
                <c:pt idx="26">
                  <c:v>0.12290934252239009</c:v>
                </c:pt>
                <c:pt idx="27">
                  <c:v>0.12109503765009599</c:v>
                </c:pt>
                <c:pt idx="28">
                  <c:v>0.12207135397276341</c:v>
                </c:pt>
                <c:pt idx="29">
                  <c:v>0.1263122981136704</c:v>
                </c:pt>
                <c:pt idx="30">
                  <c:v>0.1263263635992006</c:v>
                </c:pt>
                <c:pt idx="31">
                  <c:v>0.12476889875077329</c:v>
                </c:pt>
                <c:pt idx="32">
                  <c:v>0.12674353123399981</c:v>
                </c:pt>
                <c:pt idx="33">
                  <c:v>0.12588695742723971</c:v>
                </c:pt>
                <c:pt idx="34">
                  <c:v>0.12390000002667199</c:v>
                </c:pt>
                <c:pt idx="35">
                  <c:v>0.12440850519118039</c:v>
                </c:pt>
                <c:pt idx="36">
                  <c:v>0.12336288941275771</c:v>
                </c:pt>
                <c:pt idx="37">
                  <c:v>0.1236579395008299</c:v>
                </c:pt>
                <c:pt idx="38">
                  <c:v>0.1244360084590832</c:v>
                </c:pt>
                <c:pt idx="39">
                  <c:v>0.12224083915887329</c:v>
                </c:pt>
                <c:pt idx="40">
                  <c:v>0.1219327444047168</c:v>
                </c:pt>
                <c:pt idx="41">
                  <c:v>0.1250560323566518</c:v>
                </c:pt>
                <c:pt idx="42">
                  <c:v>0.12745512740440279</c:v>
                </c:pt>
                <c:pt idx="43">
                  <c:v>0.1211984894858895</c:v>
                </c:pt>
                <c:pt idx="44">
                  <c:v>0.1258670226690102</c:v>
                </c:pt>
                <c:pt idx="45">
                  <c:v>0.1272339848348821</c:v>
                </c:pt>
                <c:pt idx="46">
                  <c:v>0.13490346412193621</c:v>
                </c:pt>
                <c:pt idx="47">
                  <c:v>0.1232399985423943</c:v>
                </c:pt>
                <c:pt idx="48">
                  <c:v>0.12311641114157899</c:v>
                </c:pt>
                <c:pt idx="49">
                  <c:v>0.1234350759255986</c:v>
                </c:pt>
                <c:pt idx="50">
                  <c:v>0.12419744604278141</c:v>
                </c:pt>
                <c:pt idx="51">
                  <c:v>0.13145508336915421</c:v>
                </c:pt>
                <c:pt idx="52">
                  <c:v>0.13109930113357529</c:v>
                </c:pt>
                <c:pt idx="53">
                  <c:v>0.13568928560863899</c:v>
                </c:pt>
                <c:pt idx="54">
                  <c:v>0.1285210371531505</c:v>
                </c:pt>
                <c:pt idx="55">
                  <c:v>0.1300753516373136</c:v>
                </c:pt>
                <c:pt idx="56">
                  <c:v>0.12489749950473671</c:v>
                </c:pt>
                <c:pt idx="57">
                  <c:v>0.10266521645136149</c:v>
                </c:pt>
                <c:pt idx="58">
                  <c:v>9.4621929093130358E-2</c:v>
                </c:pt>
                <c:pt idx="59">
                  <c:v>9.8212612965823731E-2</c:v>
                </c:pt>
                <c:pt idx="60">
                  <c:v>0.1102654339127445</c:v>
                </c:pt>
                <c:pt idx="61">
                  <c:v>0.1086326326560431</c:v>
                </c:pt>
                <c:pt idx="62">
                  <c:v>0.10273100071317991</c:v>
                </c:pt>
                <c:pt idx="63">
                  <c:v>0.1056131313298932</c:v>
                </c:pt>
                <c:pt idx="64">
                  <c:v>0.116037952360732</c:v>
                </c:pt>
                <c:pt idx="65">
                  <c:v>0.13065683342069531</c:v>
                </c:pt>
                <c:pt idx="66">
                  <c:v>0.132712182958446</c:v>
                </c:pt>
                <c:pt idx="67">
                  <c:v>0.12498087731066</c:v>
                </c:pt>
                <c:pt idx="68">
                  <c:v>0.1318623648264734</c:v>
                </c:pt>
                <c:pt idx="69">
                  <c:v>0.13405085209231629</c:v>
                </c:pt>
                <c:pt idx="70">
                  <c:v>0.12663942767242409</c:v>
                </c:pt>
                <c:pt idx="71">
                  <c:v>0.13715997078444109</c:v>
                </c:pt>
                <c:pt idx="72">
                  <c:v>0.1312699287114284</c:v>
                </c:pt>
                <c:pt idx="73">
                  <c:v>0.1290474255800157</c:v>
                </c:pt>
                <c:pt idx="74">
                  <c:v>0.12976627424972709</c:v>
                </c:pt>
                <c:pt idx="75">
                  <c:v>0.12686829869724861</c:v>
                </c:pt>
                <c:pt idx="76">
                  <c:v>0.1253623579280761</c:v>
                </c:pt>
                <c:pt idx="77">
                  <c:v>0.12968156222074531</c:v>
                </c:pt>
                <c:pt idx="78">
                  <c:v>0.12750329032649099</c:v>
                </c:pt>
                <c:pt idx="79">
                  <c:v>0.12461050546445129</c:v>
                </c:pt>
                <c:pt idx="80">
                  <c:v>0.12900335189603049</c:v>
                </c:pt>
                <c:pt idx="81">
                  <c:v>0.12741746962889991</c:v>
                </c:pt>
                <c:pt idx="82">
                  <c:v>0.1227246355993528</c:v>
                </c:pt>
                <c:pt idx="83">
                  <c:v>0.12325497363003669</c:v>
                </c:pt>
                <c:pt idx="84">
                  <c:v>0.1237777050026681</c:v>
                </c:pt>
                <c:pt idx="85">
                  <c:v>0.1227618684932686</c:v>
                </c:pt>
                <c:pt idx="86">
                  <c:v>0.12625273778634091</c:v>
                </c:pt>
                <c:pt idx="87">
                  <c:v>0.12848401925218161</c:v>
                </c:pt>
                <c:pt idx="88">
                  <c:v>0.12808991008793849</c:v>
                </c:pt>
                <c:pt idx="89">
                  <c:v>0.12669599383578639</c:v>
                </c:pt>
                <c:pt idx="90">
                  <c:v>0.128457244567205</c:v>
                </c:pt>
                <c:pt idx="91">
                  <c:v>0.1287495738807907</c:v>
                </c:pt>
                <c:pt idx="92">
                  <c:v>0.12753778198649329</c:v>
                </c:pt>
                <c:pt idx="93">
                  <c:v>0.12858384689357691</c:v>
                </c:pt>
                <c:pt idx="94">
                  <c:v>0.13053873342212541</c:v>
                </c:pt>
                <c:pt idx="95">
                  <c:v>0.1283681251237693</c:v>
                </c:pt>
                <c:pt idx="96">
                  <c:v>0.12712219330013799</c:v>
                </c:pt>
                <c:pt idx="97">
                  <c:v>0.12537888942730019</c:v>
                </c:pt>
                <c:pt idx="98">
                  <c:v>0.12745921704595151</c:v>
                </c:pt>
                <c:pt idx="99">
                  <c:v>0.1212266665697815</c:v>
                </c:pt>
                <c:pt idx="100">
                  <c:v>0.1141728668578047</c:v>
                </c:pt>
                <c:pt idx="101">
                  <c:v>0.115957494325048</c:v>
                </c:pt>
              </c:numCache>
            </c:numRef>
          </c:xVal>
          <c:yVal>
            <c:numRef>
              <c:f>Sheet1!$B$2:$B$103</c:f>
              <c:numCache>
                <c:formatCode>General</c:formatCode>
                <c:ptCount val="102"/>
                <c:pt idx="0">
                  <c:v>3.1549194168607013E-2</c:v>
                </c:pt>
                <c:pt idx="1">
                  <c:v>2.5925076493376501E-2</c:v>
                </c:pt>
                <c:pt idx="2">
                  <c:v>1.9457371147598559E-2</c:v>
                </c:pt>
                <c:pt idx="3">
                  <c:v>2.1005226955186751E-2</c:v>
                </c:pt>
                <c:pt idx="4">
                  <c:v>2.3683174888924512E-2</c:v>
                </c:pt>
                <c:pt idx="5">
                  <c:v>2.481491169212223E-2</c:v>
                </c:pt>
                <c:pt idx="6">
                  <c:v>2.2966901329024649E-2</c:v>
                </c:pt>
                <c:pt idx="7">
                  <c:v>2.1693356757167159E-2</c:v>
                </c:pt>
                <c:pt idx="8">
                  <c:v>2.508474647577718E-2</c:v>
                </c:pt>
                <c:pt idx="9">
                  <c:v>3.2219360006132687E-2</c:v>
                </c:pt>
                <c:pt idx="10">
                  <c:v>3.3455366889535383E-2</c:v>
                </c:pt>
                <c:pt idx="11">
                  <c:v>3.077420503855852E-2</c:v>
                </c:pt>
                <c:pt idx="12">
                  <c:v>3.166311843777065E-2</c:v>
                </c:pt>
                <c:pt idx="13">
                  <c:v>2.9573633835338661E-2</c:v>
                </c:pt>
                <c:pt idx="14">
                  <c:v>2.943829474961886E-2</c:v>
                </c:pt>
                <c:pt idx="15">
                  <c:v>3.2326555355538883E-2</c:v>
                </c:pt>
                <c:pt idx="16">
                  <c:v>3.045418321235838E-2</c:v>
                </c:pt>
                <c:pt idx="17">
                  <c:v>3.0177244147381321E-2</c:v>
                </c:pt>
                <c:pt idx="18">
                  <c:v>3.0949579617420529E-2</c:v>
                </c:pt>
                <c:pt idx="19">
                  <c:v>3.3044676701229417E-2</c:v>
                </c:pt>
                <c:pt idx="20">
                  <c:v>3.4502368865567047E-2</c:v>
                </c:pt>
                <c:pt idx="21">
                  <c:v>3.8171203781773647E-2</c:v>
                </c:pt>
                <c:pt idx="22">
                  <c:v>3.2633840746857157E-2</c:v>
                </c:pt>
                <c:pt idx="23">
                  <c:v>3.22851825867847E-2</c:v>
                </c:pt>
                <c:pt idx="24">
                  <c:v>3.4293774474369272E-2</c:v>
                </c:pt>
                <c:pt idx="25">
                  <c:v>3.3493331489235549E-2</c:v>
                </c:pt>
                <c:pt idx="26">
                  <c:v>3.2256296982208908E-2</c:v>
                </c:pt>
                <c:pt idx="27">
                  <c:v>3.256327154323236E-2</c:v>
                </c:pt>
                <c:pt idx="28">
                  <c:v>3.0215972855570969E-2</c:v>
                </c:pt>
                <c:pt idx="29">
                  <c:v>2.971323515475446E-2</c:v>
                </c:pt>
                <c:pt idx="30">
                  <c:v>2.9886044202056931E-2</c:v>
                </c:pt>
                <c:pt idx="31">
                  <c:v>3.0113049153545669E-2</c:v>
                </c:pt>
                <c:pt idx="32">
                  <c:v>3.0121682992946059E-2</c:v>
                </c:pt>
                <c:pt idx="33">
                  <c:v>2.8704102443482309E-2</c:v>
                </c:pt>
                <c:pt idx="34">
                  <c:v>3.0602403901330309E-2</c:v>
                </c:pt>
                <c:pt idx="35">
                  <c:v>3.1456536502498793E-2</c:v>
                </c:pt>
                <c:pt idx="36">
                  <c:v>3.1516667937295108E-2</c:v>
                </c:pt>
                <c:pt idx="37">
                  <c:v>3.3226585884057157E-2</c:v>
                </c:pt>
                <c:pt idx="38">
                  <c:v>3.3016326225624587E-2</c:v>
                </c:pt>
                <c:pt idx="39">
                  <c:v>3.0075909553288729E-2</c:v>
                </c:pt>
                <c:pt idx="40">
                  <c:v>3.030822714314705E-2</c:v>
                </c:pt>
                <c:pt idx="41">
                  <c:v>3.1273537834975489E-2</c:v>
                </c:pt>
                <c:pt idx="42">
                  <c:v>3.005901690014778E-2</c:v>
                </c:pt>
                <c:pt idx="43">
                  <c:v>3.0573863083611631E-2</c:v>
                </c:pt>
                <c:pt idx="44">
                  <c:v>3.254448153409624E-2</c:v>
                </c:pt>
                <c:pt idx="45">
                  <c:v>3.2420025270644671E-2</c:v>
                </c:pt>
                <c:pt idx="46">
                  <c:v>3.0841270586476861E-2</c:v>
                </c:pt>
                <c:pt idx="47">
                  <c:v>3.4545476528939613E-2</c:v>
                </c:pt>
                <c:pt idx="48">
                  <c:v>3.9378011399146942E-2</c:v>
                </c:pt>
                <c:pt idx="49">
                  <c:v>3.4585845792310457E-2</c:v>
                </c:pt>
                <c:pt idx="50">
                  <c:v>3.6889295123608737E-2</c:v>
                </c:pt>
                <c:pt idx="51">
                  <c:v>3.516974061970235E-2</c:v>
                </c:pt>
                <c:pt idx="52">
                  <c:v>3.3440411726256947E-2</c:v>
                </c:pt>
                <c:pt idx="53">
                  <c:v>3.0775515895011849E-2</c:v>
                </c:pt>
                <c:pt idx="54">
                  <c:v>2.856172806220978E-2</c:v>
                </c:pt>
                <c:pt idx="55">
                  <c:v>2.9260191711765832E-2</c:v>
                </c:pt>
                <c:pt idx="56">
                  <c:v>3.1178692703543051E-2</c:v>
                </c:pt>
                <c:pt idx="57">
                  <c:v>3.7031471681131703E-2</c:v>
                </c:pt>
                <c:pt idx="58">
                  <c:v>3.9909501581123753E-2</c:v>
                </c:pt>
                <c:pt idx="59">
                  <c:v>3.3090443177845791E-2</c:v>
                </c:pt>
                <c:pt idx="60">
                  <c:v>2.0429936026239701E-2</c:v>
                </c:pt>
                <c:pt idx="61">
                  <c:v>1.594233918003489E-2</c:v>
                </c:pt>
                <c:pt idx="62">
                  <c:v>2.6561543645322629E-2</c:v>
                </c:pt>
                <c:pt idx="63">
                  <c:v>3.5068893654044378E-2</c:v>
                </c:pt>
                <c:pt idx="64">
                  <c:v>3.0967228847484721E-2</c:v>
                </c:pt>
                <c:pt idx="65">
                  <c:v>2.602705616299417E-2</c:v>
                </c:pt>
                <c:pt idx="66">
                  <c:v>2.587150374122359E-2</c:v>
                </c:pt>
                <c:pt idx="67">
                  <c:v>2.691260699372984E-2</c:v>
                </c:pt>
                <c:pt idx="68">
                  <c:v>2.5874418970458959E-2</c:v>
                </c:pt>
                <c:pt idx="69">
                  <c:v>2.3193315376484971E-2</c:v>
                </c:pt>
                <c:pt idx="70">
                  <c:v>2.2686657383630061E-2</c:v>
                </c:pt>
                <c:pt idx="71">
                  <c:v>2.6189284143623481E-2</c:v>
                </c:pt>
                <c:pt idx="72">
                  <c:v>2.7336338114147821E-2</c:v>
                </c:pt>
                <c:pt idx="73">
                  <c:v>2.7740990571672709E-2</c:v>
                </c:pt>
                <c:pt idx="74">
                  <c:v>2.877527311984417E-2</c:v>
                </c:pt>
                <c:pt idx="75">
                  <c:v>2.8510329318482429E-2</c:v>
                </c:pt>
                <c:pt idx="76">
                  <c:v>2.7909474603405621E-2</c:v>
                </c:pt>
                <c:pt idx="77">
                  <c:v>2.354699792786898E-2</c:v>
                </c:pt>
                <c:pt idx="78">
                  <c:v>2.3516397046911521E-2</c:v>
                </c:pt>
                <c:pt idx="79">
                  <c:v>2.2115174941799771E-2</c:v>
                </c:pt>
                <c:pt idx="80">
                  <c:v>2.2268202762568419E-2</c:v>
                </c:pt>
                <c:pt idx="81">
                  <c:v>2.1244426266941788E-2</c:v>
                </c:pt>
                <c:pt idx="82">
                  <c:v>3.1177386289303839E-2</c:v>
                </c:pt>
                <c:pt idx="83">
                  <c:v>2.630647686699077E-2</c:v>
                </c:pt>
                <c:pt idx="84">
                  <c:v>2.5524833007679371E-2</c:v>
                </c:pt>
                <c:pt idx="85">
                  <c:v>2.6871534411513371E-2</c:v>
                </c:pt>
                <c:pt idx="86">
                  <c:v>2.6338851413823881E-2</c:v>
                </c:pt>
                <c:pt idx="87">
                  <c:v>2.464870108961555E-2</c:v>
                </c:pt>
                <c:pt idx="88">
                  <c:v>2.6238033764437702E-2</c:v>
                </c:pt>
                <c:pt idx="89">
                  <c:v>3.0191859532939729E-2</c:v>
                </c:pt>
                <c:pt idx="90">
                  <c:v>3.071685169632082E-2</c:v>
                </c:pt>
                <c:pt idx="91">
                  <c:v>3.1790352756617277E-2</c:v>
                </c:pt>
                <c:pt idx="92">
                  <c:v>2.9789485452214989E-2</c:v>
                </c:pt>
                <c:pt idx="93">
                  <c:v>2.7419432969366012E-2</c:v>
                </c:pt>
                <c:pt idx="94">
                  <c:v>2.5375304588112151E-2</c:v>
                </c:pt>
                <c:pt idx="95">
                  <c:v>2.727143524464504E-2</c:v>
                </c:pt>
                <c:pt idx="96">
                  <c:v>2.430072520573312E-2</c:v>
                </c:pt>
                <c:pt idx="97">
                  <c:v>2.5953063658202231E-2</c:v>
                </c:pt>
                <c:pt idx="98">
                  <c:v>2.870484051773789E-2</c:v>
                </c:pt>
                <c:pt idx="99">
                  <c:v>3.0161179689259059E-2</c:v>
                </c:pt>
                <c:pt idx="100">
                  <c:v>3.7558407981539428E-2</c:v>
                </c:pt>
                <c:pt idx="101">
                  <c:v>3.5796970668813113E-2</c:v>
                </c:pt>
              </c:numCache>
            </c:numRef>
          </c:yVal>
          <c:smooth val="0"/>
          <c:extLst>
            <c:ext xmlns:c16="http://schemas.microsoft.com/office/drawing/2014/chart" uri="{C3380CC4-5D6E-409C-BE32-E72D297353CC}">
              <c16:uniqueId val="{00000000-096C-4121-9522-6AB7243CCAAE}"/>
            </c:ext>
          </c:extLst>
        </c:ser>
        <c:ser>
          <c:idx val="1"/>
          <c:order val="1"/>
          <c:tx>
            <c:strRef>
              <c:f>Sheet1!$B$10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6:$A$157</c:f>
              <c:numCache>
                <c:formatCode>General</c:formatCode>
                <c:ptCount val="52"/>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numCache>
            </c:numRef>
          </c:xVal>
          <c:yVal>
            <c:numRef>
              <c:f>Sheet1!$B$106:$B$157</c:f>
              <c:numCache>
                <c:formatCode>General</c:formatCode>
                <c:ptCount val="52"/>
                <c:pt idx="0">
                  <c:v>3.3379430772150658E-2</c:v>
                </c:pt>
                <c:pt idx="1">
                  <c:v>3.5297770608354727E-2</c:v>
                </c:pt>
                <c:pt idx="2">
                  <c:v>3.603152077608085E-2</c:v>
                </c:pt>
                <c:pt idx="3">
                  <c:v>3.0978674639028671E-2</c:v>
                </c:pt>
                <c:pt idx="4">
                  <c:v>2.8133515753956471E-2</c:v>
                </c:pt>
                <c:pt idx="5">
                  <c:v>2.7512069607189622E-2</c:v>
                </c:pt>
                <c:pt idx="6">
                  <c:v>2.753590860107619E-2</c:v>
                </c:pt>
                <c:pt idx="7">
                  <c:v>2.7306049137985969E-2</c:v>
                </c:pt>
                <c:pt idx="8">
                  <c:v>2.683860754587173E-2</c:v>
                </c:pt>
                <c:pt idx="9">
                  <c:v>2.8577136215520639E-2</c:v>
                </c:pt>
                <c:pt idx="10">
                  <c:v>2.9045708307140341E-2</c:v>
                </c:pt>
                <c:pt idx="11">
                  <c:v>3.0151694267354031E-2</c:v>
                </c:pt>
                <c:pt idx="12">
                  <c:v>3.1278274774940933E-2</c:v>
                </c:pt>
                <c:pt idx="13">
                  <c:v>3.2623144271831599E-2</c:v>
                </c:pt>
                <c:pt idx="14">
                  <c:v>3.2081452766552027E-2</c:v>
                </c:pt>
                <c:pt idx="15">
                  <c:v>2.8476513020004542E-2</c:v>
                </c:pt>
                <c:pt idx="16">
                  <c:v>2.889792926206242E-2</c:v>
                </c:pt>
                <c:pt idx="17">
                  <c:v>2.8572345272906731E-2</c:v>
                </c:pt>
                <c:pt idx="18">
                  <c:v>2.758215728763419E-2</c:v>
                </c:pt>
                <c:pt idx="19">
                  <c:v>2.6684207925807661E-2</c:v>
                </c:pt>
                <c:pt idx="20">
                  <c:v>2.507409816863837E-2</c:v>
                </c:pt>
                <c:pt idx="21">
                  <c:v>3.7053775555914388E-2</c:v>
                </c:pt>
                <c:pt idx="22">
                  <c:v>4.1201839145334811E-2</c:v>
                </c:pt>
                <c:pt idx="23">
                  <c:v>3.952108516249337E-2</c:v>
                </c:pt>
                <c:pt idx="24">
                  <c:v>3.301132678213544E-2</c:v>
                </c:pt>
                <c:pt idx="25">
                  <c:v>3.4672282379825628E-2</c:v>
                </c:pt>
                <c:pt idx="26">
                  <c:v>3.6478521099227869E-2</c:v>
                </c:pt>
                <c:pt idx="27">
                  <c:v>3.1719960612283417E-2</c:v>
                </c:pt>
                <c:pt idx="28">
                  <c:v>2.9844699099281859E-2</c:v>
                </c:pt>
                <c:pt idx="29">
                  <c:v>2.824703792935155E-2</c:v>
                </c:pt>
                <c:pt idx="30">
                  <c:v>2.3926861689124789E-2</c:v>
                </c:pt>
                <c:pt idx="31">
                  <c:v>2.077067140814904E-2</c:v>
                </c:pt>
                <c:pt idx="32">
                  <c:v>2.3460558709885782E-2</c:v>
                </c:pt>
                <c:pt idx="33">
                  <c:v>3.042796286207031E-2</c:v>
                </c:pt>
                <c:pt idx="34">
                  <c:v>3.1037706913624011E-2</c:v>
                </c:pt>
                <c:pt idx="35">
                  <c:v>2.928997264422914E-2</c:v>
                </c:pt>
                <c:pt idx="36">
                  <c:v>2.9697936908540851E-2</c:v>
                </c:pt>
                <c:pt idx="37">
                  <c:v>3.0248130900335801E-2</c:v>
                </c:pt>
                <c:pt idx="38">
                  <c:v>3.5070387750061743E-2</c:v>
                </c:pt>
                <c:pt idx="39">
                  <c:v>3.120833777020552E-2</c:v>
                </c:pt>
                <c:pt idx="40">
                  <c:v>2.682679016675503E-2</c:v>
                </c:pt>
                <c:pt idx="41">
                  <c:v>2.4203784771293649E-2</c:v>
                </c:pt>
                <c:pt idx="42">
                  <c:v>2.4098053977022381E-2</c:v>
                </c:pt>
                <c:pt idx="43">
                  <c:v>2.4523754132153151E-2</c:v>
                </c:pt>
                <c:pt idx="44">
                  <c:v>2.2379504666963371E-2</c:v>
                </c:pt>
                <c:pt idx="45">
                  <c:v>2.104065524243157E-2</c:v>
                </c:pt>
                <c:pt idx="46">
                  <c:v>2.202824012890214E-2</c:v>
                </c:pt>
                <c:pt idx="47">
                  <c:v>2.3321641522021069E-2</c:v>
                </c:pt>
                <c:pt idx="48">
                  <c:v>2.5721900660138009E-2</c:v>
                </c:pt>
                <c:pt idx="49">
                  <c:v>2.4967370312040962E-2</c:v>
                </c:pt>
                <c:pt idx="50">
                  <c:v>2.603335979145837E-2</c:v>
                </c:pt>
                <c:pt idx="51">
                  <c:v>2.5702227757022279E-2</c:v>
                </c:pt>
              </c:numCache>
            </c:numRef>
          </c:yVal>
          <c:smooth val="0"/>
          <c:extLst>
            <c:ext xmlns:c16="http://schemas.microsoft.com/office/drawing/2014/chart" uri="{C3380CC4-5D6E-409C-BE32-E72D297353CC}">
              <c16:uniqueId val="{00000002-096C-4121-9522-6AB7243CCAAE}"/>
            </c:ext>
          </c:extLst>
        </c:ser>
        <c:ser>
          <c:idx val="2"/>
          <c:order val="2"/>
          <c:tx>
            <c:strRef>
              <c:f>Sheet1!$B$15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0:$A$161</c:f>
              <c:numCache>
                <c:formatCode>General</c:formatCode>
                <c:ptCount val="2"/>
                <c:pt idx="0">
                  <c:v>0</c:v>
                </c:pt>
                <c:pt idx="1">
                  <c:v>0.1108820277239114</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5-096C-4121-9522-6AB7243CCAAE}"/>
            </c:ext>
          </c:extLst>
        </c:ser>
        <c:ser>
          <c:idx val="3"/>
          <c:order val="3"/>
          <c:tx>
            <c:strRef>
              <c:f>Sheet1!$B$16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0.1108820277239114</c:v>
                </c:pt>
                <c:pt idx="1">
                  <c:v>0.1108820277239114</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8:$A$169</c:f>
              <c:numCache>
                <c:formatCode>General</c:formatCode>
                <c:ptCount val="2"/>
                <c:pt idx="0">
                  <c:v>0</c:v>
                </c:pt>
                <c:pt idx="1">
                  <c:v>0.11732114474802791</c:v>
                </c:pt>
              </c:numCache>
            </c:numRef>
          </c:xVal>
          <c:yVal>
            <c:numRef>
              <c:f>Sheet1!$B$168:$B$169</c:f>
              <c:numCache>
                <c:formatCode>General</c:formatCode>
                <c:ptCount val="2"/>
                <c:pt idx="0">
                  <c:v>3.1101577984060609E-2</c:v>
                </c:pt>
                <c:pt idx="1">
                  <c:v>3.1101577984060609E-2</c:v>
                </c:pt>
              </c:numCache>
            </c:numRef>
          </c:yVal>
          <c:smooth val="0"/>
          <c:extLst>
            <c:ext xmlns:c16="http://schemas.microsoft.com/office/drawing/2014/chart" uri="{C3380CC4-5D6E-409C-BE32-E72D297353CC}">
              <c16:uniqueId val="{0000000D-096C-4121-9522-6AB7243CCAAE}"/>
            </c:ext>
          </c:extLst>
        </c:ser>
        <c:ser>
          <c:idx val="5"/>
          <c:order val="5"/>
          <c:tx>
            <c:strRef>
              <c:f>Sheet1!$B$17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0.11732114474802791</c:v>
                </c:pt>
                <c:pt idx="1">
                  <c:v>0.11732114474802791</c:v>
                </c:pt>
              </c:numCache>
            </c:numRef>
          </c:xVal>
          <c:yVal>
            <c:numRef>
              <c:f>Sheet1!$B$172:$B$173</c:f>
              <c:numCache>
                <c:formatCode>General</c:formatCode>
                <c:ptCount val="2"/>
                <c:pt idx="0">
                  <c:v>3.1101577984060609E-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6:$A$177</c:f>
              <c:numCache>
                <c:formatCode>General</c:formatCode>
                <c:ptCount val="2"/>
                <c:pt idx="0">
                  <c:v>0</c:v>
                </c:pt>
                <c:pt idx="1">
                  <c:v>0.13512234665834599</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5-096C-4121-9522-6AB7243CCAAE}"/>
            </c:ext>
          </c:extLst>
        </c:ser>
        <c:ser>
          <c:idx val="7"/>
          <c:order val="7"/>
          <c:tx>
            <c:strRef>
              <c:f>Sheet1!$B$17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0:$A$181</c:f>
              <c:numCache>
                <c:formatCode>General</c:formatCode>
                <c:ptCount val="2"/>
                <c:pt idx="0">
                  <c:v>0.13512234665834599</c:v>
                </c:pt>
                <c:pt idx="1">
                  <c:v>0.13512234665834599</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4:$A$238</c:f>
              <c:numCache>
                <c:formatCode>General</c:formatCode>
                <c:ptCount val="55"/>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pt idx="52">
                  <c:v>0.11732114474802791</c:v>
                </c:pt>
                <c:pt idx="53">
                  <c:v>0.1108820277239114</c:v>
                </c:pt>
                <c:pt idx="54">
                  <c:v>0.13512234665834599</c:v>
                </c:pt>
              </c:numCache>
            </c:numRef>
          </c:xVal>
          <c:yVal>
            <c:numRef>
              <c:f>Sheet1!$B$184:$B$238</c:f>
              <c:numCache>
                <c:formatCode>General</c:formatCode>
                <c:ptCount val="55"/>
                <c:pt idx="0">
                  <c:v>3.1620668745252142E-2</c:v>
                </c:pt>
                <c:pt idx="1">
                  <c:v>3.1654790245678951E-2</c:v>
                </c:pt>
                <c:pt idx="2">
                  <c:v>3.2783325344754151E-2</c:v>
                </c:pt>
                <c:pt idx="3">
                  <c:v>3.022688607526958E-2</c:v>
                </c:pt>
                <c:pt idx="4">
                  <c:v>2.8540776744242852E-2</c:v>
                </c:pt>
                <c:pt idx="5">
                  <c:v>2.8198639317480349E-2</c:v>
                </c:pt>
                <c:pt idx="6">
                  <c:v>2.8149354774764782E-2</c:v>
                </c:pt>
                <c:pt idx="7">
                  <c:v>2.8199004366077019E-2</c:v>
                </c:pt>
                <c:pt idx="8">
                  <c:v>3.0157282303857849E-2</c:v>
                </c:pt>
                <c:pt idx="9">
                  <c:v>2.9717490317624731E-2</c:v>
                </c:pt>
                <c:pt idx="10">
                  <c:v>2.880162617160174E-2</c:v>
                </c:pt>
                <c:pt idx="11">
                  <c:v>3.0799476543192809E-2</c:v>
                </c:pt>
                <c:pt idx="12">
                  <c:v>2.8080121278043681E-2</c:v>
                </c:pt>
                <c:pt idx="13">
                  <c:v>2.8247092051713919E-2</c:v>
                </c:pt>
                <c:pt idx="14">
                  <c:v>2.639540124703324E-2</c:v>
                </c:pt>
                <c:pt idx="15">
                  <c:v>1.9220157910636009E-2</c:v>
                </c:pt>
                <c:pt idx="16">
                  <c:v>2.9292926757015069E-2</c:v>
                </c:pt>
                <c:pt idx="17">
                  <c:v>2.9541107656935999E-2</c:v>
                </c:pt>
                <c:pt idx="18">
                  <c:v>3.1154431279754719E-2</c:v>
                </c:pt>
                <c:pt idx="19">
                  <c:v>2.9461129531890291E-2</c:v>
                </c:pt>
                <c:pt idx="20">
                  <c:v>3.0313783713891131E-2</c:v>
                </c:pt>
                <c:pt idx="21">
                  <c:v>3.3508822667282862E-2</c:v>
                </c:pt>
                <c:pt idx="22">
                  <c:v>3.4739165058279807E-2</c:v>
                </c:pt>
                <c:pt idx="23">
                  <c:v>3.3561500120319547E-2</c:v>
                </c:pt>
                <c:pt idx="24">
                  <c:v>3.0961282548418428E-2</c:v>
                </c:pt>
                <c:pt idx="25">
                  <c:v>3.325613118609181E-2</c:v>
                </c:pt>
                <c:pt idx="26">
                  <c:v>3.230935798656305E-2</c:v>
                </c:pt>
                <c:pt idx="27">
                  <c:v>3.0186042242885399E-2</c:v>
                </c:pt>
                <c:pt idx="28">
                  <c:v>2.9826699740302571E-2</c:v>
                </c:pt>
                <c:pt idx="29">
                  <c:v>2.8461825588360749E-2</c:v>
                </c:pt>
                <c:pt idx="30">
                  <c:v>2.6667445839888119E-2</c:v>
                </c:pt>
                <c:pt idx="31">
                  <c:v>2.9333797528733729E-2</c:v>
                </c:pt>
                <c:pt idx="32">
                  <c:v>2.8469462201818171E-2</c:v>
                </c:pt>
                <c:pt idx="33">
                  <c:v>3.1278574864500211E-2</c:v>
                </c:pt>
                <c:pt idx="34">
                  <c:v>3.362517184260494E-2</c:v>
                </c:pt>
                <c:pt idx="35">
                  <c:v>3.1259339751075838E-2</c:v>
                </c:pt>
                <c:pt idx="36">
                  <c:v>3.2466678789921898E-2</c:v>
                </c:pt>
                <c:pt idx="37">
                  <c:v>3.336561461501103E-2</c:v>
                </c:pt>
                <c:pt idx="38">
                  <c:v>3.1897061212580187E-2</c:v>
                </c:pt>
                <c:pt idx="39">
                  <c:v>3.0591232179052279E-2</c:v>
                </c:pt>
                <c:pt idx="40">
                  <c:v>2.6490890509876141E-2</c:v>
                </c:pt>
                <c:pt idx="41">
                  <c:v>2.5005655171483909E-2</c:v>
                </c:pt>
                <c:pt idx="42">
                  <c:v>2.471524594195228E-2</c:v>
                </c:pt>
                <c:pt idx="43">
                  <c:v>2.5740688254943609E-2</c:v>
                </c:pt>
                <c:pt idx="44">
                  <c:v>2.534241769031121E-2</c:v>
                </c:pt>
                <c:pt idx="45">
                  <c:v>2.5785004878787769E-2</c:v>
                </c:pt>
                <c:pt idx="46">
                  <c:v>2.6712805427711591E-2</c:v>
                </c:pt>
                <c:pt idx="47">
                  <c:v>2.6016063432124481E-2</c:v>
                </c:pt>
                <c:pt idx="48">
                  <c:v>2.645901837190287E-2</c:v>
                </c:pt>
                <c:pt idx="49">
                  <c:v>2.253097533810856E-2</c:v>
                </c:pt>
                <c:pt idx="50">
                  <c:v>2.3407974477709061E-2</c:v>
                </c:pt>
                <c:pt idx="51">
                  <c:v>2.5267129597052979E-2</c:v>
                </c:pt>
                <c:pt idx="52">
                  <c:v>3.1101577984060599E-2</c:v>
                </c:pt>
                <c:pt idx="53">
                  <c:v>3.3390590546211449E-2</c:v>
                </c:pt>
                <c:pt idx="54">
                  <c:v>2.47735092998775E-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18089307194123574"/>
          <c:min val="7.5697543274504286E-2"/>
        </c:scaling>
        <c:delete val="0"/>
        <c:axPos val="b"/>
        <c:title>
          <c:tx>
            <c:rich>
              <a:bodyPr rot="0" spcFirstLastPara="1" vertOverflow="ellipsis" vert="horz" wrap="square" anchor="ctr" anchorCtr="1"/>
              <a:lstStyle/>
              <a:p>
                <a:pPr>
                  <a:defRPr sz="800" b="0">
                    <a:solidFill>
                      <a:srgbClr val="575555"/>
                    </a:solidFill>
                    <a:latin typeface="Nexa Bold"/>
                  </a:defRPr>
                </a:pPr>
                <a:r>
                  <a:rPr lang="en-US"/>
                  <a:t>Price Ix vs. Gillette Fusion5</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3084051742229012</c:v>
                </c:pt>
                <c:pt idx="1">
                  <c:v>0.31591786351078627</c:v>
                </c:pt>
                <c:pt idx="2">
                  <c:v>0.32058023334902946</c:v>
                </c:pt>
                <c:pt idx="3">
                  <c:v>0.31551466024025998</c:v>
                </c:pt>
                <c:pt idx="4">
                  <c:v>0.31248983133575575</c:v>
                </c:pt>
                <c:pt idx="5">
                  <c:v>0.31209899175068745</c:v>
                </c:pt>
                <c:pt idx="6">
                  <c:v>0.31243915630070307</c:v>
                </c:pt>
                <c:pt idx="7">
                  <c:v>0.3133619793471481</c:v>
                </c:pt>
                <c:pt idx="8">
                  <c:v>0.31671907756813417</c:v>
                </c:pt>
                <c:pt idx="9">
                  <c:v>0.31082322826247477</c:v>
                </c:pt>
                <c:pt idx="10">
                  <c:v>0.31047212859141043</c:v>
                </c:pt>
                <c:pt idx="11">
                  <c:v>0.30851195946449417</c:v>
                </c:pt>
                <c:pt idx="12">
                  <c:v>0.30743476600274672</c:v>
                </c:pt>
                <c:pt idx="13">
                  <c:v>0.30557876018361524</c:v>
                </c:pt>
                <c:pt idx="14">
                  <c:v>0.30608180521683359</c:v>
                </c:pt>
                <c:pt idx="15">
                  <c:v>0.30537959003209308</c:v>
                </c:pt>
                <c:pt idx="16">
                  <c:v>0.30479028449342177</c:v>
                </c:pt>
                <c:pt idx="17">
                  <c:v>0.30535697989231286</c:v>
                </c:pt>
                <c:pt idx="18">
                  <c:v>0.30758733419811496</c:v>
                </c:pt>
                <c:pt idx="19">
                  <c:v>0.30384356418742708</c:v>
                </c:pt>
                <c:pt idx="20">
                  <c:v>0.30255871389344829</c:v>
                </c:pt>
                <c:pt idx="21">
                  <c:v>0.30131492720175512</c:v>
                </c:pt>
                <c:pt idx="22">
                  <c:v>0.30402402402402401</c:v>
                </c:pt>
                <c:pt idx="23">
                  <c:v>0.3041818228723267</c:v>
                </c:pt>
                <c:pt idx="24">
                  <c:v>0.30380595989557657</c:v>
                </c:pt>
                <c:pt idx="25">
                  <c:v>0.30266464709715091</c:v>
                </c:pt>
                <c:pt idx="26">
                  <c:v>0.30198090992432275</c:v>
                </c:pt>
                <c:pt idx="27">
                  <c:v>0.30261018186645428</c:v>
                </c:pt>
                <c:pt idx="28">
                  <c:v>0.30379475941413642</c:v>
                </c:pt>
                <c:pt idx="29">
                  <c:v>0.30510575091808745</c:v>
                </c:pt>
                <c:pt idx="30">
                  <c:v>0.30547263681592041</c:v>
                </c:pt>
                <c:pt idx="31">
                  <c:v>0.30191808942530629</c:v>
                </c:pt>
                <c:pt idx="32">
                  <c:v>0.30004016835781272</c:v>
                </c:pt>
                <c:pt idx="33">
                  <c:v>0.30140260803244229</c:v>
                </c:pt>
                <c:pt idx="34">
                  <c:v>0.30315931183998879</c:v>
                </c:pt>
                <c:pt idx="35">
                  <c:v>0.30423707530585153</c:v>
                </c:pt>
                <c:pt idx="36">
                  <c:v>0.30339368848493503</c:v>
                </c:pt>
                <c:pt idx="37">
                  <c:v>0.30312142377964563</c:v>
                </c:pt>
                <c:pt idx="38">
                  <c:v>0.30421477922015827</c:v>
                </c:pt>
                <c:pt idx="39">
                  <c:v>0.30360700245050509</c:v>
                </c:pt>
                <c:pt idx="40">
                  <c:v>0.30482776067799466</c:v>
                </c:pt>
                <c:pt idx="41">
                  <c:v>0.30496561046396053</c:v>
                </c:pt>
                <c:pt idx="42">
                  <c:v>0.30474260101509459</c:v>
                </c:pt>
                <c:pt idx="43">
                  <c:v>0.30487658997567685</c:v>
                </c:pt>
                <c:pt idx="44">
                  <c:v>0.30417377406912238</c:v>
                </c:pt>
                <c:pt idx="45">
                  <c:v>0.30429474182711519</c:v>
                </c:pt>
                <c:pt idx="46">
                  <c:v>0.30416987037597953</c:v>
                </c:pt>
                <c:pt idx="47">
                  <c:v>0.30177142857142858</c:v>
                </c:pt>
                <c:pt idx="48">
                  <c:v>0.30034428178139644</c:v>
                </c:pt>
                <c:pt idx="49">
                  <c:v>0.30020553910468561</c:v>
                </c:pt>
                <c:pt idx="50">
                  <c:v>0.30020393921120919</c:v>
                </c:pt>
                <c:pt idx="51">
                  <c:v>0.30029572161037082</c:v>
                </c:pt>
                <c:pt idx="52">
                  <c:v>0.30085731375024921</c:v>
                </c:pt>
                <c:pt idx="53">
                  <c:v>0.30374794069192751</c:v>
                </c:pt>
                <c:pt idx="54">
                  <c:v>0.30475569923731716</c:v>
                </c:pt>
                <c:pt idx="55">
                  <c:v>0.30484411191281596</c:v>
                </c:pt>
                <c:pt idx="56">
                  <c:v>0.29666067320451317</c:v>
                </c:pt>
                <c:pt idx="57">
                  <c:v>0.25400835544515327</c:v>
                </c:pt>
                <c:pt idx="58">
                  <c:v>0.23382400369980466</c:v>
                </c:pt>
                <c:pt idx="59">
                  <c:v>0.23943026116791946</c:v>
                </c:pt>
                <c:pt idx="60">
                  <c:v>0.25369491863085675</c:v>
                </c:pt>
                <c:pt idx="61">
                  <c:v>0.26335839430757868</c:v>
                </c:pt>
                <c:pt idx="62">
                  <c:v>0.24811366501794199</c:v>
                </c:pt>
                <c:pt idx="63">
                  <c:v>0.25331883600138116</c:v>
                </c:pt>
                <c:pt idx="64">
                  <c:v>0.27606841827999473</c:v>
                </c:pt>
                <c:pt idx="65">
                  <c:v>0.28160478817918266</c:v>
                </c:pt>
                <c:pt idx="66">
                  <c:v>0.29229782021117312</c:v>
                </c:pt>
                <c:pt idx="67">
                  <c:v>0.30127414335954045</c:v>
                </c:pt>
                <c:pt idx="68">
                  <c:v>0.30305886879569066</c:v>
                </c:pt>
                <c:pt idx="69">
                  <c:v>0.30492991022208221</c:v>
                </c:pt>
                <c:pt idx="70">
                  <c:v>0.30628978911194849</c:v>
                </c:pt>
                <c:pt idx="71">
                  <c:v>0.30507690665654685</c:v>
                </c:pt>
                <c:pt idx="72">
                  <c:v>0.30607670596048481</c:v>
                </c:pt>
                <c:pt idx="73">
                  <c:v>0.3116373241246056</c:v>
                </c:pt>
                <c:pt idx="74">
                  <c:v>0.31424842998124136</c:v>
                </c:pt>
                <c:pt idx="75">
                  <c:v>0.31320176754871626</c:v>
                </c:pt>
                <c:pt idx="76">
                  <c:v>0.31380953870863448</c:v>
                </c:pt>
                <c:pt idx="77">
                  <c:v>0.32590348409435188</c:v>
                </c:pt>
                <c:pt idx="78">
                  <c:v>0.33061711871301291</c:v>
                </c:pt>
                <c:pt idx="79">
                  <c:v>0.33376024237416513</c:v>
                </c:pt>
                <c:pt idx="80">
                  <c:v>0.334863282523373</c:v>
                </c:pt>
                <c:pt idx="81">
                  <c:v>0.33732775797715603</c:v>
                </c:pt>
                <c:pt idx="82">
                  <c:v>0.3340239432262419</c:v>
                </c:pt>
                <c:pt idx="83">
                  <c:v>0.32813911724353323</c:v>
                </c:pt>
                <c:pt idx="84">
                  <c:v>0.32451377453380215</c:v>
                </c:pt>
                <c:pt idx="85">
                  <c:v>0.3242920313313794</c:v>
                </c:pt>
                <c:pt idx="86">
                  <c:v>0.32834757834757833</c:v>
                </c:pt>
                <c:pt idx="87">
                  <c:v>0.33024565689467972</c:v>
                </c:pt>
                <c:pt idx="88">
                  <c:v>0.33047076978575868</c:v>
                </c:pt>
                <c:pt idx="89">
                  <c:v>0.32960364974033468</c:v>
                </c:pt>
                <c:pt idx="90">
                  <c:v>0.32877782475231143</c:v>
                </c:pt>
                <c:pt idx="91">
                  <c:v>0.33265505668454848</c:v>
                </c:pt>
                <c:pt idx="92">
                  <c:v>0.33383080669232584</c:v>
                </c:pt>
                <c:pt idx="93">
                  <c:v>0.33445095599479496</c:v>
                </c:pt>
                <c:pt idx="94">
                  <c:v>0.33425385899470356</c:v>
                </c:pt>
                <c:pt idx="95">
                  <c:v>0.33302358553829059</c:v>
                </c:pt>
                <c:pt idx="96">
                  <c:v>0.3331230702831911</c:v>
                </c:pt>
                <c:pt idx="97">
                  <c:v>0.33248279672509923</c:v>
                </c:pt>
                <c:pt idx="98">
                  <c:v>0.33184443040565192</c:v>
                </c:pt>
                <c:pt idx="99">
                  <c:v>0.31234357273380736</c:v>
                </c:pt>
                <c:pt idx="100">
                  <c:v>0.30123106937136429</c:v>
                </c:pt>
                <c:pt idx="101">
                  <c:v>0.30056872662328632</c:v>
                </c:pt>
              </c:numCache>
            </c:numRef>
          </c:xVal>
          <c:yVal>
            <c:numRef>
              <c:f>Sheet1!$B$2:$B$103</c:f>
              <c:numCache>
                <c:formatCode>General</c:formatCode>
                <c:ptCount val="102"/>
                <c:pt idx="0">
                  <c:v>3.1549194168607006E-2</c:v>
                </c:pt>
                <c:pt idx="1">
                  <c:v>2.5925076493376501E-2</c:v>
                </c:pt>
                <c:pt idx="2">
                  <c:v>1.9457371147598559E-2</c:v>
                </c:pt>
                <c:pt idx="3">
                  <c:v>2.1005226955186754E-2</c:v>
                </c:pt>
                <c:pt idx="4">
                  <c:v>2.3683174888924508E-2</c:v>
                </c:pt>
                <c:pt idx="5">
                  <c:v>2.4814911692122233E-2</c:v>
                </c:pt>
                <c:pt idx="6">
                  <c:v>2.2966901329024649E-2</c:v>
                </c:pt>
                <c:pt idx="7">
                  <c:v>2.1693356757167159E-2</c:v>
                </c:pt>
                <c:pt idx="8">
                  <c:v>2.508474647577718E-2</c:v>
                </c:pt>
                <c:pt idx="9">
                  <c:v>3.2219360006132694E-2</c:v>
                </c:pt>
                <c:pt idx="10">
                  <c:v>3.3455366889535383E-2</c:v>
                </c:pt>
                <c:pt idx="11">
                  <c:v>3.0774205038558523E-2</c:v>
                </c:pt>
                <c:pt idx="12">
                  <c:v>3.166311843777065E-2</c:v>
                </c:pt>
                <c:pt idx="13">
                  <c:v>2.9573633835338665E-2</c:v>
                </c:pt>
                <c:pt idx="14">
                  <c:v>2.9438294749618857E-2</c:v>
                </c:pt>
                <c:pt idx="15">
                  <c:v>3.2326555355538883E-2</c:v>
                </c:pt>
                <c:pt idx="16">
                  <c:v>3.0454183212358377E-2</c:v>
                </c:pt>
                <c:pt idx="17">
                  <c:v>3.0177244147381318E-2</c:v>
                </c:pt>
                <c:pt idx="18">
                  <c:v>3.0949579617420526E-2</c:v>
                </c:pt>
                <c:pt idx="19">
                  <c:v>3.3044676701229417E-2</c:v>
                </c:pt>
                <c:pt idx="20">
                  <c:v>3.4502368865567047E-2</c:v>
                </c:pt>
                <c:pt idx="21">
                  <c:v>3.8171203781773647E-2</c:v>
                </c:pt>
                <c:pt idx="22">
                  <c:v>3.2633840746857157E-2</c:v>
                </c:pt>
                <c:pt idx="23">
                  <c:v>3.22851825867847E-2</c:v>
                </c:pt>
                <c:pt idx="24">
                  <c:v>3.4293774474369265E-2</c:v>
                </c:pt>
                <c:pt idx="25">
                  <c:v>3.3493331489235549E-2</c:v>
                </c:pt>
                <c:pt idx="26">
                  <c:v>3.2256296982208908E-2</c:v>
                </c:pt>
                <c:pt idx="27">
                  <c:v>3.256327154323236E-2</c:v>
                </c:pt>
                <c:pt idx="28">
                  <c:v>3.0215972855570965E-2</c:v>
                </c:pt>
                <c:pt idx="29">
                  <c:v>2.971323515475446E-2</c:v>
                </c:pt>
                <c:pt idx="30">
                  <c:v>2.9886044202056927E-2</c:v>
                </c:pt>
                <c:pt idx="31">
                  <c:v>3.0113049153545669E-2</c:v>
                </c:pt>
                <c:pt idx="32">
                  <c:v>3.0121682992946059E-2</c:v>
                </c:pt>
                <c:pt idx="33">
                  <c:v>2.8704102443482309E-2</c:v>
                </c:pt>
                <c:pt idx="34">
                  <c:v>3.0602403901330309E-2</c:v>
                </c:pt>
                <c:pt idx="35">
                  <c:v>3.1456536502498786E-2</c:v>
                </c:pt>
                <c:pt idx="36">
                  <c:v>3.1516667937295108E-2</c:v>
                </c:pt>
                <c:pt idx="37">
                  <c:v>3.3226585884057164E-2</c:v>
                </c:pt>
                <c:pt idx="38">
                  <c:v>3.3016326225624587E-2</c:v>
                </c:pt>
                <c:pt idx="39">
                  <c:v>3.0075909553288729E-2</c:v>
                </c:pt>
                <c:pt idx="40">
                  <c:v>3.0308227143147046E-2</c:v>
                </c:pt>
                <c:pt idx="41">
                  <c:v>3.1273537834975489E-2</c:v>
                </c:pt>
                <c:pt idx="42">
                  <c:v>3.0059016900147784E-2</c:v>
                </c:pt>
                <c:pt idx="43">
                  <c:v>3.0573863083611635E-2</c:v>
                </c:pt>
                <c:pt idx="44">
                  <c:v>3.254448153409624E-2</c:v>
                </c:pt>
                <c:pt idx="45">
                  <c:v>3.2420025270644671E-2</c:v>
                </c:pt>
                <c:pt idx="46">
                  <c:v>3.0841270586476857E-2</c:v>
                </c:pt>
                <c:pt idx="47">
                  <c:v>3.4545476528939606E-2</c:v>
                </c:pt>
                <c:pt idx="48">
                  <c:v>3.9378011399146942E-2</c:v>
                </c:pt>
                <c:pt idx="49">
                  <c:v>3.4585845792310457E-2</c:v>
                </c:pt>
                <c:pt idx="50">
                  <c:v>3.6889295123608744E-2</c:v>
                </c:pt>
                <c:pt idx="51">
                  <c:v>3.516974061970235E-2</c:v>
                </c:pt>
                <c:pt idx="52">
                  <c:v>3.3440411726256954E-2</c:v>
                </c:pt>
                <c:pt idx="53">
                  <c:v>3.0775515895011849E-2</c:v>
                </c:pt>
                <c:pt idx="54">
                  <c:v>2.856172806220978E-2</c:v>
                </c:pt>
                <c:pt idx="55">
                  <c:v>2.9260191711765828E-2</c:v>
                </c:pt>
                <c:pt idx="56">
                  <c:v>3.1178692703543048E-2</c:v>
                </c:pt>
                <c:pt idx="57">
                  <c:v>3.7031471681131703E-2</c:v>
                </c:pt>
                <c:pt idx="58">
                  <c:v>3.9909501581123753E-2</c:v>
                </c:pt>
                <c:pt idx="59">
                  <c:v>3.3090443177845791E-2</c:v>
                </c:pt>
                <c:pt idx="60">
                  <c:v>2.0429936026239697E-2</c:v>
                </c:pt>
                <c:pt idx="61">
                  <c:v>1.5942339180034886E-2</c:v>
                </c:pt>
                <c:pt idx="62">
                  <c:v>2.6561543645322632E-2</c:v>
                </c:pt>
                <c:pt idx="63">
                  <c:v>3.5068893654044385E-2</c:v>
                </c:pt>
                <c:pt idx="64">
                  <c:v>3.0967228847484717E-2</c:v>
                </c:pt>
                <c:pt idx="65">
                  <c:v>2.6027056162994167E-2</c:v>
                </c:pt>
                <c:pt idx="66">
                  <c:v>2.5871503741223587E-2</c:v>
                </c:pt>
                <c:pt idx="67">
                  <c:v>2.691260699372984E-2</c:v>
                </c:pt>
                <c:pt idx="68">
                  <c:v>2.5874418970458959E-2</c:v>
                </c:pt>
                <c:pt idx="69">
                  <c:v>2.3193315376484971E-2</c:v>
                </c:pt>
                <c:pt idx="70">
                  <c:v>2.2686657383630057E-2</c:v>
                </c:pt>
                <c:pt idx="71">
                  <c:v>2.6189284143623485E-2</c:v>
                </c:pt>
                <c:pt idx="72">
                  <c:v>2.7336338114147821E-2</c:v>
                </c:pt>
                <c:pt idx="73">
                  <c:v>2.7740990571672709E-2</c:v>
                </c:pt>
                <c:pt idx="74">
                  <c:v>2.8775273119844166E-2</c:v>
                </c:pt>
                <c:pt idx="75">
                  <c:v>2.8510329318482425E-2</c:v>
                </c:pt>
                <c:pt idx="76">
                  <c:v>2.7909474603405617E-2</c:v>
                </c:pt>
                <c:pt idx="77">
                  <c:v>2.354699792786898E-2</c:v>
                </c:pt>
                <c:pt idx="78">
                  <c:v>2.3516397046911525E-2</c:v>
                </c:pt>
                <c:pt idx="79">
                  <c:v>2.2115174941799768E-2</c:v>
                </c:pt>
                <c:pt idx="80">
                  <c:v>2.2268202762568419E-2</c:v>
                </c:pt>
                <c:pt idx="81">
                  <c:v>2.1244426266941792E-2</c:v>
                </c:pt>
                <c:pt idx="82">
                  <c:v>3.1177386289303839E-2</c:v>
                </c:pt>
                <c:pt idx="83">
                  <c:v>2.6306476866990773E-2</c:v>
                </c:pt>
                <c:pt idx="84">
                  <c:v>2.5524833007679375E-2</c:v>
                </c:pt>
                <c:pt idx="85">
                  <c:v>2.6871534411513368E-2</c:v>
                </c:pt>
                <c:pt idx="86">
                  <c:v>2.6338851413823878E-2</c:v>
                </c:pt>
                <c:pt idx="87">
                  <c:v>2.4648701089615546E-2</c:v>
                </c:pt>
                <c:pt idx="88">
                  <c:v>2.6238033764437702E-2</c:v>
                </c:pt>
                <c:pt idx="89">
                  <c:v>3.0191859532939729E-2</c:v>
                </c:pt>
                <c:pt idx="90">
                  <c:v>3.0716851696320817E-2</c:v>
                </c:pt>
                <c:pt idx="91">
                  <c:v>3.1790352756617284E-2</c:v>
                </c:pt>
                <c:pt idx="92">
                  <c:v>2.9789485452214992E-2</c:v>
                </c:pt>
                <c:pt idx="93">
                  <c:v>2.7419432969366012E-2</c:v>
                </c:pt>
                <c:pt idx="94">
                  <c:v>2.5375304588112154E-2</c:v>
                </c:pt>
                <c:pt idx="95">
                  <c:v>2.7271435244645044E-2</c:v>
                </c:pt>
                <c:pt idx="96">
                  <c:v>2.4300725205733124E-2</c:v>
                </c:pt>
                <c:pt idx="97">
                  <c:v>2.5953063658202231E-2</c:v>
                </c:pt>
                <c:pt idx="98">
                  <c:v>2.870484051773789E-2</c:v>
                </c:pt>
                <c:pt idx="99">
                  <c:v>3.0161179689259059E-2</c:v>
                </c:pt>
                <c:pt idx="100">
                  <c:v>3.7558407981539428E-2</c:v>
                </c:pt>
                <c:pt idx="101">
                  <c:v>3.5796970668813106E-2</c:v>
                </c:pt>
              </c:numCache>
            </c:numRef>
          </c:yVal>
          <c:smooth val="0"/>
          <c:extLst>
            <c:ext xmlns:c16="http://schemas.microsoft.com/office/drawing/2014/chart" uri="{C3380CC4-5D6E-409C-BE32-E72D297353CC}">
              <c16:uniqueId val="{00000000-F32D-48B7-BC20-E66FC6253BAD}"/>
            </c:ext>
          </c:extLst>
        </c:ser>
        <c:ser>
          <c:idx val="1"/>
          <c:order val="1"/>
          <c:tx>
            <c:strRef>
              <c:f>Sheet1!$B$10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6:$A$157</c:f>
              <c:numCache>
                <c:formatCode>General</c:formatCode>
                <c:ptCount val="52"/>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numCache>
            </c:numRef>
          </c:xVal>
          <c:yVal>
            <c:numRef>
              <c:f>Sheet1!$B$106:$B$157</c:f>
              <c:numCache>
                <c:formatCode>General</c:formatCode>
                <c:ptCount val="52"/>
                <c:pt idx="0">
                  <c:v>3.3379430772150658E-2</c:v>
                </c:pt>
                <c:pt idx="1">
                  <c:v>3.5297770608354727E-2</c:v>
                </c:pt>
                <c:pt idx="2">
                  <c:v>3.603152077608085E-2</c:v>
                </c:pt>
                <c:pt idx="3">
                  <c:v>3.0978674639028675E-2</c:v>
                </c:pt>
                <c:pt idx="4">
                  <c:v>2.8133515753956471E-2</c:v>
                </c:pt>
                <c:pt idx="5">
                  <c:v>2.7512069607189618E-2</c:v>
                </c:pt>
                <c:pt idx="6">
                  <c:v>2.7535908601076187E-2</c:v>
                </c:pt>
                <c:pt idx="7">
                  <c:v>2.7306049137985969E-2</c:v>
                </c:pt>
                <c:pt idx="8">
                  <c:v>2.6838607545871734E-2</c:v>
                </c:pt>
                <c:pt idx="9">
                  <c:v>2.8577136215520643E-2</c:v>
                </c:pt>
                <c:pt idx="10">
                  <c:v>2.9045708307140341E-2</c:v>
                </c:pt>
                <c:pt idx="11">
                  <c:v>3.0151694267354034E-2</c:v>
                </c:pt>
                <c:pt idx="12">
                  <c:v>3.1278274774940926E-2</c:v>
                </c:pt>
                <c:pt idx="13">
                  <c:v>3.2623144271831599E-2</c:v>
                </c:pt>
                <c:pt idx="14">
                  <c:v>3.2081452766552027E-2</c:v>
                </c:pt>
                <c:pt idx="15">
                  <c:v>2.8476513020004538E-2</c:v>
                </c:pt>
                <c:pt idx="16">
                  <c:v>2.8897929262062423E-2</c:v>
                </c:pt>
                <c:pt idx="17">
                  <c:v>2.8572345272906727E-2</c:v>
                </c:pt>
                <c:pt idx="18">
                  <c:v>2.7582157287634194E-2</c:v>
                </c:pt>
                <c:pt idx="19">
                  <c:v>2.6684207925807661E-2</c:v>
                </c:pt>
                <c:pt idx="20">
                  <c:v>2.5074098168638374E-2</c:v>
                </c:pt>
                <c:pt idx="21">
                  <c:v>3.7053775555914395E-2</c:v>
                </c:pt>
                <c:pt idx="22">
                  <c:v>4.1201839145334811E-2</c:v>
                </c:pt>
                <c:pt idx="23">
                  <c:v>3.952108516249337E-2</c:v>
                </c:pt>
                <c:pt idx="24">
                  <c:v>3.301132678213544E-2</c:v>
                </c:pt>
                <c:pt idx="25">
                  <c:v>3.4672282379825628E-2</c:v>
                </c:pt>
                <c:pt idx="26">
                  <c:v>3.6478521099227869E-2</c:v>
                </c:pt>
                <c:pt idx="27">
                  <c:v>3.1719960612283417E-2</c:v>
                </c:pt>
                <c:pt idx="28">
                  <c:v>2.9844699099281863E-2</c:v>
                </c:pt>
                <c:pt idx="29">
                  <c:v>2.8247037929351546E-2</c:v>
                </c:pt>
                <c:pt idx="30">
                  <c:v>2.3926861689124793E-2</c:v>
                </c:pt>
                <c:pt idx="31">
                  <c:v>2.0770671408149036E-2</c:v>
                </c:pt>
                <c:pt idx="32">
                  <c:v>2.3460558709885785E-2</c:v>
                </c:pt>
                <c:pt idx="33">
                  <c:v>3.0427962862070307E-2</c:v>
                </c:pt>
                <c:pt idx="34">
                  <c:v>3.1037706913624008E-2</c:v>
                </c:pt>
                <c:pt idx="35">
                  <c:v>2.928997264422914E-2</c:v>
                </c:pt>
                <c:pt idx="36">
                  <c:v>2.9697936908540855E-2</c:v>
                </c:pt>
                <c:pt idx="37">
                  <c:v>3.0248130900335804E-2</c:v>
                </c:pt>
                <c:pt idx="38">
                  <c:v>3.5070387750061743E-2</c:v>
                </c:pt>
                <c:pt idx="39">
                  <c:v>3.1208337770205517E-2</c:v>
                </c:pt>
                <c:pt idx="40">
                  <c:v>2.6826790166755026E-2</c:v>
                </c:pt>
                <c:pt idx="41">
                  <c:v>2.4203784771293646E-2</c:v>
                </c:pt>
                <c:pt idx="42">
                  <c:v>2.4098053977022377E-2</c:v>
                </c:pt>
                <c:pt idx="43">
                  <c:v>2.4523754132153155E-2</c:v>
                </c:pt>
                <c:pt idx="44">
                  <c:v>2.2379504666963371E-2</c:v>
                </c:pt>
                <c:pt idx="45">
                  <c:v>2.104065524243157E-2</c:v>
                </c:pt>
                <c:pt idx="46">
                  <c:v>2.2028240128902143E-2</c:v>
                </c:pt>
                <c:pt idx="47">
                  <c:v>2.3321641522021073E-2</c:v>
                </c:pt>
                <c:pt idx="48">
                  <c:v>2.5721900660138006E-2</c:v>
                </c:pt>
                <c:pt idx="49">
                  <c:v>2.4967370312040958E-2</c:v>
                </c:pt>
                <c:pt idx="50">
                  <c:v>2.6033359791458374E-2</c:v>
                </c:pt>
                <c:pt idx="51">
                  <c:v>2.5702227757022279E-2</c:v>
                </c:pt>
              </c:numCache>
            </c:numRef>
          </c:yVal>
          <c:smooth val="0"/>
          <c:extLst>
            <c:ext xmlns:c16="http://schemas.microsoft.com/office/drawing/2014/chart" uri="{C3380CC4-5D6E-409C-BE32-E72D297353CC}">
              <c16:uniqueId val="{00000002-F32D-48B7-BC20-E66FC6253BAD}"/>
            </c:ext>
          </c:extLst>
        </c:ser>
        <c:ser>
          <c:idx val="2"/>
          <c:order val="2"/>
          <c:tx>
            <c:strRef>
              <c:f>Sheet1!$B$159</c:f>
              <c:strCache>
                <c:ptCount val="1"/>
                <c:pt idx="0">
                  <c:v>Custom Linep3yQ</c:v>
                </c:pt>
              </c:strCache>
            </c:strRef>
          </c:tx>
          <c:spPr>
            <a:ln w="19050" cap="rnd">
              <a:solidFill>
                <a:srgbClr val="C00000"/>
              </a:solidFill>
              <a:prstDash val="sysDot"/>
              <a:round/>
            </a:ln>
            <a:effectLst/>
          </c:spPr>
          <c:marker>
            <c:symbol val="none"/>
          </c:marker>
          <c:xVal>
            <c:numRef>
              <c:f>Sheet1!$A$160:$A$161</c:f>
              <c:numCache>
                <c:formatCode>General</c:formatCode>
                <c:ptCount val="2"/>
                <c:pt idx="0">
                  <c:v>0</c:v>
                </c:pt>
                <c:pt idx="1">
                  <c:v>0.27575744047645689</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3-F32D-48B7-BC20-E66FC6253BAD}"/>
            </c:ext>
          </c:extLst>
        </c:ser>
        <c:ser>
          <c:idx val="3"/>
          <c:order val="3"/>
          <c:tx>
            <c:strRef>
              <c:f>Sheet1!$B$16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0.27575744047645689</c:v>
                </c:pt>
                <c:pt idx="1">
                  <c:v>0.27575744047645689</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8:$A$169</c:f>
              <c:numCache>
                <c:formatCode>General</c:formatCode>
                <c:ptCount val="2"/>
                <c:pt idx="0">
                  <c:v>0</c:v>
                </c:pt>
                <c:pt idx="1">
                  <c:v>0.28987004975079905</c:v>
                </c:pt>
              </c:numCache>
            </c:numRef>
          </c:xVal>
          <c:yVal>
            <c:numRef>
              <c:f>Sheet1!$B$168:$B$169</c:f>
              <c:numCache>
                <c:formatCode>General</c:formatCode>
                <c:ptCount val="2"/>
                <c:pt idx="0">
                  <c:v>3.1101577984060606E-2</c:v>
                </c:pt>
                <c:pt idx="1">
                  <c:v>3.1101577984060606E-2</c:v>
                </c:pt>
              </c:numCache>
            </c:numRef>
          </c:yVal>
          <c:smooth val="0"/>
          <c:extLst>
            <c:ext xmlns:c16="http://schemas.microsoft.com/office/drawing/2014/chart" uri="{C3380CC4-5D6E-409C-BE32-E72D297353CC}">
              <c16:uniqueId val="{0000000A-F32D-48B7-BC20-E66FC6253BAD}"/>
            </c:ext>
          </c:extLst>
        </c:ser>
        <c:ser>
          <c:idx val="5"/>
          <c:order val="5"/>
          <c:tx>
            <c:strRef>
              <c:f>Sheet1!$B$17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0.28987004975079905</c:v>
                </c:pt>
                <c:pt idx="1">
                  <c:v>0.28987004975079905</c:v>
                </c:pt>
              </c:numCache>
            </c:numRef>
          </c:xVal>
          <c:yVal>
            <c:numRef>
              <c:f>Sheet1!$B$172:$B$173</c:f>
              <c:numCache>
                <c:formatCode>General</c:formatCode>
                <c:ptCount val="2"/>
                <c:pt idx="0">
                  <c:v>3.1101577984060606E-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6:$A$177</c:f>
              <c:numCache>
                <c:formatCode>General</c:formatCode>
                <c:ptCount val="2"/>
                <c:pt idx="0">
                  <c:v>0</c:v>
                </c:pt>
                <c:pt idx="1">
                  <c:v>0.32888493428125432</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1-F32D-48B7-BC20-E66FC6253BAD}"/>
            </c:ext>
          </c:extLst>
        </c:ser>
        <c:ser>
          <c:idx val="7"/>
          <c:order val="7"/>
          <c:tx>
            <c:strRef>
              <c:f>Sheet1!$B$17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0:$A$181</c:f>
              <c:numCache>
                <c:formatCode>General</c:formatCode>
                <c:ptCount val="2"/>
                <c:pt idx="0">
                  <c:v>0.32888493428125432</c:v>
                </c:pt>
                <c:pt idx="1">
                  <c:v>0.32888493428125432</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4:$A$238</c:f>
              <c:numCache>
                <c:formatCode>General</c:formatCode>
                <c:ptCount val="55"/>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pt idx="52">
                  <c:v>0.28987004975079905</c:v>
                </c:pt>
                <c:pt idx="53">
                  <c:v>0.27575744047645689</c:v>
                </c:pt>
                <c:pt idx="54">
                  <c:v>0.32888493428125432</c:v>
                </c:pt>
              </c:numCache>
            </c:numRef>
          </c:xVal>
          <c:yVal>
            <c:numRef>
              <c:f>Sheet1!$B$184:$B$238</c:f>
              <c:numCache>
                <c:formatCode>General</c:formatCode>
                <c:ptCount val="55"/>
                <c:pt idx="0">
                  <c:v>2.9413873016704839E-2</c:v>
                </c:pt>
                <c:pt idx="1">
                  <c:v>2.9896344890080709E-2</c:v>
                </c:pt>
                <c:pt idx="2">
                  <c:v>3.0155656486461964E-2</c:v>
                </c:pt>
                <c:pt idx="3">
                  <c:v>2.7109900331363727E-2</c:v>
                </c:pt>
                <c:pt idx="4">
                  <c:v>2.4371775225560388E-2</c:v>
                </c:pt>
                <c:pt idx="5">
                  <c:v>2.4094268404047922E-2</c:v>
                </c:pt>
                <c:pt idx="6">
                  <c:v>2.4322183284519114E-2</c:v>
                </c:pt>
                <c:pt idx="7">
                  <c:v>2.5263903460272262E-2</c:v>
                </c:pt>
                <c:pt idx="8">
                  <c:v>2.7533717749061021E-2</c:v>
                </c:pt>
                <c:pt idx="9">
                  <c:v>2.9136059572005948E-2</c:v>
                </c:pt>
                <c:pt idx="10">
                  <c:v>2.8439725189245424E-2</c:v>
                </c:pt>
                <c:pt idx="11">
                  <c:v>2.8481575446516888E-2</c:v>
                </c:pt>
                <c:pt idx="12">
                  <c:v>3.0108594349578348E-2</c:v>
                </c:pt>
                <c:pt idx="13">
                  <c:v>3.169054387055209E-2</c:v>
                </c:pt>
                <c:pt idx="14">
                  <c:v>3.1465934595702259E-2</c:v>
                </c:pt>
                <c:pt idx="15">
                  <c:v>3.1477667841337743E-2</c:v>
                </c:pt>
                <c:pt idx="16">
                  <c:v>3.1573121681829512E-2</c:v>
                </c:pt>
                <c:pt idx="17">
                  <c:v>3.1532924296196564E-2</c:v>
                </c:pt>
                <c:pt idx="18">
                  <c:v>3.0515660900336583E-2</c:v>
                </c:pt>
                <c:pt idx="19">
                  <c:v>3.0211789143868836E-2</c:v>
                </c:pt>
                <c:pt idx="20">
                  <c:v>2.8955614795748236E-2</c:v>
                </c:pt>
                <c:pt idx="21">
                  <c:v>3.2772131418724967E-2</c:v>
                </c:pt>
                <c:pt idx="22">
                  <c:v>3.3542665870490845E-2</c:v>
                </c:pt>
                <c:pt idx="23">
                  <c:v>3.3435184307609174E-2</c:v>
                </c:pt>
                <c:pt idx="24">
                  <c:v>3.268271460365052E-2</c:v>
                </c:pt>
                <c:pt idx="25">
                  <c:v>3.3870059534782497E-2</c:v>
                </c:pt>
                <c:pt idx="26">
                  <c:v>3.3073079926514877E-2</c:v>
                </c:pt>
                <c:pt idx="27">
                  <c:v>3.1808643842456727E-2</c:v>
                </c:pt>
                <c:pt idx="28">
                  <c:v>3.0502176751221188E-2</c:v>
                </c:pt>
                <c:pt idx="29">
                  <c:v>2.7906678470255915E-2</c:v>
                </c:pt>
                <c:pt idx="30">
                  <c:v>2.5033266393526828E-2</c:v>
                </c:pt>
                <c:pt idx="31">
                  <c:v>2.630903103630991E-2</c:v>
                </c:pt>
                <c:pt idx="32">
                  <c:v>2.8693045313762239E-2</c:v>
                </c:pt>
                <c:pt idx="33">
                  <c:v>3.2596808075387743E-2</c:v>
                </c:pt>
                <c:pt idx="34">
                  <c:v>3.3462836223474769E-2</c:v>
                </c:pt>
                <c:pt idx="35">
                  <c:v>3.1780988069129081E-2</c:v>
                </c:pt>
                <c:pt idx="36">
                  <c:v>3.2997078119396075E-2</c:v>
                </c:pt>
                <c:pt idx="37">
                  <c:v>3.4241810296995578E-2</c:v>
                </c:pt>
                <c:pt idx="38">
                  <c:v>3.5259393566231922E-2</c:v>
                </c:pt>
                <c:pt idx="39">
                  <c:v>3.2524924643797831E-2</c:v>
                </c:pt>
                <c:pt idx="40">
                  <c:v>2.8308242375685959E-2</c:v>
                </c:pt>
                <c:pt idx="41">
                  <c:v>2.54404048951909E-2</c:v>
                </c:pt>
                <c:pt idx="42">
                  <c:v>2.3287513921568817E-2</c:v>
                </c:pt>
                <c:pt idx="43">
                  <c:v>2.3365554652546534E-2</c:v>
                </c:pt>
                <c:pt idx="44">
                  <c:v>2.3054756675168077E-2</c:v>
                </c:pt>
                <c:pt idx="45">
                  <c:v>2.3566114628330095E-2</c:v>
                </c:pt>
                <c:pt idx="46">
                  <c:v>2.5888630394799238E-2</c:v>
                </c:pt>
                <c:pt idx="47">
                  <c:v>2.6265547596405793E-2</c:v>
                </c:pt>
                <c:pt idx="48">
                  <c:v>2.7412822111043234E-2</c:v>
                </c:pt>
                <c:pt idx="49">
                  <c:v>2.5962622488181153E-2</c:v>
                </c:pt>
                <c:pt idx="50">
                  <c:v>2.4525712064247307E-2</c:v>
                </c:pt>
                <c:pt idx="51">
                  <c:v>2.4473274634488791E-2</c:v>
                </c:pt>
                <c:pt idx="52">
                  <c:v>3.1101577984060602E-2</c:v>
                </c:pt>
                <c:pt idx="53">
                  <c:v>3.3390590546211449E-2</c:v>
                </c:pt>
                <c:pt idx="54">
                  <c:v>2.4773509299877497E-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40737801608579088"/>
          <c:min val="0.18705920295984374"/>
        </c:scaling>
        <c:delete val="0"/>
        <c:axPos val="b"/>
        <c:title>
          <c:tx>
            <c:rich>
              <a:bodyPr rot="0" spcFirstLastPara="1" vertOverflow="ellipsis" vert="horz" wrap="square" anchor="ctr" anchorCtr="1"/>
              <a:lstStyle/>
              <a:p>
                <a:pPr>
                  <a:defRPr sz="800" b="0">
                    <a:latin typeface="Nexa Bold"/>
                  </a:defRPr>
                </a:pPr>
                <a:r>
                  <a:rPr lang="en-US"/>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1291069944164441</c:v>
                </c:pt>
                <c:pt idx="1">
                  <c:v>0.13485892486555889</c:v>
                </c:pt>
                <c:pt idx="2">
                  <c:v>0.13361697278764331</c:v>
                </c:pt>
                <c:pt idx="3">
                  <c:v>0.13181455947245191</c:v>
                </c:pt>
                <c:pt idx="4">
                  <c:v>0.13079849733141291</c:v>
                </c:pt>
                <c:pt idx="5">
                  <c:v>0.12786527339341361</c:v>
                </c:pt>
                <c:pt idx="6">
                  <c:v>0.13389772495720559</c:v>
                </c:pt>
                <c:pt idx="7">
                  <c:v>0.1359519354250221</c:v>
                </c:pt>
                <c:pt idx="8">
                  <c:v>0.13408395448492219</c:v>
                </c:pt>
                <c:pt idx="9">
                  <c:v>0.1272173036352085</c:v>
                </c:pt>
                <c:pt idx="10">
                  <c:v>0.12580154817273331</c:v>
                </c:pt>
                <c:pt idx="11">
                  <c:v>0.1247833670603628</c:v>
                </c:pt>
                <c:pt idx="12">
                  <c:v>0.12616612542700109</c:v>
                </c:pt>
                <c:pt idx="13">
                  <c:v>0.13426073846412021</c:v>
                </c:pt>
                <c:pt idx="14">
                  <c:v>0.13040345544745011</c:v>
                </c:pt>
                <c:pt idx="15">
                  <c:v>0.12568196098787579</c:v>
                </c:pt>
                <c:pt idx="16">
                  <c:v>0.1284543866213313</c:v>
                </c:pt>
                <c:pt idx="17">
                  <c:v>0.13252000199740169</c:v>
                </c:pt>
                <c:pt idx="18">
                  <c:v>0.12612196270786419</c:v>
                </c:pt>
                <c:pt idx="19">
                  <c:v>0.13496886950214251</c:v>
                </c:pt>
                <c:pt idx="20">
                  <c:v>0.13064933940560819</c:v>
                </c:pt>
                <c:pt idx="21">
                  <c:v>0.12635635491031241</c:v>
                </c:pt>
                <c:pt idx="22">
                  <c:v>0.12863609693980929</c:v>
                </c:pt>
                <c:pt idx="23">
                  <c:v>0.13116494310893009</c:v>
                </c:pt>
                <c:pt idx="24">
                  <c:v>0.1278058186678292</c:v>
                </c:pt>
                <c:pt idx="25">
                  <c:v>0.1235932293079324</c:v>
                </c:pt>
                <c:pt idx="26">
                  <c:v>0.12290934252239009</c:v>
                </c:pt>
                <c:pt idx="27">
                  <c:v>0.12109503765009599</c:v>
                </c:pt>
                <c:pt idx="28">
                  <c:v>0.12207135397276341</c:v>
                </c:pt>
                <c:pt idx="29">
                  <c:v>0.1263122981136704</c:v>
                </c:pt>
                <c:pt idx="30">
                  <c:v>0.1263263635992006</c:v>
                </c:pt>
                <c:pt idx="31">
                  <c:v>0.12476889875077329</c:v>
                </c:pt>
                <c:pt idx="32">
                  <c:v>0.12674353123399981</c:v>
                </c:pt>
                <c:pt idx="33">
                  <c:v>0.12588695742723971</c:v>
                </c:pt>
                <c:pt idx="34">
                  <c:v>0.12390000002667199</c:v>
                </c:pt>
                <c:pt idx="35">
                  <c:v>0.12440850519118039</c:v>
                </c:pt>
                <c:pt idx="36">
                  <c:v>0.12336288941275771</c:v>
                </c:pt>
                <c:pt idx="37">
                  <c:v>0.1236579395008299</c:v>
                </c:pt>
                <c:pt idx="38">
                  <c:v>0.1244360084590832</c:v>
                </c:pt>
                <c:pt idx="39">
                  <c:v>0.12224083915887329</c:v>
                </c:pt>
                <c:pt idx="40">
                  <c:v>0.1219327444047168</c:v>
                </c:pt>
                <c:pt idx="41">
                  <c:v>0.1250560323566518</c:v>
                </c:pt>
                <c:pt idx="42">
                  <c:v>0.12745512740440279</c:v>
                </c:pt>
                <c:pt idx="43">
                  <c:v>0.1211984894858895</c:v>
                </c:pt>
                <c:pt idx="44">
                  <c:v>0.1258670226690102</c:v>
                </c:pt>
                <c:pt idx="45">
                  <c:v>0.1272339848348821</c:v>
                </c:pt>
                <c:pt idx="46">
                  <c:v>0.13490346412193621</c:v>
                </c:pt>
                <c:pt idx="47">
                  <c:v>0.1232399985423943</c:v>
                </c:pt>
                <c:pt idx="48">
                  <c:v>0.12311641114157899</c:v>
                </c:pt>
                <c:pt idx="49">
                  <c:v>0.1234350759255986</c:v>
                </c:pt>
                <c:pt idx="50">
                  <c:v>0.12419744604278141</c:v>
                </c:pt>
                <c:pt idx="51">
                  <c:v>0.13145508336915421</c:v>
                </c:pt>
                <c:pt idx="52">
                  <c:v>0.13109930113357529</c:v>
                </c:pt>
                <c:pt idx="53">
                  <c:v>0.13568928560863899</c:v>
                </c:pt>
                <c:pt idx="54">
                  <c:v>0.1285210371531505</c:v>
                </c:pt>
                <c:pt idx="55">
                  <c:v>0.1300753516373136</c:v>
                </c:pt>
                <c:pt idx="56">
                  <c:v>0.12489749950473671</c:v>
                </c:pt>
                <c:pt idx="57">
                  <c:v>0.10266521645136149</c:v>
                </c:pt>
                <c:pt idx="58">
                  <c:v>9.4621929093130358E-2</c:v>
                </c:pt>
                <c:pt idx="59">
                  <c:v>9.8212612965823731E-2</c:v>
                </c:pt>
                <c:pt idx="60">
                  <c:v>0.1102654339127445</c:v>
                </c:pt>
                <c:pt idx="61">
                  <c:v>0.1086326326560431</c:v>
                </c:pt>
                <c:pt idx="62">
                  <c:v>0.10273100071317991</c:v>
                </c:pt>
                <c:pt idx="63">
                  <c:v>0.1056131313298932</c:v>
                </c:pt>
                <c:pt idx="64">
                  <c:v>0.116037952360732</c:v>
                </c:pt>
                <c:pt idx="65">
                  <c:v>0.13065683342069531</c:v>
                </c:pt>
                <c:pt idx="66">
                  <c:v>0.132712182958446</c:v>
                </c:pt>
                <c:pt idx="67">
                  <c:v>0.12498087731066</c:v>
                </c:pt>
                <c:pt idx="68">
                  <c:v>0.1318623648264734</c:v>
                </c:pt>
                <c:pt idx="69">
                  <c:v>0.13405085209231629</c:v>
                </c:pt>
                <c:pt idx="70">
                  <c:v>0.12663942767242409</c:v>
                </c:pt>
                <c:pt idx="71">
                  <c:v>0.13715997078444109</c:v>
                </c:pt>
                <c:pt idx="72">
                  <c:v>0.1312699287114284</c:v>
                </c:pt>
                <c:pt idx="73">
                  <c:v>0.1290474255800157</c:v>
                </c:pt>
                <c:pt idx="74">
                  <c:v>0.12976627424972709</c:v>
                </c:pt>
                <c:pt idx="75">
                  <c:v>0.12686829869724861</c:v>
                </c:pt>
                <c:pt idx="76">
                  <c:v>0.1253623579280761</c:v>
                </c:pt>
                <c:pt idx="77">
                  <c:v>0.12968156222074531</c:v>
                </c:pt>
                <c:pt idx="78">
                  <c:v>0.12750329032649099</c:v>
                </c:pt>
                <c:pt idx="79">
                  <c:v>0.12461050546445129</c:v>
                </c:pt>
                <c:pt idx="80">
                  <c:v>0.12900335189603049</c:v>
                </c:pt>
                <c:pt idx="81">
                  <c:v>0.12741746962889991</c:v>
                </c:pt>
                <c:pt idx="82">
                  <c:v>0.1227246355993528</c:v>
                </c:pt>
                <c:pt idx="83">
                  <c:v>0.12325497363003669</c:v>
                </c:pt>
                <c:pt idx="84">
                  <c:v>0.1237777050026681</c:v>
                </c:pt>
                <c:pt idx="85">
                  <c:v>0.1227618684932686</c:v>
                </c:pt>
                <c:pt idx="86">
                  <c:v>0.12625273778634091</c:v>
                </c:pt>
                <c:pt idx="87">
                  <c:v>0.12848401925218161</c:v>
                </c:pt>
                <c:pt idx="88">
                  <c:v>0.12808991008793849</c:v>
                </c:pt>
                <c:pt idx="89">
                  <c:v>0.12669599383578639</c:v>
                </c:pt>
                <c:pt idx="90">
                  <c:v>0.128457244567205</c:v>
                </c:pt>
                <c:pt idx="91">
                  <c:v>0.1287495738807907</c:v>
                </c:pt>
                <c:pt idx="92">
                  <c:v>0.12753778198649329</c:v>
                </c:pt>
                <c:pt idx="93">
                  <c:v>0.12858384689357691</c:v>
                </c:pt>
                <c:pt idx="94">
                  <c:v>0.13053873342212541</c:v>
                </c:pt>
                <c:pt idx="95">
                  <c:v>0.1283681251237693</c:v>
                </c:pt>
                <c:pt idx="96">
                  <c:v>0.12712219330013799</c:v>
                </c:pt>
                <c:pt idx="97">
                  <c:v>0.12537888942730019</c:v>
                </c:pt>
                <c:pt idx="98">
                  <c:v>0.12745921704595151</c:v>
                </c:pt>
                <c:pt idx="99">
                  <c:v>0.1212266665697815</c:v>
                </c:pt>
                <c:pt idx="100">
                  <c:v>0.1141728668578047</c:v>
                </c:pt>
                <c:pt idx="101">
                  <c:v>0.115957494325048</c:v>
                </c:pt>
              </c:numCache>
            </c:numRef>
          </c:xVal>
          <c:yVal>
            <c:numRef>
              <c:f>Sheet1!$B$2:$B$103</c:f>
              <c:numCache>
                <c:formatCode>General</c:formatCode>
                <c:ptCount val="102"/>
                <c:pt idx="0">
                  <c:v>3.1549194168607013E-2</c:v>
                </c:pt>
                <c:pt idx="1">
                  <c:v>2.5925076493376501E-2</c:v>
                </c:pt>
                <c:pt idx="2">
                  <c:v>1.9457371147598559E-2</c:v>
                </c:pt>
                <c:pt idx="3">
                  <c:v>2.1005226955186751E-2</c:v>
                </c:pt>
                <c:pt idx="4">
                  <c:v>2.3683174888924512E-2</c:v>
                </c:pt>
                <c:pt idx="5">
                  <c:v>2.481491169212223E-2</c:v>
                </c:pt>
                <c:pt idx="6">
                  <c:v>2.2966901329024649E-2</c:v>
                </c:pt>
                <c:pt idx="7">
                  <c:v>2.1693356757167159E-2</c:v>
                </c:pt>
                <c:pt idx="8">
                  <c:v>2.508474647577718E-2</c:v>
                </c:pt>
                <c:pt idx="9">
                  <c:v>3.2219360006132687E-2</c:v>
                </c:pt>
                <c:pt idx="10">
                  <c:v>3.3455366889535383E-2</c:v>
                </c:pt>
                <c:pt idx="11">
                  <c:v>3.077420503855852E-2</c:v>
                </c:pt>
                <c:pt idx="12">
                  <c:v>3.166311843777065E-2</c:v>
                </c:pt>
                <c:pt idx="13">
                  <c:v>2.9573633835338661E-2</c:v>
                </c:pt>
                <c:pt idx="14">
                  <c:v>2.943829474961886E-2</c:v>
                </c:pt>
                <c:pt idx="15">
                  <c:v>3.2326555355538883E-2</c:v>
                </c:pt>
                <c:pt idx="16">
                  <c:v>3.045418321235838E-2</c:v>
                </c:pt>
                <c:pt idx="17">
                  <c:v>3.0177244147381321E-2</c:v>
                </c:pt>
                <c:pt idx="18">
                  <c:v>3.0949579617420529E-2</c:v>
                </c:pt>
                <c:pt idx="19">
                  <c:v>3.3044676701229417E-2</c:v>
                </c:pt>
                <c:pt idx="20">
                  <c:v>3.4502368865567047E-2</c:v>
                </c:pt>
                <c:pt idx="21">
                  <c:v>3.8171203781773647E-2</c:v>
                </c:pt>
                <c:pt idx="22">
                  <c:v>3.2633840746857157E-2</c:v>
                </c:pt>
                <c:pt idx="23">
                  <c:v>3.22851825867847E-2</c:v>
                </c:pt>
                <c:pt idx="24">
                  <c:v>3.4293774474369272E-2</c:v>
                </c:pt>
                <c:pt idx="25">
                  <c:v>3.3493331489235549E-2</c:v>
                </c:pt>
                <c:pt idx="26">
                  <c:v>3.2256296982208908E-2</c:v>
                </c:pt>
                <c:pt idx="27">
                  <c:v>3.256327154323236E-2</c:v>
                </c:pt>
                <c:pt idx="28">
                  <c:v>3.0215972855570969E-2</c:v>
                </c:pt>
                <c:pt idx="29">
                  <c:v>2.971323515475446E-2</c:v>
                </c:pt>
                <c:pt idx="30">
                  <c:v>2.9886044202056931E-2</c:v>
                </c:pt>
                <c:pt idx="31">
                  <c:v>3.0113049153545669E-2</c:v>
                </c:pt>
                <c:pt idx="32">
                  <c:v>3.0121682992946059E-2</c:v>
                </c:pt>
                <c:pt idx="33">
                  <c:v>2.8704102443482309E-2</c:v>
                </c:pt>
                <c:pt idx="34">
                  <c:v>3.0602403901330309E-2</c:v>
                </c:pt>
                <c:pt idx="35">
                  <c:v>3.1456536502498793E-2</c:v>
                </c:pt>
                <c:pt idx="36">
                  <c:v>3.1516667937295108E-2</c:v>
                </c:pt>
                <c:pt idx="37">
                  <c:v>3.3226585884057157E-2</c:v>
                </c:pt>
                <c:pt idx="38">
                  <c:v>3.3016326225624587E-2</c:v>
                </c:pt>
                <c:pt idx="39">
                  <c:v>3.0075909553288729E-2</c:v>
                </c:pt>
                <c:pt idx="40">
                  <c:v>3.030822714314705E-2</c:v>
                </c:pt>
                <c:pt idx="41">
                  <c:v>3.1273537834975489E-2</c:v>
                </c:pt>
                <c:pt idx="42">
                  <c:v>3.005901690014778E-2</c:v>
                </c:pt>
                <c:pt idx="43">
                  <c:v>3.0573863083611631E-2</c:v>
                </c:pt>
                <c:pt idx="44">
                  <c:v>3.254448153409624E-2</c:v>
                </c:pt>
                <c:pt idx="45">
                  <c:v>3.2420025270644671E-2</c:v>
                </c:pt>
                <c:pt idx="46">
                  <c:v>3.0841270586476861E-2</c:v>
                </c:pt>
                <c:pt idx="47">
                  <c:v>3.4545476528939613E-2</c:v>
                </c:pt>
                <c:pt idx="48">
                  <c:v>3.9378011399146942E-2</c:v>
                </c:pt>
                <c:pt idx="49">
                  <c:v>3.4585845792310457E-2</c:v>
                </c:pt>
                <c:pt idx="50">
                  <c:v>3.6889295123608737E-2</c:v>
                </c:pt>
                <c:pt idx="51">
                  <c:v>3.516974061970235E-2</c:v>
                </c:pt>
                <c:pt idx="52">
                  <c:v>3.3440411726256947E-2</c:v>
                </c:pt>
                <c:pt idx="53">
                  <c:v>3.0775515895011849E-2</c:v>
                </c:pt>
                <c:pt idx="54">
                  <c:v>2.856172806220978E-2</c:v>
                </c:pt>
                <c:pt idx="55">
                  <c:v>2.9260191711765832E-2</c:v>
                </c:pt>
                <c:pt idx="56">
                  <c:v>3.1178692703543051E-2</c:v>
                </c:pt>
                <c:pt idx="57">
                  <c:v>3.7031471681131703E-2</c:v>
                </c:pt>
                <c:pt idx="58">
                  <c:v>3.9909501581123753E-2</c:v>
                </c:pt>
                <c:pt idx="59">
                  <c:v>3.3090443177845791E-2</c:v>
                </c:pt>
                <c:pt idx="60">
                  <c:v>2.0429936026239701E-2</c:v>
                </c:pt>
                <c:pt idx="61">
                  <c:v>1.594233918003489E-2</c:v>
                </c:pt>
                <c:pt idx="62">
                  <c:v>2.6561543645322629E-2</c:v>
                </c:pt>
                <c:pt idx="63">
                  <c:v>3.5068893654044378E-2</c:v>
                </c:pt>
                <c:pt idx="64">
                  <c:v>3.0967228847484721E-2</c:v>
                </c:pt>
                <c:pt idx="65">
                  <c:v>2.602705616299417E-2</c:v>
                </c:pt>
                <c:pt idx="66">
                  <c:v>2.587150374122359E-2</c:v>
                </c:pt>
                <c:pt idx="67">
                  <c:v>2.691260699372984E-2</c:v>
                </c:pt>
                <c:pt idx="68">
                  <c:v>2.5874418970458959E-2</c:v>
                </c:pt>
                <c:pt idx="69">
                  <c:v>2.3193315376484971E-2</c:v>
                </c:pt>
                <c:pt idx="70">
                  <c:v>2.2686657383630061E-2</c:v>
                </c:pt>
                <c:pt idx="71">
                  <c:v>2.6189284143623481E-2</c:v>
                </c:pt>
                <c:pt idx="72">
                  <c:v>2.7336338114147821E-2</c:v>
                </c:pt>
                <c:pt idx="73">
                  <c:v>2.7740990571672709E-2</c:v>
                </c:pt>
                <c:pt idx="74">
                  <c:v>2.877527311984417E-2</c:v>
                </c:pt>
                <c:pt idx="75">
                  <c:v>2.8510329318482429E-2</c:v>
                </c:pt>
                <c:pt idx="76">
                  <c:v>2.7909474603405621E-2</c:v>
                </c:pt>
                <c:pt idx="77">
                  <c:v>2.354699792786898E-2</c:v>
                </c:pt>
                <c:pt idx="78">
                  <c:v>2.3516397046911521E-2</c:v>
                </c:pt>
                <c:pt idx="79">
                  <c:v>2.2115174941799771E-2</c:v>
                </c:pt>
                <c:pt idx="80">
                  <c:v>2.2268202762568419E-2</c:v>
                </c:pt>
                <c:pt idx="81">
                  <c:v>2.1244426266941788E-2</c:v>
                </c:pt>
                <c:pt idx="82">
                  <c:v>3.1177386289303839E-2</c:v>
                </c:pt>
                <c:pt idx="83">
                  <c:v>2.630647686699077E-2</c:v>
                </c:pt>
                <c:pt idx="84">
                  <c:v>2.5524833007679371E-2</c:v>
                </c:pt>
                <c:pt idx="85">
                  <c:v>2.6871534411513371E-2</c:v>
                </c:pt>
                <c:pt idx="86">
                  <c:v>2.6338851413823881E-2</c:v>
                </c:pt>
                <c:pt idx="87">
                  <c:v>2.464870108961555E-2</c:v>
                </c:pt>
                <c:pt idx="88">
                  <c:v>2.6238033764437702E-2</c:v>
                </c:pt>
                <c:pt idx="89">
                  <c:v>3.0191859532939729E-2</c:v>
                </c:pt>
                <c:pt idx="90">
                  <c:v>3.071685169632082E-2</c:v>
                </c:pt>
                <c:pt idx="91">
                  <c:v>3.1790352756617277E-2</c:v>
                </c:pt>
                <c:pt idx="92">
                  <c:v>2.9789485452214989E-2</c:v>
                </c:pt>
                <c:pt idx="93">
                  <c:v>2.7419432969366012E-2</c:v>
                </c:pt>
                <c:pt idx="94">
                  <c:v>2.5375304588112151E-2</c:v>
                </c:pt>
                <c:pt idx="95">
                  <c:v>2.727143524464504E-2</c:v>
                </c:pt>
                <c:pt idx="96">
                  <c:v>2.430072520573312E-2</c:v>
                </c:pt>
                <c:pt idx="97">
                  <c:v>2.5953063658202231E-2</c:v>
                </c:pt>
                <c:pt idx="98">
                  <c:v>2.870484051773789E-2</c:v>
                </c:pt>
                <c:pt idx="99">
                  <c:v>3.0161179689259059E-2</c:v>
                </c:pt>
                <c:pt idx="100">
                  <c:v>3.7558407981539428E-2</c:v>
                </c:pt>
                <c:pt idx="101">
                  <c:v>3.5796970668813113E-2</c:v>
                </c:pt>
              </c:numCache>
            </c:numRef>
          </c:yVal>
          <c:smooth val="0"/>
          <c:extLst>
            <c:ext xmlns:c16="http://schemas.microsoft.com/office/drawing/2014/chart" uri="{C3380CC4-5D6E-409C-BE32-E72D297353CC}">
              <c16:uniqueId val="{00000000-096C-4121-9522-6AB7243CCAAE}"/>
            </c:ext>
          </c:extLst>
        </c:ser>
        <c:ser>
          <c:idx val="1"/>
          <c:order val="1"/>
          <c:tx>
            <c:strRef>
              <c:f>Sheet1!$B$10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6:$A$157</c:f>
              <c:numCache>
                <c:formatCode>General</c:formatCode>
                <c:ptCount val="52"/>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numCache>
            </c:numRef>
          </c:xVal>
          <c:yVal>
            <c:numRef>
              <c:f>Sheet1!$B$106:$B$157</c:f>
              <c:numCache>
                <c:formatCode>General</c:formatCode>
                <c:ptCount val="52"/>
                <c:pt idx="0">
                  <c:v>3.3379430772150658E-2</c:v>
                </c:pt>
                <c:pt idx="1">
                  <c:v>3.5297770608354727E-2</c:v>
                </c:pt>
                <c:pt idx="2">
                  <c:v>3.603152077608085E-2</c:v>
                </c:pt>
                <c:pt idx="3">
                  <c:v>3.0978674639028671E-2</c:v>
                </c:pt>
                <c:pt idx="4">
                  <c:v>2.8133515753956471E-2</c:v>
                </c:pt>
                <c:pt idx="5">
                  <c:v>2.7512069607189622E-2</c:v>
                </c:pt>
                <c:pt idx="6">
                  <c:v>2.753590860107619E-2</c:v>
                </c:pt>
                <c:pt idx="7">
                  <c:v>2.7306049137985969E-2</c:v>
                </c:pt>
                <c:pt idx="8">
                  <c:v>2.683860754587173E-2</c:v>
                </c:pt>
                <c:pt idx="9">
                  <c:v>2.8577136215520639E-2</c:v>
                </c:pt>
                <c:pt idx="10">
                  <c:v>2.9045708307140341E-2</c:v>
                </c:pt>
                <c:pt idx="11">
                  <c:v>3.0151694267354031E-2</c:v>
                </c:pt>
                <c:pt idx="12">
                  <c:v>3.1278274774940933E-2</c:v>
                </c:pt>
                <c:pt idx="13">
                  <c:v>3.2623144271831599E-2</c:v>
                </c:pt>
                <c:pt idx="14">
                  <c:v>3.2081452766552027E-2</c:v>
                </c:pt>
                <c:pt idx="15">
                  <c:v>2.8476513020004542E-2</c:v>
                </c:pt>
                <c:pt idx="16">
                  <c:v>2.889792926206242E-2</c:v>
                </c:pt>
                <c:pt idx="17">
                  <c:v>2.8572345272906731E-2</c:v>
                </c:pt>
                <c:pt idx="18">
                  <c:v>2.758215728763419E-2</c:v>
                </c:pt>
                <c:pt idx="19">
                  <c:v>2.6684207925807661E-2</c:v>
                </c:pt>
                <c:pt idx="20">
                  <c:v>2.507409816863837E-2</c:v>
                </c:pt>
                <c:pt idx="21">
                  <c:v>3.7053775555914388E-2</c:v>
                </c:pt>
                <c:pt idx="22">
                  <c:v>4.1201839145334811E-2</c:v>
                </c:pt>
                <c:pt idx="23">
                  <c:v>3.952108516249337E-2</c:v>
                </c:pt>
                <c:pt idx="24">
                  <c:v>3.301132678213544E-2</c:v>
                </c:pt>
                <c:pt idx="25">
                  <c:v>3.4672282379825628E-2</c:v>
                </c:pt>
                <c:pt idx="26">
                  <c:v>3.6478521099227869E-2</c:v>
                </c:pt>
                <c:pt idx="27">
                  <c:v>3.1719960612283417E-2</c:v>
                </c:pt>
                <c:pt idx="28">
                  <c:v>2.9844699099281859E-2</c:v>
                </c:pt>
                <c:pt idx="29">
                  <c:v>2.824703792935155E-2</c:v>
                </c:pt>
                <c:pt idx="30">
                  <c:v>2.3926861689124789E-2</c:v>
                </c:pt>
                <c:pt idx="31">
                  <c:v>2.077067140814904E-2</c:v>
                </c:pt>
                <c:pt idx="32">
                  <c:v>2.3460558709885782E-2</c:v>
                </c:pt>
                <c:pt idx="33">
                  <c:v>3.042796286207031E-2</c:v>
                </c:pt>
                <c:pt idx="34">
                  <c:v>3.1037706913624011E-2</c:v>
                </c:pt>
                <c:pt idx="35">
                  <c:v>2.928997264422914E-2</c:v>
                </c:pt>
                <c:pt idx="36">
                  <c:v>2.9697936908540851E-2</c:v>
                </c:pt>
                <c:pt idx="37">
                  <c:v>3.0248130900335801E-2</c:v>
                </c:pt>
                <c:pt idx="38">
                  <c:v>3.5070387750061743E-2</c:v>
                </c:pt>
                <c:pt idx="39">
                  <c:v>3.120833777020552E-2</c:v>
                </c:pt>
                <c:pt idx="40">
                  <c:v>2.682679016675503E-2</c:v>
                </c:pt>
                <c:pt idx="41">
                  <c:v>2.4203784771293649E-2</c:v>
                </c:pt>
                <c:pt idx="42">
                  <c:v>2.4098053977022381E-2</c:v>
                </c:pt>
                <c:pt idx="43">
                  <c:v>2.4523754132153151E-2</c:v>
                </c:pt>
                <c:pt idx="44">
                  <c:v>2.2379504666963371E-2</c:v>
                </c:pt>
                <c:pt idx="45">
                  <c:v>2.104065524243157E-2</c:v>
                </c:pt>
                <c:pt idx="46">
                  <c:v>2.202824012890214E-2</c:v>
                </c:pt>
                <c:pt idx="47">
                  <c:v>2.3321641522021069E-2</c:v>
                </c:pt>
                <c:pt idx="48">
                  <c:v>2.5721900660138009E-2</c:v>
                </c:pt>
                <c:pt idx="49">
                  <c:v>2.4967370312040962E-2</c:v>
                </c:pt>
                <c:pt idx="50">
                  <c:v>2.603335979145837E-2</c:v>
                </c:pt>
                <c:pt idx="51">
                  <c:v>2.5702227757022279E-2</c:v>
                </c:pt>
              </c:numCache>
            </c:numRef>
          </c:yVal>
          <c:smooth val="0"/>
          <c:extLst>
            <c:ext xmlns:c16="http://schemas.microsoft.com/office/drawing/2014/chart" uri="{C3380CC4-5D6E-409C-BE32-E72D297353CC}">
              <c16:uniqueId val="{00000002-096C-4121-9522-6AB7243CCAAE}"/>
            </c:ext>
          </c:extLst>
        </c:ser>
        <c:ser>
          <c:idx val="2"/>
          <c:order val="2"/>
          <c:tx>
            <c:strRef>
              <c:f>Sheet1!$B$15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0:$A$161</c:f>
              <c:numCache>
                <c:formatCode>General</c:formatCode>
                <c:ptCount val="2"/>
                <c:pt idx="0">
                  <c:v>0</c:v>
                </c:pt>
                <c:pt idx="1">
                  <c:v>0.1108820277239114</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5-096C-4121-9522-6AB7243CCAAE}"/>
            </c:ext>
          </c:extLst>
        </c:ser>
        <c:ser>
          <c:idx val="3"/>
          <c:order val="3"/>
          <c:tx>
            <c:strRef>
              <c:f>Sheet1!$B$16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0.1108820277239114</c:v>
                </c:pt>
                <c:pt idx="1">
                  <c:v>0.1108820277239114</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8:$A$169</c:f>
              <c:numCache>
                <c:formatCode>General</c:formatCode>
                <c:ptCount val="2"/>
                <c:pt idx="0">
                  <c:v>0</c:v>
                </c:pt>
                <c:pt idx="1">
                  <c:v>0.11732114474802791</c:v>
                </c:pt>
              </c:numCache>
            </c:numRef>
          </c:xVal>
          <c:yVal>
            <c:numRef>
              <c:f>Sheet1!$B$168:$B$169</c:f>
              <c:numCache>
                <c:formatCode>General</c:formatCode>
                <c:ptCount val="2"/>
                <c:pt idx="0">
                  <c:v>3.1101577984060609E-2</c:v>
                </c:pt>
                <c:pt idx="1">
                  <c:v>3.1101577984060609E-2</c:v>
                </c:pt>
              </c:numCache>
            </c:numRef>
          </c:yVal>
          <c:smooth val="0"/>
          <c:extLst>
            <c:ext xmlns:c16="http://schemas.microsoft.com/office/drawing/2014/chart" uri="{C3380CC4-5D6E-409C-BE32-E72D297353CC}">
              <c16:uniqueId val="{0000000D-096C-4121-9522-6AB7243CCAAE}"/>
            </c:ext>
          </c:extLst>
        </c:ser>
        <c:ser>
          <c:idx val="5"/>
          <c:order val="5"/>
          <c:tx>
            <c:strRef>
              <c:f>Sheet1!$B$17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0.11732114474802791</c:v>
                </c:pt>
                <c:pt idx="1">
                  <c:v>0.11732114474802791</c:v>
                </c:pt>
              </c:numCache>
            </c:numRef>
          </c:xVal>
          <c:yVal>
            <c:numRef>
              <c:f>Sheet1!$B$172:$B$173</c:f>
              <c:numCache>
                <c:formatCode>General</c:formatCode>
                <c:ptCount val="2"/>
                <c:pt idx="0">
                  <c:v>3.1101577984060609E-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6:$A$177</c:f>
              <c:numCache>
                <c:formatCode>General</c:formatCode>
                <c:ptCount val="2"/>
                <c:pt idx="0">
                  <c:v>0</c:v>
                </c:pt>
                <c:pt idx="1">
                  <c:v>0.13512234665834599</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5-096C-4121-9522-6AB7243CCAAE}"/>
            </c:ext>
          </c:extLst>
        </c:ser>
        <c:ser>
          <c:idx val="7"/>
          <c:order val="7"/>
          <c:tx>
            <c:strRef>
              <c:f>Sheet1!$B$17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0:$A$181</c:f>
              <c:numCache>
                <c:formatCode>General</c:formatCode>
                <c:ptCount val="2"/>
                <c:pt idx="0">
                  <c:v>0.13512234665834599</c:v>
                </c:pt>
                <c:pt idx="1">
                  <c:v>0.13512234665834599</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4:$A$238</c:f>
              <c:numCache>
                <c:formatCode>General</c:formatCode>
                <c:ptCount val="55"/>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pt idx="52">
                  <c:v>0.11732114474802791</c:v>
                </c:pt>
                <c:pt idx="53">
                  <c:v>0.1108820277239114</c:v>
                </c:pt>
                <c:pt idx="54">
                  <c:v>0.13512234665834599</c:v>
                </c:pt>
              </c:numCache>
            </c:numRef>
          </c:xVal>
          <c:yVal>
            <c:numRef>
              <c:f>Sheet1!$B$184:$B$238</c:f>
              <c:numCache>
                <c:formatCode>General</c:formatCode>
                <c:ptCount val="55"/>
                <c:pt idx="0">
                  <c:v>3.1620668745252142E-2</c:v>
                </c:pt>
                <c:pt idx="1">
                  <c:v>3.1654790245678951E-2</c:v>
                </c:pt>
                <c:pt idx="2">
                  <c:v>3.2783325344754151E-2</c:v>
                </c:pt>
                <c:pt idx="3">
                  <c:v>3.022688607526958E-2</c:v>
                </c:pt>
                <c:pt idx="4">
                  <c:v>2.8540776744242852E-2</c:v>
                </c:pt>
                <c:pt idx="5">
                  <c:v>2.8198639317480349E-2</c:v>
                </c:pt>
                <c:pt idx="6">
                  <c:v>2.8149354774764782E-2</c:v>
                </c:pt>
                <c:pt idx="7">
                  <c:v>2.8199004366077019E-2</c:v>
                </c:pt>
                <c:pt idx="8">
                  <c:v>3.0157282303857849E-2</c:v>
                </c:pt>
                <c:pt idx="9">
                  <c:v>2.9717490317624731E-2</c:v>
                </c:pt>
                <c:pt idx="10">
                  <c:v>2.880162617160174E-2</c:v>
                </c:pt>
                <c:pt idx="11">
                  <c:v>3.0799476543192809E-2</c:v>
                </c:pt>
                <c:pt idx="12">
                  <c:v>2.8080121278043681E-2</c:v>
                </c:pt>
                <c:pt idx="13">
                  <c:v>2.8247092051713919E-2</c:v>
                </c:pt>
                <c:pt idx="14">
                  <c:v>2.639540124703324E-2</c:v>
                </c:pt>
                <c:pt idx="15">
                  <c:v>1.9220157910636009E-2</c:v>
                </c:pt>
                <c:pt idx="16">
                  <c:v>2.9292926757015069E-2</c:v>
                </c:pt>
                <c:pt idx="17">
                  <c:v>2.9541107656935999E-2</c:v>
                </c:pt>
                <c:pt idx="18">
                  <c:v>3.1154431279754719E-2</c:v>
                </c:pt>
                <c:pt idx="19">
                  <c:v>2.9461129531890291E-2</c:v>
                </c:pt>
                <c:pt idx="20">
                  <c:v>3.0313783713891131E-2</c:v>
                </c:pt>
                <c:pt idx="21">
                  <c:v>3.3508822667282862E-2</c:v>
                </c:pt>
                <c:pt idx="22">
                  <c:v>3.4739165058279807E-2</c:v>
                </c:pt>
                <c:pt idx="23">
                  <c:v>3.3561500120319547E-2</c:v>
                </c:pt>
                <c:pt idx="24">
                  <c:v>3.0961282548418428E-2</c:v>
                </c:pt>
                <c:pt idx="25">
                  <c:v>3.325613118609181E-2</c:v>
                </c:pt>
                <c:pt idx="26">
                  <c:v>3.230935798656305E-2</c:v>
                </c:pt>
                <c:pt idx="27">
                  <c:v>3.0186042242885399E-2</c:v>
                </c:pt>
                <c:pt idx="28">
                  <c:v>2.9826699740302571E-2</c:v>
                </c:pt>
                <c:pt idx="29">
                  <c:v>2.8461825588360749E-2</c:v>
                </c:pt>
                <c:pt idx="30">
                  <c:v>2.6667445839888119E-2</c:v>
                </c:pt>
                <c:pt idx="31">
                  <c:v>2.9333797528733729E-2</c:v>
                </c:pt>
                <c:pt idx="32">
                  <c:v>2.8469462201818171E-2</c:v>
                </c:pt>
                <c:pt idx="33">
                  <c:v>3.1278574864500211E-2</c:v>
                </c:pt>
                <c:pt idx="34">
                  <c:v>3.362517184260494E-2</c:v>
                </c:pt>
                <c:pt idx="35">
                  <c:v>3.1259339751075838E-2</c:v>
                </c:pt>
                <c:pt idx="36">
                  <c:v>3.2466678789921898E-2</c:v>
                </c:pt>
                <c:pt idx="37">
                  <c:v>3.336561461501103E-2</c:v>
                </c:pt>
                <c:pt idx="38">
                  <c:v>3.1897061212580187E-2</c:v>
                </c:pt>
                <c:pt idx="39">
                  <c:v>3.0591232179052279E-2</c:v>
                </c:pt>
                <c:pt idx="40">
                  <c:v>2.6490890509876141E-2</c:v>
                </c:pt>
                <c:pt idx="41">
                  <c:v>2.5005655171483909E-2</c:v>
                </c:pt>
                <c:pt idx="42">
                  <c:v>2.471524594195228E-2</c:v>
                </c:pt>
                <c:pt idx="43">
                  <c:v>2.5740688254943609E-2</c:v>
                </c:pt>
                <c:pt idx="44">
                  <c:v>2.534241769031121E-2</c:v>
                </c:pt>
                <c:pt idx="45">
                  <c:v>2.5785004878787769E-2</c:v>
                </c:pt>
                <c:pt idx="46">
                  <c:v>2.6712805427711591E-2</c:v>
                </c:pt>
                <c:pt idx="47">
                  <c:v>2.6016063432124481E-2</c:v>
                </c:pt>
                <c:pt idx="48">
                  <c:v>2.645901837190287E-2</c:v>
                </c:pt>
                <c:pt idx="49">
                  <c:v>2.253097533810856E-2</c:v>
                </c:pt>
                <c:pt idx="50">
                  <c:v>2.3407974477709061E-2</c:v>
                </c:pt>
                <c:pt idx="51">
                  <c:v>2.5267129597052979E-2</c:v>
                </c:pt>
                <c:pt idx="52">
                  <c:v>3.1101577984060599E-2</c:v>
                </c:pt>
                <c:pt idx="53">
                  <c:v>3.3390590546211449E-2</c:v>
                </c:pt>
                <c:pt idx="54">
                  <c:v>2.47735092998775E-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18089307194123574"/>
          <c:min val="7.5697543274504286E-2"/>
        </c:scaling>
        <c:delete val="0"/>
        <c:axPos val="b"/>
        <c:title>
          <c:tx>
            <c:rich>
              <a:bodyPr rot="0" spcFirstLastPara="1" vertOverflow="ellipsis" vert="horz" wrap="square" anchor="ctr" anchorCtr="1"/>
              <a:lstStyle/>
              <a:p>
                <a:pPr>
                  <a:defRPr sz="800" b="0">
                    <a:solidFill>
                      <a:srgbClr val="575555"/>
                    </a:solidFill>
                    <a:latin typeface="Nexa Bold"/>
                  </a:defRPr>
                </a:pPr>
                <a:r>
                  <a:rPr lang="en-US"/>
                  <a:t>Price Ix vs. Gillette Fusion5</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3084051742229012</c:v>
                </c:pt>
                <c:pt idx="1">
                  <c:v>0.31591786351078627</c:v>
                </c:pt>
                <c:pt idx="2">
                  <c:v>0.32058023334902946</c:v>
                </c:pt>
                <c:pt idx="3">
                  <c:v>0.31551466024025998</c:v>
                </c:pt>
                <c:pt idx="4">
                  <c:v>0.31248983133575575</c:v>
                </c:pt>
                <c:pt idx="5">
                  <c:v>0.31209899175068745</c:v>
                </c:pt>
                <c:pt idx="6">
                  <c:v>0.31243915630070307</c:v>
                </c:pt>
                <c:pt idx="7">
                  <c:v>0.3133619793471481</c:v>
                </c:pt>
                <c:pt idx="8">
                  <c:v>0.31671907756813417</c:v>
                </c:pt>
                <c:pt idx="9">
                  <c:v>0.31082322826247477</c:v>
                </c:pt>
                <c:pt idx="10">
                  <c:v>0.31047212859141043</c:v>
                </c:pt>
                <c:pt idx="11">
                  <c:v>0.30851195946449417</c:v>
                </c:pt>
                <c:pt idx="12">
                  <c:v>0.30743476600274672</c:v>
                </c:pt>
                <c:pt idx="13">
                  <c:v>0.30557876018361524</c:v>
                </c:pt>
                <c:pt idx="14">
                  <c:v>0.30608180521683359</c:v>
                </c:pt>
                <c:pt idx="15">
                  <c:v>0.30537959003209308</c:v>
                </c:pt>
                <c:pt idx="16">
                  <c:v>0.30479028449342177</c:v>
                </c:pt>
                <c:pt idx="17">
                  <c:v>0.30535697989231286</c:v>
                </c:pt>
                <c:pt idx="18">
                  <c:v>0.30758733419811496</c:v>
                </c:pt>
                <c:pt idx="19">
                  <c:v>0.30384356418742708</c:v>
                </c:pt>
                <c:pt idx="20">
                  <c:v>0.30255871389344829</c:v>
                </c:pt>
                <c:pt idx="21">
                  <c:v>0.30131492720175512</c:v>
                </c:pt>
                <c:pt idx="22">
                  <c:v>0.30402402402402401</c:v>
                </c:pt>
                <c:pt idx="23">
                  <c:v>0.3041818228723267</c:v>
                </c:pt>
                <c:pt idx="24">
                  <c:v>0.30380595989557657</c:v>
                </c:pt>
                <c:pt idx="25">
                  <c:v>0.30266464709715091</c:v>
                </c:pt>
                <c:pt idx="26">
                  <c:v>0.30198090992432275</c:v>
                </c:pt>
                <c:pt idx="27">
                  <c:v>0.30261018186645428</c:v>
                </c:pt>
                <c:pt idx="28">
                  <c:v>0.30379475941413642</c:v>
                </c:pt>
                <c:pt idx="29">
                  <c:v>0.30510575091808745</c:v>
                </c:pt>
                <c:pt idx="30">
                  <c:v>0.30547263681592041</c:v>
                </c:pt>
                <c:pt idx="31">
                  <c:v>0.30191808942530629</c:v>
                </c:pt>
                <c:pt idx="32">
                  <c:v>0.30004016835781272</c:v>
                </c:pt>
                <c:pt idx="33">
                  <c:v>0.30140260803244229</c:v>
                </c:pt>
                <c:pt idx="34">
                  <c:v>0.30315931183998879</c:v>
                </c:pt>
                <c:pt idx="35">
                  <c:v>0.30423707530585153</c:v>
                </c:pt>
                <c:pt idx="36">
                  <c:v>0.30339368848493503</c:v>
                </c:pt>
                <c:pt idx="37">
                  <c:v>0.30312142377964563</c:v>
                </c:pt>
                <c:pt idx="38">
                  <c:v>0.30421477922015827</c:v>
                </c:pt>
                <c:pt idx="39">
                  <c:v>0.30360700245050509</c:v>
                </c:pt>
                <c:pt idx="40">
                  <c:v>0.30482776067799466</c:v>
                </c:pt>
                <c:pt idx="41">
                  <c:v>0.30496561046396053</c:v>
                </c:pt>
                <c:pt idx="42">
                  <c:v>0.30474260101509459</c:v>
                </c:pt>
                <c:pt idx="43">
                  <c:v>0.30487658997567685</c:v>
                </c:pt>
                <c:pt idx="44">
                  <c:v>0.30417377406912238</c:v>
                </c:pt>
                <c:pt idx="45">
                  <c:v>0.30429474182711519</c:v>
                </c:pt>
                <c:pt idx="46">
                  <c:v>0.30416987037597953</c:v>
                </c:pt>
                <c:pt idx="47">
                  <c:v>0.30177142857142858</c:v>
                </c:pt>
                <c:pt idx="48">
                  <c:v>0.30034428178139644</c:v>
                </c:pt>
                <c:pt idx="49">
                  <c:v>0.30020553910468561</c:v>
                </c:pt>
                <c:pt idx="50">
                  <c:v>0.30020393921120919</c:v>
                </c:pt>
                <c:pt idx="51">
                  <c:v>0.30029572161037082</c:v>
                </c:pt>
                <c:pt idx="52">
                  <c:v>0.30085731375024921</c:v>
                </c:pt>
                <c:pt idx="53">
                  <c:v>0.30374794069192751</c:v>
                </c:pt>
                <c:pt idx="54">
                  <c:v>0.30475569923731716</c:v>
                </c:pt>
                <c:pt idx="55">
                  <c:v>0.30484411191281596</c:v>
                </c:pt>
                <c:pt idx="56">
                  <c:v>0.29666067320451317</c:v>
                </c:pt>
                <c:pt idx="57">
                  <c:v>0.25400835544515327</c:v>
                </c:pt>
                <c:pt idx="58">
                  <c:v>0.23382400369980466</c:v>
                </c:pt>
                <c:pt idx="59">
                  <c:v>0.23943026116791946</c:v>
                </c:pt>
                <c:pt idx="60">
                  <c:v>0.25369491863085675</c:v>
                </c:pt>
                <c:pt idx="61">
                  <c:v>0.26335839430757868</c:v>
                </c:pt>
                <c:pt idx="62">
                  <c:v>0.24811366501794199</c:v>
                </c:pt>
                <c:pt idx="63">
                  <c:v>0.25331883600138116</c:v>
                </c:pt>
                <c:pt idx="64">
                  <c:v>0.27606841827999473</c:v>
                </c:pt>
                <c:pt idx="65">
                  <c:v>0.28160478817918266</c:v>
                </c:pt>
                <c:pt idx="66">
                  <c:v>0.29229782021117312</c:v>
                </c:pt>
                <c:pt idx="67">
                  <c:v>0.30127414335954045</c:v>
                </c:pt>
                <c:pt idx="68">
                  <c:v>0.30305886879569066</c:v>
                </c:pt>
                <c:pt idx="69">
                  <c:v>0.30492991022208221</c:v>
                </c:pt>
                <c:pt idx="70">
                  <c:v>0.30628978911194849</c:v>
                </c:pt>
                <c:pt idx="71">
                  <c:v>0.30507690665654685</c:v>
                </c:pt>
                <c:pt idx="72">
                  <c:v>0.30607670596048481</c:v>
                </c:pt>
                <c:pt idx="73">
                  <c:v>0.3116373241246056</c:v>
                </c:pt>
                <c:pt idx="74">
                  <c:v>0.31424842998124136</c:v>
                </c:pt>
                <c:pt idx="75">
                  <c:v>0.31320176754871626</c:v>
                </c:pt>
                <c:pt idx="76">
                  <c:v>0.31380953870863448</c:v>
                </c:pt>
                <c:pt idx="77">
                  <c:v>0.32590348409435188</c:v>
                </c:pt>
                <c:pt idx="78">
                  <c:v>0.33061711871301291</c:v>
                </c:pt>
                <c:pt idx="79">
                  <c:v>0.33376024237416513</c:v>
                </c:pt>
                <c:pt idx="80">
                  <c:v>0.334863282523373</c:v>
                </c:pt>
                <c:pt idx="81">
                  <c:v>0.33732775797715603</c:v>
                </c:pt>
                <c:pt idx="82">
                  <c:v>0.3340239432262419</c:v>
                </c:pt>
                <c:pt idx="83">
                  <c:v>0.32813911724353323</c:v>
                </c:pt>
                <c:pt idx="84">
                  <c:v>0.32451377453380215</c:v>
                </c:pt>
                <c:pt idx="85">
                  <c:v>0.3242920313313794</c:v>
                </c:pt>
                <c:pt idx="86">
                  <c:v>0.32834757834757833</c:v>
                </c:pt>
                <c:pt idx="87">
                  <c:v>0.33024565689467972</c:v>
                </c:pt>
                <c:pt idx="88">
                  <c:v>0.33047076978575868</c:v>
                </c:pt>
                <c:pt idx="89">
                  <c:v>0.32960364974033468</c:v>
                </c:pt>
                <c:pt idx="90">
                  <c:v>0.32877782475231143</c:v>
                </c:pt>
                <c:pt idx="91">
                  <c:v>0.33265505668454848</c:v>
                </c:pt>
                <c:pt idx="92">
                  <c:v>0.33383080669232584</c:v>
                </c:pt>
                <c:pt idx="93">
                  <c:v>0.33445095599479496</c:v>
                </c:pt>
                <c:pt idx="94">
                  <c:v>0.33425385899470356</c:v>
                </c:pt>
                <c:pt idx="95">
                  <c:v>0.33302358553829059</c:v>
                </c:pt>
                <c:pt idx="96">
                  <c:v>0.3331230702831911</c:v>
                </c:pt>
                <c:pt idx="97">
                  <c:v>0.33248279672509923</c:v>
                </c:pt>
                <c:pt idx="98">
                  <c:v>0.33184443040565192</c:v>
                </c:pt>
                <c:pt idx="99">
                  <c:v>0.31234357273380736</c:v>
                </c:pt>
                <c:pt idx="100">
                  <c:v>0.30123106937136429</c:v>
                </c:pt>
                <c:pt idx="101">
                  <c:v>0.30056872662328632</c:v>
                </c:pt>
              </c:numCache>
            </c:numRef>
          </c:xVal>
          <c:yVal>
            <c:numRef>
              <c:f>Sheet1!$B$2:$B$103</c:f>
              <c:numCache>
                <c:formatCode>General</c:formatCode>
                <c:ptCount val="102"/>
                <c:pt idx="0">
                  <c:v>3.1549194168607006E-2</c:v>
                </c:pt>
                <c:pt idx="1">
                  <c:v>2.5925076493376501E-2</c:v>
                </c:pt>
                <c:pt idx="2">
                  <c:v>1.9457371147598559E-2</c:v>
                </c:pt>
                <c:pt idx="3">
                  <c:v>2.1005226955186754E-2</c:v>
                </c:pt>
                <c:pt idx="4">
                  <c:v>2.3683174888924508E-2</c:v>
                </c:pt>
                <c:pt idx="5">
                  <c:v>2.4814911692122233E-2</c:v>
                </c:pt>
                <c:pt idx="6">
                  <c:v>2.2966901329024649E-2</c:v>
                </c:pt>
                <c:pt idx="7">
                  <c:v>2.1693356757167159E-2</c:v>
                </c:pt>
                <c:pt idx="8">
                  <c:v>2.508474647577718E-2</c:v>
                </c:pt>
                <c:pt idx="9">
                  <c:v>3.2219360006132694E-2</c:v>
                </c:pt>
                <c:pt idx="10">
                  <c:v>3.3455366889535383E-2</c:v>
                </c:pt>
                <c:pt idx="11">
                  <c:v>3.0774205038558523E-2</c:v>
                </c:pt>
                <c:pt idx="12">
                  <c:v>3.166311843777065E-2</c:v>
                </c:pt>
                <c:pt idx="13">
                  <c:v>2.9573633835338665E-2</c:v>
                </c:pt>
                <c:pt idx="14">
                  <c:v>2.9438294749618857E-2</c:v>
                </c:pt>
                <c:pt idx="15">
                  <c:v>3.2326555355538883E-2</c:v>
                </c:pt>
                <c:pt idx="16">
                  <c:v>3.0454183212358377E-2</c:v>
                </c:pt>
                <c:pt idx="17">
                  <c:v>3.0177244147381318E-2</c:v>
                </c:pt>
                <c:pt idx="18">
                  <c:v>3.0949579617420526E-2</c:v>
                </c:pt>
                <c:pt idx="19">
                  <c:v>3.3044676701229417E-2</c:v>
                </c:pt>
                <c:pt idx="20">
                  <c:v>3.4502368865567047E-2</c:v>
                </c:pt>
                <c:pt idx="21">
                  <c:v>3.8171203781773647E-2</c:v>
                </c:pt>
                <c:pt idx="22">
                  <c:v>3.2633840746857157E-2</c:v>
                </c:pt>
                <c:pt idx="23">
                  <c:v>3.22851825867847E-2</c:v>
                </c:pt>
                <c:pt idx="24">
                  <c:v>3.4293774474369265E-2</c:v>
                </c:pt>
                <c:pt idx="25">
                  <c:v>3.3493331489235549E-2</c:v>
                </c:pt>
                <c:pt idx="26">
                  <c:v>3.2256296982208908E-2</c:v>
                </c:pt>
                <c:pt idx="27">
                  <c:v>3.256327154323236E-2</c:v>
                </c:pt>
                <c:pt idx="28">
                  <c:v>3.0215972855570965E-2</c:v>
                </c:pt>
                <c:pt idx="29">
                  <c:v>2.971323515475446E-2</c:v>
                </c:pt>
                <c:pt idx="30">
                  <c:v>2.9886044202056927E-2</c:v>
                </c:pt>
                <c:pt idx="31">
                  <c:v>3.0113049153545669E-2</c:v>
                </c:pt>
                <c:pt idx="32">
                  <c:v>3.0121682992946059E-2</c:v>
                </c:pt>
                <c:pt idx="33">
                  <c:v>2.8704102443482309E-2</c:v>
                </c:pt>
                <c:pt idx="34">
                  <c:v>3.0602403901330309E-2</c:v>
                </c:pt>
                <c:pt idx="35">
                  <c:v>3.1456536502498786E-2</c:v>
                </c:pt>
                <c:pt idx="36">
                  <c:v>3.1516667937295108E-2</c:v>
                </c:pt>
                <c:pt idx="37">
                  <c:v>3.3226585884057164E-2</c:v>
                </c:pt>
                <c:pt idx="38">
                  <c:v>3.3016326225624587E-2</c:v>
                </c:pt>
                <c:pt idx="39">
                  <c:v>3.0075909553288729E-2</c:v>
                </c:pt>
                <c:pt idx="40">
                  <c:v>3.0308227143147046E-2</c:v>
                </c:pt>
                <c:pt idx="41">
                  <c:v>3.1273537834975489E-2</c:v>
                </c:pt>
                <c:pt idx="42">
                  <c:v>3.0059016900147784E-2</c:v>
                </c:pt>
                <c:pt idx="43">
                  <c:v>3.0573863083611635E-2</c:v>
                </c:pt>
                <c:pt idx="44">
                  <c:v>3.254448153409624E-2</c:v>
                </c:pt>
                <c:pt idx="45">
                  <c:v>3.2420025270644671E-2</c:v>
                </c:pt>
                <c:pt idx="46">
                  <c:v>3.0841270586476857E-2</c:v>
                </c:pt>
                <c:pt idx="47">
                  <c:v>3.4545476528939606E-2</c:v>
                </c:pt>
                <c:pt idx="48">
                  <c:v>3.9378011399146942E-2</c:v>
                </c:pt>
                <c:pt idx="49">
                  <c:v>3.4585845792310457E-2</c:v>
                </c:pt>
                <c:pt idx="50">
                  <c:v>3.6889295123608744E-2</c:v>
                </c:pt>
                <c:pt idx="51">
                  <c:v>3.516974061970235E-2</c:v>
                </c:pt>
                <c:pt idx="52">
                  <c:v>3.3440411726256954E-2</c:v>
                </c:pt>
                <c:pt idx="53">
                  <c:v>3.0775515895011849E-2</c:v>
                </c:pt>
                <c:pt idx="54">
                  <c:v>2.856172806220978E-2</c:v>
                </c:pt>
                <c:pt idx="55">
                  <c:v>2.9260191711765828E-2</c:v>
                </c:pt>
                <c:pt idx="56">
                  <c:v>3.1178692703543048E-2</c:v>
                </c:pt>
                <c:pt idx="57">
                  <c:v>3.7031471681131703E-2</c:v>
                </c:pt>
                <c:pt idx="58">
                  <c:v>3.9909501581123753E-2</c:v>
                </c:pt>
                <c:pt idx="59">
                  <c:v>3.3090443177845791E-2</c:v>
                </c:pt>
                <c:pt idx="60">
                  <c:v>2.0429936026239697E-2</c:v>
                </c:pt>
                <c:pt idx="61">
                  <c:v>1.5942339180034886E-2</c:v>
                </c:pt>
                <c:pt idx="62">
                  <c:v>2.6561543645322632E-2</c:v>
                </c:pt>
                <c:pt idx="63">
                  <c:v>3.5068893654044385E-2</c:v>
                </c:pt>
                <c:pt idx="64">
                  <c:v>3.0967228847484717E-2</c:v>
                </c:pt>
                <c:pt idx="65">
                  <c:v>2.6027056162994167E-2</c:v>
                </c:pt>
                <c:pt idx="66">
                  <c:v>2.5871503741223587E-2</c:v>
                </c:pt>
                <c:pt idx="67">
                  <c:v>2.691260699372984E-2</c:v>
                </c:pt>
                <c:pt idx="68">
                  <c:v>2.5874418970458959E-2</c:v>
                </c:pt>
                <c:pt idx="69">
                  <c:v>2.3193315376484971E-2</c:v>
                </c:pt>
                <c:pt idx="70">
                  <c:v>2.2686657383630057E-2</c:v>
                </c:pt>
                <c:pt idx="71">
                  <c:v>2.6189284143623485E-2</c:v>
                </c:pt>
                <c:pt idx="72">
                  <c:v>2.7336338114147821E-2</c:v>
                </c:pt>
                <c:pt idx="73">
                  <c:v>2.7740990571672709E-2</c:v>
                </c:pt>
                <c:pt idx="74">
                  <c:v>2.8775273119844166E-2</c:v>
                </c:pt>
                <c:pt idx="75">
                  <c:v>2.8510329318482425E-2</c:v>
                </c:pt>
                <c:pt idx="76">
                  <c:v>2.7909474603405617E-2</c:v>
                </c:pt>
                <c:pt idx="77">
                  <c:v>2.354699792786898E-2</c:v>
                </c:pt>
                <c:pt idx="78">
                  <c:v>2.3516397046911525E-2</c:v>
                </c:pt>
                <c:pt idx="79">
                  <c:v>2.2115174941799768E-2</c:v>
                </c:pt>
                <c:pt idx="80">
                  <c:v>2.2268202762568419E-2</c:v>
                </c:pt>
                <c:pt idx="81">
                  <c:v>2.1244426266941792E-2</c:v>
                </c:pt>
                <c:pt idx="82">
                  <c:v>3.1177386289303839E-2</c:v>
                </c:pt>
                <c:pt idx="83">
                  <c:v>2.6306476866990773E-2</c:v>
                </c:pt>
                <c:pt idx="84">
                  <c:v>2.5524833007679375E-2</c:v>
                </c:pt>
                <c:pt idx="85">
                  <c:v>2.6871534411513368E-2</c:v>
                </c:pt>
                <c:pt idx="86">
                  <c:v>2.6338851413823878E-2</c:v>
                </c:pt>
                <c:pt idx="87">
                  <c:v>2.4648701089615546E-2</c:v>
                </c:pt>
                <c:pt idx="88">
                  <c:v>2.6238033764437702E-2</c:v>
                </c:pt>
                <c:pt idx="89">
                  <c:v>3.0191859532939729E-2</c:v>
                </c:pt>
                <c:pt idx="90">
                  <c:v>3.0716851696320817E-2</c:v>
                </c:pt>
                <c:pt idx="91">
                  <c:v>3.1790352756617284E-2</c:v>
                </c:pt>
                <c:pt idx="92">
                  <c:v>2.9789485452214992E-2</c:v>
                </c:pt>
                <c:pt idx="93">
                  <c:v>2.7419432969366012E-2</c:v>
                </c:pt>
                <c:pt idx="94">
                  <c:v>2.5375304588112154E-2</c:v>
                </c:pt>
                <c:pt idx="95">
                  <c:v>2.7271435244645044E-2</c:v>
                </c:pt>
                <c:pt idx="96">
                  <c:v>2.4300725205733124E-2</c:v>
                </c:pt>
                <c:pt idx="97">
                  <c:v>2.5953063658202231E-2</c:v>
                </c:pt>
                <c:pt idx="98">
                  <c:v>2.870484051773789E-2</c:v>
                </c:pt>
                <c:pt idx="99">
                  <c:v>3.0161179689259059E-2</c:v>
                </c:pt>
                <c:pt idx="100">
                  <c:v>3.7558407981539428E-2</c:v>
                </c:pt>
                <c:pt idx="101">
                  <c:v>3.5796970668813106E-2</c:v>
                </c:pt>
              </c:numCache>
            </c:numRef>
          </c:yVal>
          <c:smooth val="0"/>
          <c:extLst>
            <c:ext xmlns:c16="http://schemas.microsoft.com/office/drawing/2014/chart" uri="{C3380CC4-5D6E-409C-BE32-E72D297353CC}">
              <c16:uniqueId val="{00000000-F32D-48B7-BC20-E66FC6253BAD}"/>
            </c:ext>
          </c:extLst>
        </c:ser>
        <c:ser>
          <c:idx val="1"/>
          <c:order val="1"/>
          <c:tx>
            <c:strRef>
              <c:f>Sheet1!$B$10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6:$A$157</c:f>
              <c:numCache>
                <c:formatCode>General</c:formatCode>
                <c:ptCount val="52"/>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numCache>
            </c:numRef>
          </c:xVal>
          <c:yVal>
            <c:numRef>
              <c:f>Sheet1!$B$106:$B$157</c:f>
              <c:numCache>
                <c:formatCode>General</c:formatCode>
                <c:ptCount val="52"/>
                <c:pt idx="0">
                  <c:v>3.3379430772150658E-2</c:v>
                </c:pt>
                <c:pt idx="1">
                  <c:v>3.5297770608354727E-2</c:v>
                </c:pt>
                <c:pt idx="2">
                  <c:v>3.603152077608085E-2</c:v>
                </c:pt>
                <c:pt idx="3">
                  <c:v>3.0978674639028675E-2</c:v>
                </c:pt>
                <c:pt idx="4">
                  <c:v>2.8133515753956471E-2</c:v>
                </c:pt>
                <c:pt idx="5">
                  <c:v>2.7512069607189618E-2</c:v>
                </c:pt>
                <c:pt idx="6">
                  <c:v>2.7535908601076187E-2</c:v>
                </c:pt>
                <c:pt idx="7">
                  <c:v>2.7306049137985969E-2</c:v>
                </c:pt>
                <c:pt idx="8">
                  <c:v>2.6838607545871734E-2</c:v>
                </c:pt>
                <c:pt idx="9">
                  <c:v>2.8577136215520643E-2</c:v>
                </c:pt>
                <c:pt idx="10">
                  <c:v>2.9045708307140341E-2</c:v>
                </c:pt>
                <c:pt idx="11">
                  <c:v>3.0151694267354034E-2</c:v>
                </c:pt>
                <c:pt idx="12">
                  <c:v>3.1278274774940926E-2</c:v>
                </c:pt>
                <c:pt idx="13">
                  <c:v>3.2623144271831599E-2</c:v>
                </c:pt>
                <c:pt idx="14">
                  <c:v>3.2081452766552027E-2</c:v>
                </c:pt>
                <c:pt idx="15">
                  <c:v>2.8476513020004538E-2</c:v>
                </c:pt>
                <c:pt idx="16">
                  <c:v>2.8897929262062423E-2</c:v>
                </c:pt>
                <c:pt idx="17">
                  <c:v>2.8572345272906727E-2</c:v>
                </c:pt>
                <c:pt idx="18">
                  <c:v>2.7582157287634194E-2</c:v>
                </c:pt>
                <c:pt idx="19">
                  <c:v>2.6684207925807661E-2</c:v>
                </c:pt>
                <c:pt idx="20">
                  <c:v>2.5074098168638374E-2</c:v>
                </c:pt>
                <c:pt idx="21">
                  <c:v>3.7053775555914395E-2</c:v>
                </c:pt>
                <c:pt idx="22">
                  <c:v>4.1201839145334811E-2</c:v>
                </c:pt>
                <c:pt idx="23">
                  <c:v>3.952108516249337E-2</c:v>
                </c:pt>
                <c:pt idx="24">
                  <c:v>3.301132678213544E-2</c:v>
                </c:pt>
                <c:pt idx="25">
                  <c:v>3.4672282379825628E-2</c:v>
                </c:pt>
                <c:pt idx="26">
                  <c:v>3.6478521099227869E-2</c:v>
                </c:pt>
                <c:pt idx="27">
                  <c:v>3.1719960612283417E-2</c:v>
                </c:pt>
                <c:pt idx="28">
                  <c:v>2.9844699099281863E-2</c:v>
                </c:pt>
                <c:pt idx="29">
                  <c:v>2.8247037929351546E-2</c:v>
                </c:pt>
                <c:pt idx="30">
                  <c:v>2.3926861689124793E-2</c:v>
                </c:pt>
                <c:pt idx="31">
                  <c:v>2.0770671408149036E-2</c:v>
                </c:pt>
                <c:pt idx="32">
                  <c:v>2.3460558709885785E-2</c:v>
                </c:pt>
                <c:pt idx="33">
                  <c:v>3.0427962862070307E-2</c:v>
                </c:pt>
                <c:pt idx="34">
                  <c:v>3.1037706913624008E-2</c:v>
                </c:pt>
                <c:pt idx="35">
                  <c:v>2.928997264422914E-2</c:v>
                </c:pt>
                <c:pt idx="36">
                  <c:v>2.9697936908540855E-2</c:v>
                </c:pt>
                <c:pt idx="37">
                  <c:v>3.0248130900335804E-2</c:v>
                </c:pt>
                <c:pt idx="38">
                  <c:v>3.5070387750061743E-2</c:v>
                </c:pt>
                <c:pt idx="39">
                  <c:v>3.1208337770205517E-2</c:v>
                </c:pt>
                <c:pt idx="40">
                  <c:v>2.6826790166755026E-2</c:v>
                </c:pt>
                <c:pt idx="41">
                  <c:v>2.4203784771293646E-2</c:v>
                </c:pt>
                <c:pt idx="42">
                  <c:v>2.4098053977022377E-2</c:v>
                </c:pt>
                <c:pt idx="43">
                  <c:v>2.4523754132153155E-2</c:v>
                </c:pt>
                <c:pt idx="44">
                  <c:v>2.2379504666963371E-2</c:v>
                </c:pt>
                <c:pt idx="45">
                  <c:v>2.104065524243157E-2</c:v>
                </c:pt>
                <c:pt idx="46">
                  <c:v>2.2028240128902143E-2</c:v>
                </c:pt>
                <c:pt idx="47">
                  <c:v>2.3321641522021073E-2</c:v>
                </c:pt>
                <c:pt idx="48">
                  <c:v>2.5721900660138006E-2</c:v>
                </c:pt>
                <c:pt idx="49">
                  <c:v>2.4967370312040958E-2</c:v>
                </c:pt>
                <c:pt idx="50">
                  <c:v>2.6033359791458374E-2</c:v>
                </c:pt>
                <c:pt idx="51">
                  <c:v>2.5702227757022279E-2</c:v>
                </c:pt>
              </c:numCache>
            </c:numRef>
          </c:yVal>
          <c:smooth val="0"/>
          <c:extLst>
            <c:ext xmlns:c16="http://schemas.microsoft.com/office/drawing/2014/chart" uri="{C3380CC4-5D6E-409C-BE32-E72D297353CC}">
              <c16:uniqueId val="{00000002-F32D-48B7-BC20-E66FC6253BAD}"/>
            </c:ext>
          </c:extLst>
        </c:ser>
        <c:ser>
          <c:idx val="2"/>
          <c:order val="2"/>
          <c:tx>
            <c:strRef>
              <c:f>Sheet1!$B$159</c:f>
              <c:strCache>
                <c:ptCount val="1"/>
                <c:pt idx="0">
                  <c:v>Custom Linep3yQ</c:v>
                </c:pt>
              </c:strCache>
            </c:strRef>
          </c:tx>
          <c:spPr>
            <a:ln w="19050" cap="rnd">
              <a:solidFill>
                <a:srgbClr val="C00000"/>
              </a:solidFill>
              <a:prstDash val="sysDot"/>
              <a:round/>
            </a:ln>
            <a:effectLst/>
          </c:spPr>
          <c:marker>
            <c:symbol val="none"/>
          </c:marker>
          <c:xVal>
            <c:numRef>
              <c:f>Sheet1!$A$160:$A$161</c:f>
              <c:numCache>
                <c:formatCode>General</c:formatCode>
                <c:ptCount val="2"/>
                <c:pt idx="0">
                  <c:v>0</c:v>
                </c:pt>
                <c:pt idx="1">
                  <c:v>0.27575744047645689</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3-F32D-48B7-BC20-E66FC6253BAD}"/>
            </c:ext>
          </c:extLst>
        </c:ser>
        <c:ser>
          <c:idx val="3"/>
          <c:order val="3"/>
          <c:tx>
            <c:strRef>
              <c:f>Sheet1!$B$16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0.27575744047645689</c:v>
                </c:pt>
                <c:pt idx="1">
                  <c:v>0.27575744047645689</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8:$A$169</c:f>
              <c:numCache>
                <c:formatCode>General</c:formatCode>
                <c:ptCount val="2"/>
                <c:pt idx="0">
                  <c:v>0</c:v>
                </c:pt>
                <c:pt idx="1">
                  <c:v>0.28987004975079905</c:v>
                </c:pt>
              </c:numCache>
            </c:numRef>
          </c:xVal>
          <c:yVal>
            <c:numRef>
              <c:f>Sheet1!$B$168:$B$169</c:f>
              <c:numCache>
                <c:formatCode>General</c:formatCode>
                <c:ptCount val="2"/>
                <c:pt idx="0">
                  <c:v>3.1101577984060606E-2</c:v>
                </c:pt>
                <c:pt idx="1">
                  <c:v>3.1101577984060606E-2</c:v>
                </c:pt>
              </c:numCache>
            </c:numRef>
          </c:yVal>
          <c:smooth val="0"/>
          <c:extLst>
            <c:ext xmlns:c16="http://schemas.microsoft.com/office/drawing/2014/chart" uri="{C3380CC4-5D6E-409C-BE32-E72D297353CC}">
              <c16:uniqueId val="{0000000A-F32D-48B7-BC20-E66FC6253BAD}"/>
            </c:ext>
          </c:extLst>
        </c:ser>
        <c:ser>
          <c:idx val="5"/>
          <c:order val="5"/>
          <c:tx>
            <c:strRef>
              <c:f>Sheet1!$B$17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0.28987004975079905</c:v>
                </c:pt>
                <c:pt idx="1">
                  <c:v>0.28987004975079905</c:v>
                </c:pt>
              </c:numCache>
            </c:numRef>
          </c:xVal>
          <c:yVal>
            <c:numRef>
              <c:f>Sheet1!$B$172:$B$173</c:f>
              <c:numCache>
                <c:formatCode>General</c:formatCode>
                <c:ptCount val="2"/>
                <c:pt idx="0">
                  <c:v>3.1101577984060606E-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6:$A$177</c:f>
              <c:numCache>
                <c:formatCode>General</c:formatCode>
                <c:ptCount val="2"/>
                <c:pt idx="0">
                  <c:v>0</c:v>
                </c:pt>
                <c:pt idx="1">
                  <c:v>0.32888493428125432</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1-F32D-48B7-BC20-E66FC6253BAD}"/>
            </c:ext>
          </c:extLst>
        </c:ser>
        <c:ser>
          <c:idx val="7"/>
          <c:order val="7"/>
          <c:tx>
            <c:strRef>
              <c:f>Sheet1!$B$17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0:$A$181</c:f>
              <c:numCache>
                <c:formatCode>General</c:formatCode>
                <c:ptCount val="2"/>
                <c:pt idx="0">
                  <c:v>0.32888493428125432</c:v>
                </c:pt>
                <c:pt idx="1">
                  <c:v>0.32888493428125432</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4:$A$238</c:f>
              <c:numCache>
                <c:formatCode>General</c:formatCode>
                <c:ptCount val="55"/>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pt idx="52">
                  <c:v>0.28987004975079905</c:v>
                </c:pt>
                <c:pt idx="53">
                  <c:v>0.27575744047645689</c:v>
                </c:pt>
                <c:pt idx="54">
                  <c:v>0.32888493428125432</c:v>
                </c:pt>
              </c:numCache>
            </c:numRef>
          </c:xVal>
          <c:yVal>
            <c:numRef>
              <c:f>Sheet1!$B$184:$B$238</c:f>
              <c:numCache>
                <c:formatCode>General</c:formatCode>
                <c:ptCount val="55"/>
                <c:pt idx="0">
                  <c:v>2.9413873016704839E-2</c:v>
                </c:pt>
                <c:pt idx="1">
                  <c:v>2.9896344890080709E-2</c:v>
                </c:pt>
                <c:pt idx="2">
                  <c:v>3.0155656486461964E-2</c:v>
                </c:pt>
                <c:pt idx="3">
                  <c:v>2.7109900331363727E-2</c:v>
                </c:pt>
                <c:pt idx="4">
                  <c:v>2.4371775225560388E-2</c:v>
                </c:pt>
                <c:pt idx="5">
                  <c:v>2.4094268404047922E-2</c:v>
                </c:pt>
                <c:pt idx="6">
                  <c:v>2.4322183284519114E-2</c:v>
                </c:pt>
                <c:pt idx="7">
                  <c:v>2.5263903460272262E-2</c:v>
                </c:pt>
                <c:pt idx="8">
                  <c:v>2.7533717749061021E-2</c:v>
                </c:pt>
                <c:pt idx="9">
                  <c:v>2.9136059572005948E-2</c:v>
                </c:pt>
                <c:pt idx="10">
                  <c:v>2.8439725189245424E-2</c:v>
                </c:pt>
                <c:pt idx="11">
                  <c:v>2.8481575446516888E-2</c:v>
                </c:pt>
                <c:pt idx="12">
                  <c:v>3.0108594349578348E-2</c:v>
                </c:pt>
                <c:pt idx="13">
                  <c:v>3.169054387055209E-2</c:v>
                </c:pt>
                <c:pt idx="14">
                  <c:v>3.1465934595702259E-2</c:v>
                </c:pt>
                <c:pt idx="15">
                  <c:v>3.1477667841337743E-2</c:v>
                </c:pt>
                <c:pt idx="16">
                  <c:v>3.1573121681829512E-2</c:v>
                </c:pt>
                <c:pt idx="17">
                  <c:v>3.1532924296196564E-2</c:v>
                </c:pt>
                <c:pt idx="18">
                  <c:v>3.0515660900336583E-2</c:v>
                </c:pt>
                <c:pt idx="19">
                  <c:v>3.0211789143868836E-2</c:v>
                </c:pt>
                <c:pt idx="20">
                  <c:v>2.8955614795748236E-2</c:v>
                </c:pt>
                <c:pt idx="21">
                  <c:v>3.2772131418724967E-2</c:v>
                </c:pt>
                <c:pt idx="22">
                  <c:v>3.3542665870490845E-2</c:v>
                </c:pt>
                <c:pt idx="23">
                  <c:v>3.3435184307609174E-2</c:v>
                </c:pt>
                <c:pt idx="24">
                  <c:v>3.268271460365052E-2</c:v>
                </c:pt>
                <c:pt idx="25">
                  <c:v>3.3870059534782497E-2</c:v>
                </c:pt>
                <c:pt idx="26">
                  <c:v>3.3073079926514877E-2</c:v>
                </c:pt>
                <c:pt idx="27">
                  <c:v>3.1808643842456727E-2</c:v>
                </c:pt>
                <c:pt idx="28">
                  <c:v>3.0502176751221188E-2</c:v>
                </c:pt>
                <c:pt idx="29">
                  <c:v>2.7906678470255915E-2</c:v>
                </c:pt>
                <c:pt idx="30">
                  <c:v>2.5033266393526828E-2</c:v>
                </c:pt>
                <c:pt idx="31">
                  <c:v>2.630903103630991E-2</c:v>
                </c:pt>
                <c:pt idx="32">
                  <c:v>2.8693045313762239E-2</c:v>
                </c:pt>
                <c:pt idx="33">
                  <c:v>3.2596808075387743E-2</c:v>
                </c:pt>
                <c:pt idx="34">
                  <c:v>3.3462836223474769E-2</c:v>
                </c:pt>
                <c:pt idx="35">
                  <c:v>3.1780988069129081E-2</c:v>
                </c:pt>
                <c:pt idx="36">
                  <c:v>3.2997078119396075E-2</c:v>
                </c:pt>
                <c:pt idx="37">
                  <c:v>3.4241810296995578E-2</c:v>
                </c:pt>
                <c:pt idx="38">
                  <c:v>3.5259393566231922E-2</c:v>
                </c:pt>
                <c:pt idx="39">
                  <c:v>3.2524924643797831E-2</c:v>
                </c:pt>
                <c:pt idx="40">
                  <c:v>2.8308242375685959E-2</c:v>
                </c:pt>
                <c:pt idx="41">
                  <c:v>2.54404048951909E-2</c:v>
                </c:pt>
                <c:pt idx="42">
                  <c:v>2.3287513921568817E-2</c:v>
                </c:pt>
                <c:pt idx="43">
                  <c:v>2.3365554652546534E-2</c:v>
                </c:pt>
                <c:pt idx="44">
                  <c:v>2.3054756675168077E-2</c:v>
                </c:pt>
                <c:pt idx="45">
                  <c:v>2.3566114628330095E-2</c:v>
                </c:pt>
                <c:pt idx="46">
                  <c:v>2.5888630394799238E-2</c:v>
                </c:pt>
                <c:pt idx="47">
                  <c:v>2.6265547596405793E-2</c:v>
                </c:pt>
                <c:pt idx="48">
                  <c:v>2.7412822111043234E-2</c:v>
                </c:pt>
                <c:pt idx="49">
                  <c:v>2.5962622488181153E-2</c:v>
                </c:pt>
                <c:pt idx="50">
                  <c:v>2.4525712064247307E-2</c:v>
                </c:pt>
                <c:pt idx="51">
                  <c:v>2.4473274634488791E-2</c:v>
                </c:pt>
                <c:pt idx="52">
                  <c:v>3.1101577984060602E-2</c:v>
                </c:pt>
                <c:pt idx="53">
                  <c:v>3.3390590546211449E-2</c:v>
                </c:pt>
                <c:pt idx="54">
                  <c:v>2.4773509299877497E-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40737801608579088"/>
          <c:min val="0.18705920295984374"/>
        </c:scaling>
        <c:delete val="0"/>
        <c:axPos val="b"/>
        <c:title>
          <c:tx>
            <c:rich>
              <a:bodyPr rot="0" spcFirstLastPara="1" vertOverflow="ellipsis" vert="horz" wrap="square" anchor="ctr" anchorCtr="1"/>
              <a:lstStyle/>
              <a:p>
                <a:pPr>
                  <a:defRPr sz="800" b="0">
                    <a:latin typeface="Nexa Bold"/>
                  </a:defRPr>
                </a:pPr>
                <a:r>
                  <a:rPr lang="en-US"/>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1291069944164441</c:v>
                </c:pt>
                <c:pt idx="1">
                  <c:v>0.13485892486555889</c:v>
                </c:pt>
                <c:pt idx="2">
                  <c:v>0.13361697278764331</c:v>
                </c:pt>
                <c:pt idx="3">
                  <c:v>0.13181455947245191</c:v>
                </c:pt>
                <c:pt idx="4">
                  <c:v>0.13079849733141291</c:v>
                </c:pt>
                <c:pt idx="5">
                  <c:v>0.12786527339341361</c:v>
                </c:pt>
                <c:pt idx="6">
                  <c:v>0.13389772495720559</c:v>
                </c:pt>
                <c:pt idx="7">
                  <c:v>0.1359519354250221</c:v>
                </c:pt>
                <c:pt idx="8">
                  <c:v>0.13408395448492219</c:v>
                </c:pt>
                <c:pt idx="9">
                  <c:v>0.1272173036352085</c:v>
                </c:pt>
                <c:pt idx="10">
                  <c:v>0.12580154817273331</c:v>
                </c:pt>
                <c:pt idx="11">
                  <c:v>0.1247833670603628</c:v>
                </c:pt>
                <c:pt idx="12">
                  <c:v>0.12616612542700109</c:v>
                </c:pt>
                <c:pt idx="13">
                  <c:v>0.13426073846412021</c:v>
                </c:pt>
                <c:pt idx="14">
                  <c:v>0.13040345544745011</c:v>
                </c:pt>
                <c:pt idx="15">
                  <c:v>0.12568196098787579</c:v>
                </c:pt>
                <c:pt idx="16">
                  <c:v>0.1284543866213313</c:v>
                </c:pt>
                <c:pt idx="17">
                  <c:v>0.13252000199740169</c:v>
                </c:pt>
                <c:pt idx="18">
                  <c:v>0.12612196270786419</c:v>
                </c:pt>
                <c:pt idx="19">
                  <c:v>0.13496886950214251</c:v>
                </c:pt>
                <c:pt idx="20">
                  <c:v>0.13064933940560819</c:v>
                </c:pt>
                <c:pt idx="21">
                  <c:v>0.12635635491031241</c:v>
                </c:pt>
                <c:pt idx="22">
                  <c:v>0.12863609693980929</c:v>
                </c:pt>
                <c:pt idx="23">
                  <c:v>0.13116494310893009</c:v>
                </c:pt>
                <c:pt idx="24">
                  <c:v>0.1278058186678292</c:v>
                </c:pt>
                <c:pt idx="25">
                  <c:v>0.1235932293079324</c:v>
                </c:pt>
                <c:pt idx="26">
                  <c:v>0.12290934252239009</c:v>
                </c:pt>
                <c:pt idx="27">
                  <c:v>0.12109503765009599</c:v>
                </c:pt>
                <c:pt idx="28">
                  <c:v>0.12207135397276341</c:v>
                </c:pt>
                <c:pt idx="29">
                  <c:v>0.1263122981136704</c:v>
                </c:pt>
                <c:pt idx="30">
                  <c:v>0.1263263635992006</c:v>
                </c:pt>
                <c:pt idx="31">
                  <c:v>0.12476889875077329</c:v>
                </c:pt>
                <c:pt idx="32">
                  <c:v>0.12674353123399981</c:v>
                </c:pt>
                <c:pt idx="33">
                  <c:v>0.12588695742723971</c:v>
                </c:pt>
                <c:pt idx="34">
                  <c:v>0.12390000002667199</c:v>
                </c:pt>
                <c:pt idx="35">
                  <c:v>0.12440850519118039</c:v>
                </c:pt>
                <c:pt idx="36">
                  <c:v>0.12336288941275771</c:v>
                </c:pt>
                <c:pt idx="37">
                  <c:v>0.1236579395008299</c:v>
                </c:pt>
                <c:pt idx="38">
                  <c:v>0.1244360084590832</c:v>
                </c:pt>
                <c:pt idx="39">
                  <c:v>0.12224083915887329</c:v>
                </c:pt>
                <c:pt idx="40">
                  <c:v>0.1219327444047168</c:v>
                </c:pt>
                <c:pt idx="41">
                  <c:v>0.1250560323566518</c:v>
                </c:pt>
                <c:pt idx="42">
                  <c:v>0.12745512740440279</c:v>
                </c:pt>
                <c:pt idx="43">
                  <c:v>0.1211984894858895</c:v>
                </c:pt>
                <c:pt idx="44">
                  <c:v>0.1258670226690102</c:v>
                </c:pt>
                <c:pt idx="45">
                  <c:v>0.1272339848348821</c:v>
                </c:pt>
                <c:pt idx="46">
                  <c:v>0.13490346412193621</c:v>
                </c:pt>
                <c:pt idx="47">
                  <c:v>0.1232399985423943</c:v>
                </c:pt>
                <c:pt idx="48">
                  <c:v>0.12311641114157899</c:v>
                </c:pt>
                <c:pt idx="49">
                  <c:v>0.1234350759255986</c:v>
                </c:pt>
                <c:pt idx="50">
                  <c:v>0.12419744604278141</c:v>
                </c:pt>
                <c:pt idx="51">
                  <c:v>0.13145508336915421</c:v>
                </c:pt>
                <c:pt idx="52">
                  <c:v>0.13109930113357529</c:v>
                </c:pt>
                <c:pt idx="53">
                  <c:v>0.13568928560863899</c:v>
                </c:pt>
                <c:pt idx="54">
                  <c:v>0.1285210371531505</c:v>
                </c:pt>
                <c:pt idx="55">
                  <c:v>0.1300753516373136</c:v>
                </c:pt>
                <c:pt idx="56">
                  <c:v>0.12489749950473671</c:v>
                </c:pt>
                <c:pt idx="57">
                  <c:v>0.10266521645136149</c:v>
                </c:pt>
                <c:pt idx="58">
                  <c:v>9.4621929093130358E-2</c:v>
                </c:pt>
                <c:pt idx="59">
                  <c:v>9.8212612965823731E-2</c:v>
                </c:pt>
                <c:pt idx="60">
                  <c:v>0.1102654339127445</c:v>
                </c:pt>
                <c:pt idx="61">
                  <c:v>0.1086326326560431</c:v>
                </c:pt>
                <c:pt idx="62">
                  <c:v>0.10273100071317991</c:v>
                </c:pt>
                <c:pt idx="63">
                  <c:v>0.1056131313298932</c:v>
                </c:pt>
                <c:pt idx="64">
                  <c:v>0.116037952360732</c:v>
                </c:pt>
                <c:pt idx="65">
                  <c:v>0.13065683342069531</c:v>
                </c:pt>
                <c:pt idx="66">
                  <c:v>0.132712182958446</c:v>
                </c:pt>
                <c:pt idx="67">
                  <c:v>0.12498087731066</c:v>
                </c:pt>
                <c:pt idx="68">
                  <c:v>0.1318623648264734</c:v>
                </c:pt>
                <c:pt idx="69">
                  <c:v>0.13405085209231629</c:v>
                </c:pt>
                <c:pt idx="70">
                  <c:v>0.12663942767242409</c:v>
                </c:pt>
                <c:pt idx="71">
                  <c:v>0.13715997078444109</c:v>
                </c:pt>
                <c:pt idx="72">
                  <c:v>0.1312699287114284</c:v>
                </c:pt>
                <c:pt idx="73">
                  <c:v>0.1290474255800157</c:v>
                </c:pt>
                <c:pt idx="74">
                  <c:v>0.12976627424972709</c:v>
                </c:pt>
                <c:pt idx="75">
                  <c:v>0.12686829869724861</c:v>
                </c:pt>
                <c:pt idx="76">
                  <c:v>0.1253623579280761</c:v>
                </c:pt>
                <c:pt idx="77">
                  <c:v>0.12968156222074531</c:v>
                </c:pt>
                <c:pt idx="78">
                  <c:v>0.12750329032649099</c:v>
                </c:pt>
                <c:pt idx="79">
                  <c:v>0.12461050546445129</c:v>
                </c:pt>
                <c:pt idx="80">
                  <c:v>0.12900335189603049</c:v>
                </c:pt>
                <c:pt idx="81">
                  <c:v>0.12741746962889991</c:v>
                </c:pt>
                <c:pt idx="82">
                  <c:v>0.1227246355993528</c:v>
                </c:pt>
                <c:pt idx="83">
                  <c:v>0.12325497363003669</c:v>
                </c:pt>
                <c:pt idx="84">
                  <c:v>0.1237777050026681</c:v>
                </c:pt>
                <c:pt idx="85">
                  <c:v>0.1227618684932686</c:v>
                </c:pt>
                <c:pt idx="86">
                  <c:v>0.12625273778634091</c:v>
                </c:pt>
                <c:pt idx="87">
                  <c:v>0.12848401925218161</c:v>
                </c:pt>
                <c:pt idx="88">
                  <c:v>0.12808991008793849</c:v>
                </c:pt>
                <c:pt idx="89">
                  <c:v>0.12669599383578639</c:v>
                </c:pt>
                <c:pt idx="90">
                  <c:v>0.128457244567205</c:v>
                </c:pt>
                <c:pt idx="91">
                  <c:v>0.1287495738807907</c:v>
                </c:pt>
                <c:pt idx="92">
                  <c:v>0.12753778198649329</c:v>
                </c:pt>
                <c:pt idx="93">
                  <c:v>0.12858384689357691</c:v>
                </c:pt>
                <c:pt idx="94">
                  <c:v>0.13053873342212541</c:v>
                </c:pt>
                <c:pt idx="95">
                  <c:v>0.1283681251237693</c:v>
                </c:pt>
                <c:pt idx="96">
                  <c:v>0.12712219330013799</c:v>
                </c:pt>
                <c:pt idx="97">
                  <c:v>0.12537888942730019</c:v>
                </c:pt>
                <c:pt idx="98">
                  <c:v>0.12745921704595151</c:v>
                </c:pt>
                <c:pt idx="99">
                  <c:v>0.1212266665697815</c:v>
                </c:pt>
                <c:pt idx="100">
                  <c:v>0.1141728668578047</c:v>
                </c:pt>
                <c:pt idx="101">
                  <c:v>0.115957494325048</c:v>
                </c:pt>
              </c:numCache>
            </c:numRef>
          </c:xVal>
          <c:yVal>
            <c:numRef>
              <c:f>Sheet1!$B$2:$B$103</c:f>
              <c:numCache>
                <c:formatCode>General</c:formatCode>
                <c:ptCount val="102"/>
                <c:pt idx="0">
                  <c:v>3.1549194168607013E-2</c:v>
                </c:pt>
                <c:pt idx="1">
                  <c:v>2.5925076493376501E-2</c:v>
                </c:pt>
                <c:pt idx="2">
                  <c:v>1.9457371147598559E-2</c:v>
                </c:pt>
                <c:pt idx="3">
                  <c:v>2.1005226955186751E-2</c:v>
                </c:pt>
                <c:pt idx="4">
                  <c:v>2.3683174888924512E-2</c:v>
                </c:pt>
                <c:pt idx="5">
                  <c:v>2.481491169212223E-2</c:v>
                </c:pt>
                <c:pt idx="6">
                  <c:v>2.2966901329024649E-2</c:v>
                </c:pt>
                <c:pt idx="7">
                  <c:v>2.1693356757167159E-2</c:v>
                </c:pt>
                <c:pt idx="8">
                  <c:v>2.508474647577718E-2</c:v>
                </c:pt>
                <c:pt idx="9">
                  <c:v>3.2219360006132687E-2</c:v>
                </c:pt>
                <c:pt idx="10">
                  <c:v>3.3455366889535383E-2</c:v>
                </c:pt>
                <c:pt idx="11">
                  <c:v>3.077420503855852E-2</c:v>
                </c:pt>
                <c:pt idx="12">
                  <c:v>3.166311843777065E-2</c:v>
                </c:pt>
                <c:pt idx="13">
                  <c:v>2.9573633835338661E-2</c:v>
                </c:pt>
                <c:pt idx="14">
                  <c:v>2.943829474961886E-2</c:v>
                </c:pt>
                <c:pt idx="15">
                  <c:v>3.2326555355538883E-2</c:v>
                </c:pt>
                <c:pt idx="16">
                  <c:v>3.045418321235838E-2</c:v>
                </c:pt>
                <c:pt idx="17">
                  <c:v>3.0177244147381321E-2</c:v>
                </c:pt>
                <c:pt idx="18">
                  <c:v>3.0949579617420529E-2</c:v>
                </c:pt>
                <c:pt idx="19">
                  <c:v>3.3044676701229417E-2</c:v>
                </c:pt>
                <c:pt idx="20">
                  <c:v>3.4502368865567047E-2</c:v>
                </c:pt>
                <c:pt idx="21">
                  <c:v>3.8171203781773647E-2</c:v>
                </c:pt>
                <c:pt idx="22">
                  <c:v>3.2633840746857157E-2</c:v>
                </c:pt>
                <c:pt idx="23">
                  <c:v>3.22851825867847E-2</c:v>
                </c:pt>
                <c:pt idx="24">
                  <c:v>3.4293774474369272E-2</c:v>
                </c:pt>
                <c:pt idx="25">
                  <c:v>3.3493331489235549E-2</c:v>
                </c:pt>
                <c:pt idx="26">
                  <c:v>3.2256296982208908E-2</c:v>
                </c:pt>
                <c:pt idx="27">
                  <c:v>3.256327154323236E-2</c:v>
                </c:pt>
                <c:pt idx="28">
                  <c:v>3.0215972855570969E-2</c:v>
                </c:pt>
                <c:pt idx="29">
                  <c:v>2.971323515475446E-2</c:v>
                </c:pt>
                <c:pt idx="30">
                  <c:v>2.9886044202056931E-2</c:v>
                </c:pt>
                <c:pt idx="31">
                  <c:v>3.0113049153545669E-2</c:v>
                </c:pt>
                <c:pt idx="32">
                  <c:v>3.0121682992946059E-2</c:v>
                </c:pt>
                <c:pt idx="33">
                  <c:v>2.8704102443482309E-2</c:v>
                </c:pt>
                <c:pt idx="34">
                  <c:v>3.0602403901330309E-2</c:v>
                </c:pt>
                <c:pt idx="35">
                  <c:v>3.1456536502498793E-2</c:v>
                </c:pt>
                <c:pt idx="36">
                  <c:v>3.1516667937295108E-2</c:v>
                </c:pt>
                <c:pt idx="37">
                  <c:v>3.3226585884057157E-2</c:v>
                </c:pt>
                <c:pt idx="38">
                  <c:v>3.3016326225624587E-2</c:v>
                </c:pt>
                <c:pt idx="39">
                  <c:v>3.0075909553288729E-2</c:v>
                </c:pt>
                <c:pt idx="40">
                  <c:v>3.030822714314705E-2</c:v>
                </c:pt>
                <c:pt idx="41">
                  <c:v>3.1273537834975489E-2</c:v>
                </c:pt>
                <c:pt idx="42">
                  <c:v>3.005901690014778E-2</c:v>
                </c:pt>
                <c:pt idx="43">
                  <c:v>3.0573863083611631E-2</c:v>
                </c:pt>
                <c:pt idx="44">
                  <c:v>3.254448153409624E-2</c:v>
                </c:pt>
                <c:pt idx="45">
                  <c:v>3.2420025270644671E-2</c:v>
                </c:pt>
                <c:pt idx="46">
                  <c:v>3.0841270586476861E-2</c:v>
                </c:pt>
                <c:pt idx="47">
                  <c:v>3.4545476528939613E-2</c:v>
                </c:pt>
                <c:pt idx="48">
                  <c:v>3.9378011399146942E-2</c:v>
                </c:pt>
                <c:pt idx="49">
                  <c:v>3.4585845792310457E-2</c:v>
                </c:pt>
                <c:pt idx="50">
                  <c:v>3.6889295123608737E-2</c:v>
                </c:pt>
                <c:pt idx="51">
                  <c:v>3.516974061970235E-2</c:v>
                </c:pt>
                <c:pt idx="52">
                  <c:v>3.3440411726256947E-2</c:v>
                </c:pt>
                <c:pt idx="53">
                  <c:v>3.0775515895011849E-2</c:v>
                </c:pt>
                <c:pt idx="54">
                  <c:v>2.856172806220978E-2</c:v>
                </c:pt>
                <c:pt idx="55">
                  <c:v>2.9260191711765832E-2</c:v>
                </c:pt>
                <c:pt idx="56">
                  <c:v>3.1178692703543051E-2</c:v>
                </c:pt>
                <c:pt idx="57">
                  <c:v>3.7031471681131703E-2</c:v>
                </c:pt>
                <c:pt idx="58">
                  <c:v>3.9909501581123753E-2</c:v>
                </c:pt>
                <c:pt idx="59">
                  <c:v>3.3090443177845791E-2</c:v>
                </c:pt>
                <c:pt idx="60">
                  <c:v>2.0429936026239701E-2</c:v>
                </c:pt>
                <c:pt idx="61">
                  <c:v>1.594233918003489E-2</c:v>
                </c:pt>
                <c:pt idx="62">
                  <c:v>2.6561543645322629E-2</c:v>
                </c:pt>
                <c:pt idx="63">
                  <c:v>3.5068893654044378E-2</c:v>
                </c:pt>
                <c:pt idx="64">
                  <c:v>3.0967228847484721E-2</c:v>
                </c:pt>
                <c:pt idx="65">
                  <c:v>2.602705616299417E-2</c:v>
                </c:pt>
                <c:pt idx="66">
                  <c:v>2.587150374122359E-2</c:v>
                </c:pt>
                <c:pt idx="67">
                  <c:v>2.691260699372984E-2</c:v>
                </c:pt>
                <c:pt idx="68">
                  <c:v>2.5874418970458959E-2</c:v>
                </c:pt>
                <c:pt idx="69">
                  <c:v>2.3193315376484971E-2</c:v>
                </c:pt>
                <c:pt idx="70">
                  <c:v>2.2686657383630061E-2</c:v>
                </c:pt>
                <c:pt idx="71">
                  <c:v>2.6189284143623481E-2</c:v>
                </c:pt>
                <c:pt idx="72">
                  <c:v>2.7336338114147821E-2</c:v>
                </c:pt>
                <c:pt idx="73">
                  <c:v>2.7740990571672709E-2</c:v>
                </c:pt>
                <c:pt idx="74">
                  <c:v>2.877527311984417E-2</c:v>
                </c:pt>
                <c:pt idx="75">
                  <c:v>2.8510329318482429E-2</c:v>
                </c:pt>
                <c:pt idx="76">
                  <c:v>2.7909474603405621E-2</c:v>
                </c:pt>
                <c:pt idx="77">
                  <c:v>2.354699792786898E-2</c:v>
                </c:pt>
                <c:pt idx="78">
                  <c:v>2.3516397046911521E-2</c:v>
                </c:pt>
                <c:pt idx="79">
                  <c:v>2.2115174941799771E-2</c:v>
                </c:pt>
                <c:pt idx="80">
                  <c:v>2.2268202762568419E-2</c:v>
                </c:pt>
                <c:pt idx="81">
                  <c:v>2.1244426266941788E-2</c:v>
                </c:pt>
                <c:pt idx="82">
                  <c:v>3.1177386289303839E-2</c:v>
                </c:pt>
                <c:pt idx="83">
                  <c:v>2.630647686699077E-2</c:v>
                </c:pt>
                <c:pt idx="84">
                  <c:v>2.5524833007679371E-2</c:v>
                </c:pt>
                <c:pt idx="85">
                  <c:v>2.6871534411513371E-2</c:v>
                </c:pt>
                <c:pt idx="86">
                  <c:v>2.6338851413823881E-2</c:v>
                </c:pt>
                <c:pt idx="87">
                  <c:v>2.464870108961555E-2</c:v>
                </c:pt>
                <c:pt idx="88">
                  <c:v>2.6238033764437702E-2</c:v>
                </c:pt>
                <c:pt idx="89">
                  <c:v>3.0191859532939729E-2</c:v>
                </c:pt>
                <c:pt idx="90">
                  <c:v>3.071685169632082E-2</c:v>
                </c:pt>
                <c:pt idx="91">
                  <c:v>3.1790352756617277E-2</c:v>
                </c:pt>
                <c:pt idx="92">
                  <c:v>2.9789485452214989E-2</c:v>
                </c:pt>
                <c:pt idx="93">
                  <c:v>2.7419432969366012E-2</c:v>
                </c:pt>
                <c:pt idx="94">
                  <c:v>2.5375304588112151E-2</c:v>
                </c:pt>
                <c:pt idx="95">
                  <c:v>2.727143524464504E-2</c:v>
                </c:pt>
                <c:pt idx="96">
                  <c:v>2.430072520573312E-2</c:v>
                </c:pt>
                <c:pt idx="97">
                  <c:v>2.5953063658202231E-2</c:v>
                </c:pt>
                <c:pt idx="98">
                  <c:v>2.870484051773789E-2</c:v>
                </c:pt>
                <c:pt idx="99">
                  <c:v>3.0161179689259059E-2</c:v>
                </c:pt>
                <c:pt idx="100">
                  <c:v>3.7558407981539428E-2</c:v>
                </c:pt>
                <c:pt idx="101">
                  <c:v>3.5796970668813113E-2</c:v>
                </c:pt>
              </c:numCache>
            </c:numRef>
          </c:yVal>
          <c:smooth val="0"/>
          <c:extLst>
            <c:ext xmlns:c16="http://schemas.microsoft.com/office/drawing/2014/chart" uri="{C3380CC4-5D6E-409C-BE32-E72D297353CC}">
              <c16:uniqueId val="{00000000-096C-4121-9522-6AB7243CCAAE}"/>
            </c:ext>
          </c:extLst>
        </c:ser>
        <c:ser>
          <c:idx val="1"/>
          <c:order val="1"/>
          <c:tx>
            <c:strRef>
              <c:f>Sheet1!$B$10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6:$A$157</c:f>
              <c:numCache>
                <c:formatCode>General</c:formatCode>
                <c:ptCount val="52"/>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numCache>
            </c:numRef>
          </c:xVal>
          <c:yVal>
            <c:numRef>
              <c:f>Sheet1!$B$106:$B$157</c:f>
              <c:numCache>
                <c:formatCode>General</c:formatCode>
                <c:ptCount val="52"/>
                <c:pt idx="0">
                  <c:v>3.3379430772150658E-2</c:v>
                </c:pt>
                <c:pt idx="1">
                  <c:v>3.5297770608354727E-2</c:v>
                </c:pt>
                <c:pt idx="2">
                  <c:v>3.603152077608085E-2</c:v>
                </c:pt>
                <c:pt idx="3">
                  <c:v>3.0978674639028671E-2</c:v>
                </c:pt>
                <c:pt idx="4">
                  <c:v>2.8133515753956471E-2</c:v>
                </c:pt>
                <c:pt idx="5">
                  <c:v>2.7512069607189622E-2</c:v>
                </c:pt>
                <c:pt idx="6">
                  <c:v>2.753590860107619E-2</c:v>
                </c:pt>
                <c:pt idx="7">
                  <c:v>2.7306049137985969E-2</c:v>
                </c:pt>
                <c:pt idx="8">
                  <c:v>2.683860754587173E-2</c:v>
                </c:pt>
                <c:pt idx="9">
                  <c:v>2.8577136215520639E-2</c:v>
                </c:pt>
                <c:pt idx="10">
                  <c:v>2.9045708307140341E-2</c:v>
                </c:pt>
                <c:pt idx="11">
                  <c:v>3.0151694267354031E-2</c:v>
                </c:pt>
                <c:pt idx="12">
                  <c:v>3.1278274774940933E-2</c:v>
                </c:pt>
                <c:pt idx="13">
                  <c:v>3.2623144271831599E-2</c:v>
                </c:pt>
                <c:pt idx="14">
                  <c:v>3.2081452766552027E-2</c:v>
                </c:pt>
                <c:pt idx="15">
                  <c:v>2.8476513020004542E-2</c:v>
                </c:pt>
                <c:pt idx="16">
                  <c:v>2.889792926206242E-2</c:v>
                </c:pt>
                <c:pt idx="17">
                  <c:v>2.8572345272906731E-2</c:v>
                </c:pt>
                <c:pt idx="18">
                  <c:v>2.758215728763419E-2</c:v>
                </c:pt>
                <c:pt idx="19">
                  <c:v>2.6684207925807661E-2</c:v>
                </c:pt>
                <c:pt idx="20">
                  <c:v>2.507409816863837E-2</c:v>
                </c:pt>
                <c:pt idx="21">
                  <c:v>3.7053775555914388E-2</c:v>
                </c:pt>
                <c:pt idx="22">
                  <c:v>4.1201839145334811E-2</c:v>
                </c:pt>
                <c:pt idx="23">
                  <c:v>3.952108516249337E-2</c:v>
                </c:pt>
                <c:pt idx="24">
                  <c:v>3.301132678213544E-2</c:v>
                </c:pt>
                <c:pt idx="25">
                  <c:v>3.4672282379825628E-2</c:v>
                </c:pt>
                <c:pt idx="26">
                  <c:v>3.6478521099227869E-2</c:v>
                </c:pt>
                <c:pt idx="27">
                  <c:v>3.1719960612283417E-2</c:v>
                </c:pt>
                <c:pt idx="28">
                  <c:v>2.9844699099281859E-2</c:v>
                </c:pt>
                <c:pt idx="29">
                  <c:v>2.824703792935155E-2</c:v>
                </c:pt>
                <c:pt idx="30">
                  <c:v>2.3926861689124789E-2</c:v>
                </c:pt>
                <c:pt idx="31">
                  <c:v>2.077067140814904E-2</c:v>
                </c:pt>
                <c:pt idx="32">
                  <c:v>2.3460558709885782E-2</c:v>
                </c:pt>
                <c:pt idx="33">
                  <c:v>3.042796286207031E-2</c:v>
                </c:pt>
                <c:pt idx="34">
                  <c:v>3.1037706913624011E-2</c:v>
                </c:pt>
                <c:pt idx="35">
                  <c:v>2.928997264422914E-2</c:v>
                </c:pt>
                <c:pt idx="36">
                  <c:v>2.9697936908540851E-2</c:v>
                </c:pt>
                <c:pt idx="37">
                  <c:v>3.0248130900335801E-2</c:v>
                </c:pt>
                <c:pt idx="38">
                  <c:v>3.5070387750061743E-2</c:v>
                </c:pt>
                <c:pt idx="39">
                  <c:v>3.120833777020552E-2</c:v>
                </c:pt>
                <c:pt idx="40">
                  <c:v>2.682679016675503E-2</c:v>
                </c:pt>
                <c:pt idx="41">
                  <c:v>2.4203784771293649E-2</c:v>
                </c:pt>
                <c:pt idx="42">
                  <c:v>2.4098053977022381E-2</c:v>
                </c:pt>
                <c:pt idx="43">
                  <c:v>2.4523754132153151E-2</c:v>
                </c:pt>
                <c:pt idx="44">
                  <c:v>2.2379504666963371E-2</c:v>
                </c:pt>
                <c:pt idx="45">
                  <c:v>2.104065524243157E-2</c:v>
                </c:pt>
                <c:pt idx="46">
                  <c:v>2.202824012890214E-2</c:v>
                </c:pt>
                <c:pt idx="47">
                  <c:v>2.3321641522021069E-2</c:v>
                </c:pt>
                <c:pt idx="48">
                  <c:v>2.5721900660138009E-2</c:v>
                </c:pt>
                <c:pt idx="49">
                  <c:v>2.4967370312040962E-2</c:v>
                </c:pt>
                <c:pt idx="50">
                  <c:v>2.603335979145837E-2</c:v>
                </c:pt>
                <c:pt idx="51">
                  <c:v>2.5702227757022279E-2</c:v>
                </c:pt>
              </c:numCache>
            </c:numRef>
          </c:yVal>
          <c:smooth val="0"/>
          <c:extLst>
            <c:ext xmlns:c16="http://schemas.microsoft.com/office/drawing/2014/chart" uri="{C3380CC4-5D6E-409C-BE32-E72D297353CC}">
              <c16:uniqueId val="{00000002-096C-4121-9522-6AB7243CCAAE}"/>
            </c:ext>
          </c:extLst>
        </c:ser>
        <c:ser>
          <c:idx val="2"/>
          <c:order val="2"/>
          <c:tx>
            <c:strRef>
              <c:f>Sheet1!$B$15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0:$A$161</c:f>
              <c:numCache>
                <c:formatCode>General</c:formatCode>
                <c:ptCount val="2"/>
                <c:pt idx="0">
                  <c:v>0</c:v>
                </c:pt>
                <c:pt idx="1">
                  <c:v>0.1108820277239114</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5-096C-4121-9522-6AB7243CCAAE}"/>
            </c:ext>
          </c:extLst>
        </c:ser>
        <c:ser>
          <c:idx val="3"/>
          <c:order val="3"/>
          <c:tx>
            <c:strRef>
              <c:f>Sheet1!$B$16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0.1108820277239114</c:v>
                </c:pt>
                <c:pt idx="1">
                  <c:v>0.1108820277239114</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8:$A$169</c:f>
              <c:numCache>
                <c:formatCode>General</c:formatCode>
                <c:ptCount val="2"/>
                <c:pt idx="0">
                  <c:v>0</c:v>
                </c:pt>
                <c:pt idx="1">
                  <c:v>0.11732114474802791</c:v>
                </c:pt>
              </c:numCache>
            </c:numRef>
          </c:xVal>
          <c:yVal>
            <c:numRef>
              <c:f>Sheet1!$B$168:$B$169</c:f>
              <c:numCache>
                <c:formatCode>General</c:formatCode>
                <c:ptCount val="2"/>
                <c:pt idx="0">
                  <c:v>3.1101577984060609E-2</c:v>
                </c:pt>
                <c:pt idx="1">
                  <c:v>3.1101577984060609E-2</c:v>
                </c:pt>
              </c:numCache>
            </c:numRef>
          </c:yVal>
          <c:smooth val="0"/>
          <c:extLst>
            <c:ext xmlns:c16="http://schemas.microsoft.com/office/drawing/2014/chart" uri="{C3380CC4-5D6E-409C-BE32-E72D297353CC}">
              <c16:uniqueId val="{0000000D-096C-4121-9522-6AB7243CCAAE}"/>
            </c:ext>
          </c:extLst>
        </c:ser>
        <c:ser>
          <c:idx val="5"/>
          <c:order val="5"/>
          <c:tx>
            <c:strRef>
              <c:f>Sheet1!$B$17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0.11732114474802791</c:v>
                </c:pt>
                <c:pt idx="1">
                  <c:v>0.11732114474802791</c:v>
                </c:pt>
              </c:numCache>
            </c:numRef>
          </c:xVal>
          <c:yVal>
            <c:numRef>
              <c:f>Sheet1!$B$172:$B$173</c:f>
              <c:numCache>
                <c:formatCode>General</c:formatCode>
                <c:ptCount val="2"/>
                <c:pt idx="0">
                  <c:v>3.1101577984060609E-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6:$A$177</c:f>
              <c:numCache>
                <c:formatCode>General</c:formatCode>
                <c:ptCount val="2"/>
                <c:pt idx="0">
                  <c:v>0</c:v>
                </c:pt>
                <c:pt idx="1">
                  <c:v>0.13512234665834599</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5-096C-4121-9522-6AB7243CCAAE}"/>
            </c:ext>
          </c:extLst>
        </c:ser>
        <c:ser>
          <c:idx val="7"/>
          <c:order val="7"/>
          <c:tx>
            <c:strRef>
              <c:f>Sheet1!$B$17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0:$A$181</c:f>
              <c:numCache>
                <c:formatCode>General</c:formatCode>
                <c:ptCount val="2"/>
                <c:pt idx="0">
                  <c:v>0.13512234665834599</c:v>
                </c:pt>
                <c:pt idx="1">
                  <c:v>0.13512234665834599</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4:$A$238</c:f>
              <c:numCache>
                <c:formatCode>General</c:formatCode>
                <c:ptCount val="55"/>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pt idx="52">
                  <c:v>0.11732114474802791</c:v>
                </c:pt>
                <c:pt idx="53">
                  <c:v>0.1108820277239114</c:v>
                </c:pt>
                <c:pt idx="54">
                  <c:v>0.13512234665834599</c:v>
                </c:pt>
              </c:numCache>
            </c:numRef>
          </c:xVal>
          <c:yVal>
            <c:numRef>
              <c:f>Sheet1!$B$184:$B$238</c:f>
              <c:numCache>
                <c:formatCode>General</c:formatCode>
                <c:ptCount val="55"/>
                <c:pt idx="0">
                  <c:v>3.1620668745252142E-2</c:v>
                </c:pt>
                <c:pt idx="1">
                  <c:v>3.1654790245678951E-2</c:v>
                </c:pt>
                <c:pt idx="2">
                  <c:v>3.2783325344754151E-2</c:v>
                </c:pt>
                <c:pt idx="3">
                  <c:v>3.022688607526958E-2</c:v>
                </c:pt>
                <c:pt idx="4">
                  <c:v>2.8540776744242852E-2</c:v>
                </c:pt>
                <c:pt idx="5">
                  <c:v>2.8198639317480349E-2</c:v>
                </c:pt>
                <c:pt idx="6">
                  <c:v>2.8149354774764782E-2</c:v>
                </c:pt>
                <c:pt idx="7">
                  <c:v>2.8199004366077019E-2</c:v>
                </c:pt>
                <c:pt idx="8">
                  <c:v>3.0157282303857849E-2</c:v>
                </c:pt>
                <c:pt idx="9">
                  <c:v>2.9717490317624731E-2</c:v>
                </c:pt>
                <c:pt idx="10">
                  <c:v>2.880162617160174E-2</c:v>
                </c:pt>
                <c:pt idx="11">
                  <c:v>3.0799476543192809E-2</c:v>
                </c:pt>
                <c:pt idx="12">
                  <c:v>2.8080121278043681E-2</c:v>
                </c:pt>
                <c:pt idx="13">
                  <c:v>2.8247092051713919E-2</c:v>
                </c:pt>
                <c:pt idx="14">
                  <c:v>2.639540124703324E-2</c:v>
                </c:pt>
                <c:pt idx="15">
                  <c:v>1.9220157910636009E-2</c:v>
                </c:pt>
                <c:pt idx="16">
                  <c:v>2.9292926757015069E-2</c:v>
                </c:pt>
                <c:pt idx="17">
                  <c:v>2.9541107656935999E-2</c:v>
                </c:pt>
                <c:pt idx="18">
                  <c:v>3.1154431279754719E-2</c:v>
                </c:pt>
                <c:pt idx="19">
                  <c:v>2.9461129531890291E-2</c:v>
                </c:pt>
                <c:pt idx="20">
                  <c:v>3.0313783713891131E-2</c:v>
                </c:pt>
                <c:pt idx="21">
                  <c:v>3.3508822667282862E-2</c:v>
                </c:pt>
                <c:pt idx="22">
                  <c:v>3.4739165058279807E-2</c:v>
                </c:pt>
                <c:pt idx="23">
                  <c:v>3.3561500120319547E-2</c:v>
                </c:pt>
                <c:pt idx="24">
                  <c:v>3.0961282548418428E-2</c:v>
                </c:pt>
                <c:pt idx="25">
                  <c:v>3.325613118609181E-2</c:v>
                </c:pt>
                <c:pt idx="26">
                  <c:v>3.230935798656305E-2</c:v>
                </c:pt>
                <c:pt idx="27">
                  <c:v>3.0186042242885399E-2</c:v>
                </c:pt>
                <c:pt idx="28">
                  <c:v>2.9826699740302571E-2</c:v>
                </c:pt>
                <c:pt idx="29">
                  <c:v>2.8461825588360749E-2</c:v>
                </c:pt>
                <c:pt idx="30">
                  <c:v>2.6667445839888119E-2</c:v>
                </c:pt>
                <c:pt idx="31">
                  <c:v>2.9333797528733729E-2</c:v>
                </c:pt>
                <c:pt idx="32">
                  <c:v>2.8469462201818171E-2</c:v>
                </c:pt>
                <c:pt idx="33">
                  <c:v>3.1278574864500211E-2</c:v>
                </c:pt>
                <c:pt idx="34">
                  <c:v>3.362517184260494E-2</c:v>
                </c:pt>
                <c:pt idx="35">
                  <c:v>3.1259339751075838E-2</c:v>
                </c:pt>
                <c:pt idx="36">
                  <c:v>3.2466678789921898E-2</c:v>
                </c:pt>
                <c:pt idx="37">
                  <c:v>3.336561461501103E-2</c:v>
                </c:pt>
                <c:pt idx="38">
                  <c:v>3.1897061212580187E-2</c:v>
                </c:pt>
                <c:pt idx="39">
                  <c:v>3.0591232179052279E-2</c:v>
                </c:pt>
                <c:pt idx="40">
                  <c:v>2.6490890509876141E-2</c:v>
                </c:pt>
                <c:pt idx="41">
                  <c:v>2.5005655171483909E-2</c:v>
                </c:pt>
                <c:pt idx="42">
                  <c:v>2.471524594195228E-2</c:v>
                </c:pt>
                <c:pt idx="43">
                  <c:v>2.5740688254943609E-2</c:v>
                </c:pt>
                <c:pt idx="44">
                  <c:v>2.534241769031121E-2</c:v>
                </c:pt>
                <c:pt idx="45">
                  <c:v>2.5785004878787769E-2</c:v>
                </c:pt>
                <c:pt idx="46">
                  <c:v>2.6712805427711591E-2</c:v>
                </c:pt>
                <c:pt idx="47">
                  <c:v>2.6016063432124481E-2</c:v>
                </c:pt>
                <c:pt idx="48">
                  <c:v>2.645901837190287E-2</c:v>
                </c:pt>
                <c:pt idx="49">
                  <c:v>2.253097533810856E-2</c:v>
                </c:pt>
                <c:pt idx="50">
                  <c:v>2.3407974477709061E-2</c:v>
                </c:pt>
                <c:pt idx="51">
                  <c:v>2.5267129597052979E-2</c:v>
                </c:pt>
                <c:pt idx="52">
                  <c:v>3.1101577984060599E-2</c:v>
                </c:pt>
                <c:pt idx="53">
                  <c:v>3.3390590546211449E-2</c:v>
                </c:pt>
                <c:pt idx="54">
                  <c:v>2.47735092998775E-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18089307194123574"/>
          <c:min val="7.5697543274504286E-2"/>
        </c:scaling>
        <c:delete val="0"/>
        <c:axPos val="b"/>
        <c:title>
          <c:tx>
            <c:rich>
              <a:bodyPr rot="0" spcFirstLastPara="1" vertOverflow="ellipsis" vert="horz" wrap="square" anchor="ctr" anchorCtr="1"/>
              <a:lstStyle/>
              <a:p>
                <a:pPr>
                  <a:defRPr sz="800" b="0">
                    <a:solidFill>
                      <a:srgbClr val="575555"/>
                    </a:solidFill>
                    <a:latin typeface="Nexa Bold"/>
                  </a:defRPr>
                </a:pPr>
                <a:r>
                  <a:rPr lang="en-US"/>
                  <a:t>Price Ix vs. Gillette Fusion5</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1291069944164441</c:v>
                </c:pt>
                <c:pt idx="1">
                  <c:v>0.13485892486555889</c:v>
                </c:pt>
                <c:pt idx="2">
                  <c:v>0.13361697278764331</c:v>
                </c:pt>
                <c:pt idx="3">
                  <c:v>0.13181455947245191</c:v>
                </c:pt>
                <c:pt idx="4">
                  <c:v>0.13079849733141291</c:v>
                </c:pt>
                <c:pt idx="5">
                  <c:v>0.12786527339341361</c:v>
                </c:pt>
                <c:pt idx="6">
                  <c:v>0.13389772495720559</c:v>
                </c:pt>
                <c:pt idx="7">
                  <c:v>0.1359519354250221</c:v>
                </c:pt>
                <c:pt idx="8">
                  <c:v>0.13408395448492219</c:v>
                </c:pt>
                <c:pt idx="9">
                  <c:v>0.1272173036352085</c:v>
                </c:pt>
                <c:pt idx="10">
                  <c:v>0.12580154817273331</c:v>
                </c:pt>
                <c:pt idx="11">
                  <c:v>0.1247833670603628</c:v>
                </c:pt>
                <c:pt idx="12">
                  <c:v>0.12616612542700109</c:v>
                </c:pt>
                <c:pt idx="13">
                  <c:v>0.13426073846412021</c:v>
                </c:pt>
                <c:pt idx="14">
                  <c:v>0.13040345544745011</c:v>
                </c:pt>
                <c:pt idx="15">
                  <c:v>0.12568196098787579</c:v>
                </c:pt>
                <c:pt idx="16">
                  <c:v>0.1284543866213313</c:v>
                </c:pt>
                <c:pt idx="17">
                  <c:v>0.13252000199740169</c:v>
                </c:pt>
                <c:pt idx="18">
                  <c:v>0.12612196270786419</c:v>
                </c:pt>
                <c:pt idx="19">
                  <c:v>0.13496886950214251</c:v>
                </c:pt>
                <c:pt idx="20">
                  <c:v>0.13064933940560819</c:v>
                </c:pt>
                <c:pt idx="21">
                  <c:v>0.12635635491031241</c:v>
                </c:pt>
                <c:pt idx="22">
                  <c:v>0.12863609693980929</c:v>
                </c:pt>
                <c:pt idx="23">
                  <c:v>0.13116494310893009</c:v>
                </c:pt>
                <c:pt idx="24">
                  <c:v>0.1278058186678292</c:v>
                </c:pt>
                <c:pt idx="25">
                  <c:v>0.1235932293079324</c:v>
                </c:pt>
                <c:pt idx="26">
                  <c:v>0.12290934252239009</c:v>
                </c:pt>
                <c:pt idx="27">
                  <c:v>0.12109503765009599</c:v>
                </c:pt>
                <c:pt idx="28">
                  <c:v>0.12207135397276341</c:v>
                </c:pt>
                <c:pt idx="29">
                  <c:v>0.1263122981136704</c:v>
                </c:pt>
                <c:pt idx="30">
                  <c:v>0.1263263635992006</c:v>
                </c:pt>
                <c:pt idx="31">
                  <c:v>0.12476889875077329</c:v>
                </c:pt>
                <c:pt idx="32">
                  <c:v>0.12674353123399981</c:v>
                </c:pt>
                <c:pt idx="33">
                  <c:v>0.12588695742723971</c:v>
                </c:pt>
                <c:pt idx="34">
                  <c:v>0.12390000002667199</c:v>
                </c:pt>
                <c:pt idx="35">
                  <c:v>0.12440850519118039</c:v>
                </c:pt>
                <c:pt idx="36">
                  <c:v>0.12336288941275771</c:v>
                </c:pt>
                <c:pt idx="37">
                  <c:v>0.1236579395008299</c:v>
                </c:pt>
                <c:pt idx="38">
                  <c:v>0.1244360084590832</c:v>
                </c:pt>
                <c:pt idx="39">
                  <c:v>0.12224083915887329</c:v>
                </c:pt>
                <c:pt idx="40">
                  <c:v>0.1219327444047168</c:v>
                </c:pt>
                <c:pt idx="41">
                  <c:v>0.1250560323566518</c:v>
                </c:pt>
                <c:pt idx="42">
                  <c:v>0.12745512740440279</c:v>
                </c:pt>
                <c:pt idx="43">
                  <c:v>0.1211984894858895</c:v>
                </c:pt>
                <c:pt idx="44">
                  <c:v>0.1258670226690102</c:v>
                </c:pt>
                <c:pt idx="45">
                  <c:v>0.1272339848348821</c:v>
                </c:pt>
                <c:pt idx="46">
                  <c:v>0.13490346412193621</c:v>
                </c:pt>
                <c:pt idx="47">
                  <c:v>0.1232399985423943</c:v>
                </c:pt>
                <c:pt idx="48">
                  <c:v>0.12311641114157899</c:v>
                </c:pt>
                <c:pt idx="49">
                  <c:v>0.1234350759255986</c:v>
                </c:pt>
                <c:pt idx="50">
                  <c:v>0.12419744604278141</c:v>
                </c:pt>
                <c:pt idx="51">
                  <c:v>0.13145508336915421</c:v>
                </c:pt>
                <c:pt idx="52">
                  <c:v>0.13109930113357529</c:v>
                </c:pt>
                <c:pt idx="53">
                  <c:v>0.13568928560863899</c:v>
                </c:pt>
                <c:pt idx="54">
                  <c:v>0.1285210371531505</c:v>
                </c:pt>
                <c:pt idx="55">
                  <c:v>0.1300753516373136</c:v>
                </c:pt>
                <c:pt idx="56">
                  <c:v>0.12489749950473671</c:v>
                </c:pt>
                <c:pt idx="57">
                  <c:v>0.10266521645136149</c:v>
                </c:pt>
                <c:pt idx="58">
                  <c:v>9.4621929093130358E-2</c:v>
                </c:pt>
                <c:pt idx="59">
                  <c:v>9.8212612965823731E-2</c:v>
                </c:pt>
                <c:pt idx="60">
                  <c:v>0.1102654339127445</c:v>
                </c:pt>
                <c:pt idx="61">
                  <c:v>0.1086326326560431</c:v>
                </c:pt>
                <c:pt idx="62">
                  <c:v>0.10273100071317991</c:v>
                </c:pt>
                <c:pt idx="63">
                  <c:v>0.1056131313298932</c:v>
                </c:pt>
                <c:pt idx="64">
                  <c:v>0.116037952360732</c:v>
                </c:pt>
                <c:pt idx="65">
                  <c:v>0.13065683342069531</c:v>
                </c:pt>
                <c:pt idx="66">
                  <c:v>0.132712182958446</c:v>
                </c:pt>
                <c:pt idx="67">
                  <c:v>0.12498087731066</c:v>
                </c:pt>
                <c:pt idx="68">
                  <c:v>0.1318623648264734</c:v>
                </c:pt>
                <c:pt idx="69">
                  <c:v>0.13405085209231629</c:v>
                </c:pt>
                <c:pt idx="70">
                  <c:v>0.12663942767242409</c:v>
                </c:pt>
                <c:pt idx="71">
                  <c:v>0.13715997078444109</c:v>
                </c:pt>
                <c:pt idx="72">
                  <c:v>0.1312699287114284</c:v>
                </c:pt>
                <c:pt idx="73">
                  <c:v>0.1290474255800157</c:v>
                </c:pt>
                <c:pt idx="74">
                  <c:v>0.12976627424972709</c:v>
                </c:pt>
                <c:pt idx="75">
                  <c:v>0.12686829869724861</c:v>
                </c:pt>
                <c:pt idx="76">
                  <c:v>0.1253623579280761</c:v>
                </c:pt>
                <c:pt idx="77">
                  <c:v>0.12968156222074531</c:v>
                </c:pt>
                <c:pt idx="78">
                  <c:v>0.12750329032649099</c:v>
                </c:pt>
                <c:pt idx="79">
                  <c:v>0.12461050546445129</c:v>
                </c:pt>
                <c:pt idx="80">
                  <c:v>0.12900335189603049</c:v>
                </c:pt>
                <c:pt idx="81">
                  <c:v>0.12741746962889991</c:v>
                </c:pt>
                <c:pt idx="82">
                  <c:v>0.1227246355993528</c:v>
                </c:pt>
                <c:pt idx="83">
                  <c:v>0.12325497363003669</c:v>
                </c:pt>
                <c:pt idx="84">
                  <c:v>0.1237777050026681</c:v>
                </c:pt>
                <c:pt idx="85">
                  <c:v>0.1227618684932686</c:v>
                </c:pt>
                <c:pt idx="86">
                  <c:v>0.12625273778634091</c:v>
                </c:pt>
                <c:pt idx="87">
                  <c:v>0.12848401925218161</c:v>
                </c:pt>
                <c:pt idx="88">
                  <c:v>0.12808991008793849</c:v>
                </c:pt>
                <c:pt idx="89">
                  <c:v>0.12669599383578639</c:v>
                </c:pt>
                <c:pt idx="90">
                  <c:v>0.128457244567205</c:v>
                </c:pt>
                <c:pt idx="91">
                  <c:v>0.1287495738807907</c:v>
                </c:pt>
                <c:pt idx="92">
                  <c:v>0.12753778198649329</c:v>
                </c:pt>
                <c:pt idx="93">
                  <c:v>0.12858384689357691</c:v>
                </c:pt>
                <c:pt idx="94">
                  <c:v>0.13053873342212541</c:v>
                </c:pt>
                <c:pt idx="95">
                  <c:v>0.1283681251237693</c:v>
                </c:pt>
                <c:pt idx="96">
                  <c:v>0.12712219330013799</c:v>
                </c:pt>
                <c:pt idx="97">
                  <c:v>0.12537888942730019</c:v>
                </c:pt>
                <c:pt idx="98">
                  <c:v>0.12745921704595151</c:v>
                </c:pt>
                <c:pt idx="99">
                  <c:v>0.1212266665697815</c:v>
                </c:pt>
                <c:pt idx="100">
                  <c:v>0.1141728668578047</c:v>
                </c:pt>
                <c:pt idx="101">
                  <c:v>0.115957494325048</c:v>
                </c:pt>
              </c:numCache>
            </c:numRef>
          </c:xVal>
          <c:yVal>
            <c:numRef>
              <c:f>Sheet1!$B$2:$B$103</c:f>
              <c:numCache>
                <c:formatCode>General</c:formatCode>
                <c:ptCount val="102"/>
                <c:pt idx="0">
                  <c:v>3.1549194168607013E-2</c:v>
                </c:pt>
                <c:pt idx="1">
                  <c:v>2.5925076493376501E-2</c:v>
                </c:pt>
                <c:pt idx="2">
                  <c:v>1.9457371147598559E-2</c:v>
                </c:pt>
                <c:pt idx="3">
                  <c:v>2.1005226955186751E-2</c:v>
                </c:pt>
                <c:pt idx="4">
                  <c:v>2.3683174888924512E-2</c:v>
                </c:pt>
                <c:pt idx="5">
                  <c:v>2.481491169212223E-2</c:v>
                </c:pt>
                <c:pt idx="6">
                  <c:v>2.2966901329024649E-2</c:v>
                </c:pt>
                <c:pt idx="7">
                  <c:v>2.1693356757167159E-2</c:v>
                </c:pt>
                <c:pt idx="8">
                  <c:v>2.508474647577718E-2</c:v>
                </c:pt>
                <c:pt idx="9">
                  <c:v>3.2219360006132687E-2</c:v>
                </c:pt>
                <c:pt idx="10">
                  <c:v>3.3455366889535383E-2</c:v>
                </c:pt>
                <c:pt idx="11">
                  <c:v>3.077420503855852E-2</c:v>
                </c:pt>
                <c:pt idx="12">
                  <c:v>3.166311843777065E-2</c:v>
                </c:pt>
                <c:pt idx="13">
                  <c:v>2.9573633835338661E-2</c:v>
                </c:pt>
                <c:pt idx="14">
                  <c:v>2.943829474961886E-2</c:v>
                </c:pt>
                <c:pt idx="15">
                  <c:v>3.2326555355538883E-2</c:v>
                </c:pt>
                <c:pt idx="16">
                  <c:v>3.045418321235838E-2</c:v>
                </c:pt>
                <c:pt idx="17">
                  <c:v>3.0177244147381321E-2</c:v>
                </c:pt>
                <c:pt idx="18">
                  <c:v>3.0949579617420529E-2</c:v>
                </c:pt>
                <c:pt idx="19">
                  <c:v>3.3044676701229417E-2</c:v>
                </c:pt>
                <c:pt idx="20">
                  <c:v>3.4502368865567047E-2</c:v>
                </c:pt>
                <c:pt idx="21">
                  <c:v>3.8171203781773647E-2</c:v>
                </c:pt>
                <c:pt idx="22">
                  <c:v>3.2633840746857157E-2</c:v>
                </c:pt>
                <c:pt idx="23">
                  <c:v>3.22851825867847E-2</c:v>
                </c:pt>
                <c:pt idx="24">
                  <c:v>3.4293774474369272E-2</c:v>
                </c:pt>
                <c:pt idx="25">
                  <c:v>3.3493331489235549E-2</c:v>
                </c:pt>
                <c:pt idx="26">
                  <c:v>3.2256296982208908E-2</c:v>
                </c:pt>
                <c:pt idx="27">
                  <c:v>3.256327154323236E-2</c:v>
                </c:pt>
                <c:pt idx="28">
                  <c:v>3.0215972855570969E-2</c:v>
                </c:pt>
                <c:pt idx="29">
                  <c:v>2.971323515475446E-2</c:v>
                </c:pt>
                <c:pt idx="30">
                  <c:v>2.9886044202056931E-2</c:v>
                </c:pt>
                <c:pt idx="31">
                  <c:v>3.0113049153545669E-2</c:v>
                </c:pt>
                <c:pt idx="32">
                  <c:v>3.0121682992946059E-2</c:v>
                </c:pt>
                <c:pt idx="33">
                  <c:v>2.8704102443482309E-2</c:v>
                </c:pt>
                <c:pt idx="34">
                  <c:v>3.0602403901330309E-2</c:v>
                </c:pt>
                <c:pt idx="35">
                  <c:v>3.1456536502498793E-2</c:v>
                </c:pt>
                <c:pt idx="36">
                  <c:v>3.1516667937295108E-2</c:v>
                </c:pt>
                <c:pt idx="37">
                  <c:v>3.3226585884057157E-2</c:v>
                </c:pt>
                <c:pt idx="38">
                  <c:v>3.3016326225624587E-2</c:v>
                </c:pt>
                <c:pt idx="39">
                  <c:v>3.0075909553288729E-2</c:v>
                </c:pt>
                <c:pt idx="40">
                  <c:v>3.030822714314705E-2</c:v>
                </c:pt>
                <c:pt idx="41">
                  <c:v>3.1273537834975489E-2</c:v>
                </c:pt>
                <c:pt idx="42">
                  <c:v>3.005901690014778E-2</c:v>
                </c:pt>
                <c:pt idx="43">
                  <c:v>3.0573863083611631E-2</c:v>
                </c:pt>
                <c:pt idx="44">
                  <c:v>3.254448153409624E-2</c:v>
                </c:pt>
                <c:pt idx="45">
                  <c:v>3.2420025270644671E-2</c:v>
                </c:pt>
                <c:pt idx="46">
                  <c:v>3.0841270586476861E-2</c:v>
                </c:pt>
                <c:pt idx="47">
                  <c:v>3.4545476528939613E-2</c:v>
                </c:pt>
                <c:pt idx="48">
                  <c:v>3.9378011399146942E-2</c:v>
                </c:pt>
                <c:pt idx="49">
                  <c:v>3.4585845792310457E-2</c:v>
                </c:pt>
                <c:pt idx="50">
                  <c:v>3.6889295123608737E-2</c:v>
                </c:pt>
                <c:pt idx="51">
                  <c:v>3.516974061970235E-2</c:v>
                </c:pt>
                <c:pt idx="52">
                  <c:v>3.3440411726256947E-2</c:v>
                </c:pt>
                <c:pt idx="53">
                  <c:v>3.0775515895011849E-2</c:v>
                </c:pt>
                <c:pt idx="54">
                  <c:v>2.856172806220978E-2</c:v>
                </c:pt>
                <c:pt idx="55">
                  <c:v>2.9260191711765832E-2</c:v>
                </c:pt>
                <c:pt idx="56">
                  <c:v>3.1178692703543051E-2</c:v>
                </c:pt>
                <c:pt idx="57">
                  <c:v>3.7031471681131703E-2</c:v>
                </c:pt>
                <c:pt idx="58">
                  <c:v>3.9909501581123753E-2</c:v>
                </c:pt>
                <c:pt idx="59">
                  <c:v>3.3090443177845791E-2</c:v>
                </c:pt>
                <c:pt idx="60">
                  <c:v>2.0429936026239701E-2</c:v>
                </c:pt>
                <c:pt idx="61">
                  <c:v>1.594233918003489E-2</c:v>
                </c:pt>
                <c:pt idx="62">
                  <c:v>2.6561543645322629E-2</c:v>
                </c:pt>
                <c:pt idx="63">
                  <c:v>3.5068893654044378E-2</c:v>
                </c:pt>
                <c:pt idx="64">
                  <c:v>3.0967228847484721E-2</c:v>
                </c:pt>
                <c:pt idx="65">
                  <c:v>2.602705616299417E-2</c:v>
                </c:pt>
                <c:pt idx="66">
                  <c:v>2.587150374122359E-2</c:v>
                </c:pt>
                <c:pt idx="67">
                  <c:v>2.691260699372984E-2</c:v>
                </c:pt>
                <c:pt idx="68">
                  <c:v>2.5874418970458959E-2</c:v>
                </c:pt>
                <c:pt idx="69">
                  <c:v>2.3193315376484971E-2</c:v>
                </c:pt>
                <c:pt idx="70">
                  <c:v>2.2686657383630061E-2</c:v>
                </c:pt>
                <c:pt idx="71">
                  <c:v>2.6189284143623481E-2</c:v>
                </c:pt>
                <c:pt idx="72">
                  <c:v>2.7336338114147821E-2</c:v>
                </c:pt>
                <c:pt idx="73">
                  <c:v>2.7740990571672709E-2</c:v>
                </c:pt>
                <c:pt idx="74">
                  <c:v>2.877527311984417E-2</c:v>
                </c:pt>
                <c:pt idx="75">
                  <c:v>2.8510329318482429E-2</c:v>
                </c:pt>
                <c:pt idx="76">
                  <c:v>2.7909474603405621E-2</c:v>
                </c:pt>
                <c:pt idx="77">
                  <c:v>2.354699792786898E-2</c:v>
                </c:pt>
                <c:pt idx="78">
                  <c:v>2.3516397046911521E-2</c:v>
                </c:pt>
                <c:pt idx="79">
                  <c:v>2.2115174941799771E-2</c:v>
                </c:pt>
                <c:pt idx="80">
                  <c:v>2.2268202762568419E-2</c:v>
                </c:pt>
                <c:pt idx="81">
                  <c:v>2.1244426266941788E-2</c:v>
                </c:pt>
                <c:pt idx="82">
                  <c:v>3.1177386289303839E-2</c:v>
                </c:pt>
                <c:pt idx="83">
                  <c:v>2.630647686699077E-2</c:v>
                </c:pt>
                <c:pt idx="84">
                  <c:v>2.5524833007679371E-2</c:v>
                </c:pt>
                <c:pt idx="85">
                  <c:v>2.6871534411513371E-2</c:v>
                </c:pt>
                <c:pt idx="86">
                  <c:v>2.6338851413823881E-2</c:v>
                </c:pt>
                <c:pt idx="87">
                  <c:v>2.464870108961555E-2</c:v>
                </c:pt>
                <c:pt idx="88">
                  <c:v>2.6238033764437702E-2</c:v>
                </c:pt>
                <c:pt idx="89">
                  <c:v>3.0191859532939729E-2</c:v>
                </c:pt>
                <c:pt idx="90">
                  <c:v>3.071685169632082E-2</c:v>
                </c:pt>
                <c:pt idx="91">
                  <c:v>3.1790352756617277E-2</c:v>
                </c:pt>
                <c:pt idx="92">
                  <c:v>2.9789485452214989E-2</c:v>
                </c:pt>
                <c:pt idx="93">
                  <c:v>2.7419432969366012E-2</c:v>
                </c:pt>
                <c:pt idx="94">
                  <c:v>2.5375304588112151E-2</c:v>
                </c:pt>
                <c:pt idx="95">
                  <c:v>2.727143524464504E-2</c:v>
                </c:pt>
                <c:pt idx="96">
                  <c:v>2.430072520573312E-2</c:v>
                </c:pt>
                <c:pt idx="97">
                  <c:v>2.5953063658202231E-2</c:v>
                </c:pt>
                <c:pt idx="98">
                  <c:v>2.870484051773789E-2</c:v>
                </c:pt>
                <c:pt idx="99">
                  <c:v>3.0161179689259059E-2</c:v>
                </c:pt>
                <c:pt idx="100">
                  <c:v>3.7558407981539428E-2</c:v>
                </c:pt>
                <c:pt idx="101">
                  <c:v>3.5796970668813113E-2</c:v>
                </c:pt>
              </c:numCache>
            </c:numRef>
          </c:yVal>
          <c:smooth val="0"/>
          <c:extLst>
            <c:ext xmlns:c16="http://schemas.microsoft.com/office/drawing/2014/chart" uri="{C3380CC4-5D6E-409C-BE32-E72D297353CC}">
              <c16:uniqueId val="{00000000-096C-4121-9522-6AB7243CCAAE}"/>
            </c:ext>
          </c:extLst>
        </c:ser>
        <c:ser>
          <c:idx val="1"/>
          <c:order val="1"/>
          <c:tx>
            <c:strRef>
              <c:f>Sheet1!$B$10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6:$A$157</c:f>
              <c:numCache>
                <c:formatCode>General</c:formatCode>
                <c:ptCount val="52"/>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numCache>
            </c:numRef>
          </c:xVal>
          <c:yVal>
            <c:numRef>
              <c:f>Sheet1!$B$106:$B$157</c:f>
              <c:numCache>
                <c:formatCode>General</c:formatCode>
                <c:ptCount val="52"/>
                <c:pt idx="0">
                  <c:v>3.3379430772150658E-2</c:v>
                </c:pt>
                <c:pt idx="1">
                  <c:v>3.5297770608354727E-2</c:v>
                </c:pt>
                <c:pt idx="2">
                  <c:v>3.603152077608085E-2</c:v>
                </c:pt>
                <c:pt idx="3">
                  <c:v>3.0978674639028671E-2</c:v>
                </c:pt>
                <c:pt idx="4">
                  <c:v>2.8133515753956471E-2</c:v>
                </c:pt>
                <c:pt idx="5">
                  <c:v>2.7512069607189622E-2</c:v>
                </c:pt>
                <c:pt idx="6">
                  <c:v>2.753590860107619E-2</c:v>
                </c:pt>
                <c:pt idx="7">
                  <c:v>2.7306049137985969E-2</c:v>
                </c:pt>
                <c:pt idx="8">
                  <c:v>2.683860754587173E-2</c:v>
                </c:pt>
                <c:pt idx="9">
                  <c:v>2.8577136215520639E-2</c:v>
                </c:pt>
                <c:pt idx="10">
                  <c:v>2.9045708307140341E-2</c:v>
                </c:pt>
                <c:pt idx="11">
                  <c:v>3.0151694267354031E-2</c:v>
                </c:pt>
                <c:pt idx="12">
                  <c:v>3.1278274774940933E-2</c:v>
                </c:pt>
                <c:pt idx="13">
                  <c:v>3.2623144271831599E-2</c:v>
                </c:pt>
                <c:pt idx="14">
                  <c:v>3.2081452766552027E-2</c:v>
                </c:pt>
                <c:pt idx="15">
                  <c:v>2.8476513020004542E-2</c:v>
                </c:pt>
                <c:pt idx="16">
                  <c:v>2.889792926206242E-2</c:v>
                </c:pt>
                <c:pt idx="17">
                  <c:v>2.8572345272906731E-2</c:v>
                </c:pt>
                <c:pt idx="18">
                  <c:v>2.758215728763419E-2</c:v>
                </c:pt>
                <c:pt idx="19">
                  <c:v>2.6684207925807661E-2</c:v>
                </c:pt>
                <c:pt idx="20">
                  <c:v>2.507409816863837E-2</c:v>
                </c:pt>
                <c:pt idx="21">
                  <c:v>3.7053775555914388E-2</c:v>
                </c:pt>
                <c:pt idx="22">
                  <c:v>4.1201839145334811E-2</c:v>
                </c:pt>
                <c:pt idx="23">
                  <c:v>3.952108516249337E-2</c:v>
                </c:pt>
                <c:pt idx="24">
                  <c:v>3.301132678213544E-2</c:v>
                </c:pt>
                <c:pt idx="25">
                  <c:v>3.4672282379825628E-2</c:v>
                </c:pt>
                <c:pt idx="26">
                  <c:v>3.6478521099227869E-2</c:v>
                </c:pt>
                <c:pt idx="27">
                  <c:v>3.1719960612283417E-2</c:v>
                </c:pt>
                <c:pt idx="28">
                  <c:v>2.9844699099281859E-2</c:v>
                </c:pt>
                <c:pt idx="29">
                  <c:v>2.824703792935155E-2</c:v>
                </c:pt>
                <c:pt idx="30">
                  <c:v>2.3926861689124789E-2</c:v>
                </c:pt>
                <c:pt idx="31">
                  <c:v>2.077067140814904E-2</c:v>
                </c:pt>
                <c:pt idx="32">
                  <c:v>2.3460558709885782E-2</c:v>
                </c:pt>
                <c:pt idx="33">
                  <c:v>3.042796286207031E-2</c:v>
                </c:pt>
                <c:pt idx="34">
                  <c:v>3.1037706913624011E-2</c:v>
                </c:pt>
                <c:pt idx="35">
                  <c:v>2.928997264422914E-2</c:v>
                </c:pt>
                <c:pt idx="36">
                  <c:v>2.9697936908540851E-2</c:v>
                </c:pt>
                <c:pt idx="37">
                  <c:v>3.0248130900335801E-2</c:v>
                </c:pt>
                <c:pt idx="38">
                  <c:v>3.5070387750061743E-2</c:v>
                </c:pt>
                <c:pt idx="39">
                  <c:v>3.120833777020552E-2</c:v>
                </c:pt>
                <c:pt idx="40">
                  <c:v>2.682679016675503E-2</c:v>
                </c:pt>
                <c:pt idx="41">
                  <c:v>2.4203784771293649E-2</c:v>
                </c:pt>
                <c:pt idx="42">
                  <c:v>2.4098053977022381E-2</c:v>
                </c:pt>
                <c:pt idx="43">
                  <c:v>2.4523754132153151E-2</c:v>
                </c:pt>
                <c:pt idx="44">
                  <c:v>2.2379504666963371E-2</c:v>
                </c:pt>
                <c:pt idx="45">
                  <c:v>2.104065524243157E-2</c:v>
                </c:pt>
                <c:pt idx="46">
                  <c:v>2.202824012890214E-2</c:v>
                </c:pt>
                <c:pt idx="47">
                  <c:v>2.3321641522021069E-2</c:v>
                </c:pt>
                <c:pt idx="48">
                  <c:v>2.5721900660138009E-2</c:v>
                </c:pt>
                <c:pt idx="49">
                  <c:v>2.4967370312040962E-2</c:v>
                </c:pt>
                <c:pt idx="50">
                  <c:v>2.603335979145837E-2</c:v>
                </c:pt>
                <c:pt idx="51">
                  <c:v>2.5702227757022279E-2</c:v>
                </c:pt>
              </c:numCache>
            </c:numRef>
          </c:yVal>
          <c:smooth val="0"/>
          <c:extLst>
            <c:ext xmlns:c16="http://schemas.microsoft.com/office/drawing/2014/chart" uri="{C3380CC4-5D6E-409C-BE32-E72D297353CC}">
              <c16:uniqueId val="{00000002-096C-4121-9522-6AB7243CCAAE}"/>
            </c:ext>
          </c:extLst>
        </c:ser>
        <c:ser>
          <c:idx val="2"/>
          <c:order val="2"/>
          <c:tx>
            <c:strRef>
              <c:f>Sheet1!$B$15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0:$A$161</c:f>
              <c:numCache>
                <c:formatCode>General</c:formatCode>
                <c:ptCount val="2"/>
                <c:pt idx="0">
                  <c:v>0</c:v>
                </c:pt>
                <c:pt idx="1">
                  <c:v>0.1108820277239114</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5-096C-4121-9522-6AB7243CCAAE}"/>
            </c:ext>
          </c:extLst>
        </c:ser>
        <c:ser>
          <c:idx val="3"/>
          <c:order val="3"/>
          <c:tx>
            <c:strRef>
              <c:f>Sheet1!$B$16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0.1108820277239114</c:v>
                </c:pt>
                <c:pt idx="1">
                  <c:v>0.1108820277239114</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8:$A$169</c:f>
              <c:numCache>
                <c:formatCode>General</c:formatCode>
                <c:ptCount val="2"/>
                <c:pt idx="0">
                  <c:v>0</c:v>
                </c:pt>
                <c:pt idx="1">
                  <c:v>0.11732114474802791</c:v>
                </c:pt>
              </c:numCache>
            </c:numRef>
          </c:xVal>
          <c:yVal>
            <c:numRef>
              <c:f>Sheet1!$B$168:$B$169</c:f>
              <c:numCache>
                <c:formatCode>General</c:formatCode>
                <c:ptCount val="2"/>
                <c:pt idx="0">
                  <c:v>3.1101577984060609E-2</c:v>
                </c:pt>
                <c:pt idx="1">
                  <c:v>3.1101577984060609E-2</c:v>
                </c:pt>
              </c:numCache>
            </c:numRef>
          </c:yVal>
          <c:smooth val="0"/>
          <c:extLst>
            <c:ext xmlns:c16="http://schemas.microsoft.com/office/drawing/2014/chart" uri="{C3380CC4-5D6E-409C-BE32-E72D297353CC}">
              <c16:uniqueId val="{0000000D-096C-4121-9522-6AB7243CCAAE}"/>
            </c:ext>
          </c:extLst>
        </c:ser>
        <c:ser>
          <c:idx val="5"/>
          <c:order val="5"/>
          <c:tx>
            <c:strRef>
              <c:f>Sheet1!$B$17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0.11732114474802791</c:v>
                </c:pt>
                <c:pt idx="1">
                  <c:v>0.11732114474802791</c:v>
                </c:pt>
              </c:numCache>
            </c:numRef>
          </c:xVal>
          <c:yVal>
            <c:numRef>
              <c:f>Sheet1!$B$172:$B$173</c:f>
              <c:numCache>
                <c:formatCode>General</c:formatCode>
                <c:ptCount val="2"/>
                <c:pt idx="0">
                  <c:v>3.1101577984060609E-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6:$A$177</c:f>
              <c:numCache>
                <c:formatCode>General</c:formatCode>
                <c:ptCount val="2"/>
                <c:pt idx="0">
                  <c:v>0</c:v>
                </c:pt>
                <c:pt idx="1">
                  <c:v>0.13512234665834599</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5-096C-4121-9522-6AB7243CCAAE}"/>
            </c:ext>
          </c:extLst>
        </c:ser>
        <c:ser>
          <c:idx val="7"/>
          <c:order val="7"/>
          <c:tx>
            <c:strRef>
              <c:f>Sheet1!$B$17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0:$A$181</c:f>
              <c:numCache>
                <c:formatCode>General</c:formatCode>
                <c:ptCount val="2"/>
                <c:pt idx="0">
                  <c:v>0.13512234665834599</c:v>
                </c:pt>
                <c:pt idx="1">
                  <c:v>0.13512234665834599</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4:$A$238</c:f>
              <c:numCache>
                <c:formatCode>General</c:formatCode>
                <c:ptCount val="55"/>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pt idx="52">
                  <c:v>0.11732114474802791</c:v>
                </c:pt>
                <c:pt idx="53">
                  <c:v>0.1108820277239114</c:v>
                </c:pt>
                <c:pt idx="54">
                  <c:v>0.13512234665834599</c:v>
                </c:pt>
              </c:numCache>
            </c:numRef>
          </c:xVal>
          <c:yVal>
            <c:numRef>
              <c:f>Sheet1!$B$184:$B$238</c:f>
              <c:numCache>
                <c:formatCode>General</c:formatCode>
                <c:ptCount val="55"/>
                <c:pt idx="0">
                  <c:v>3.1620668745252142E-2</c:v>
                </c:pt>
                <c:pt idx="1">
                  <c:v>3.1654790245678951E-2</c:v>
                </c:pt>
                <c:pt idx="2">
                  <c:v>3.2783325344754151E-2</c:v>
                </c:pt>
                <c:pt idx="3">
                  <c:v>3.022688607526958E-2</c:v>
                </c:pt>
                <c:pt idx="4">
                  <c:v>2.8540776744242852E-2</c:v>
                </c:pt>
                <c:pt idx="5">
                  <c:v>2.8198639317480349E-2</c:v>
                </c:pt>
                <c:pt idx="6">
                  <c:v>2.8149354774764782E-2</c:v>
                </c:pt>
                <c:pt idx="7">
                  <c:v>2.8199004366077019E-2</c:v>
                </c:pt>
                <c:pt idx="8">
                  <c:v>3.0157282303857849E-2</c:v>
                </c:pt>
                <c:pt idx="9">
                  <c:v>2.9717490317624731E-2</c:v>
                </c:pt>
                <c:pt idx="10">
                  <c:v>2.880162617160174E-2</c:v>
                </c:pt>
                <c:pt idx="11">
                  <c:v>3.0799476543192809E-2</c:v>
                </c:pt>
                <c:pt idx="12">
                  <c:v>2.8080121278043681E-2</c:v>
                </c:pt>
                <c:pt idx="13">
                  <c:v>2.8247092051713919E-2</c:v>
                </c:pt>
                <c:pt idx="14">
                  <c:v>2.639540124703324E-2</c:v>
                </c:pt>
                <c:pt idx="15">
                  <c:v>1.9220157910636009E-2</c:v>
                </c:pt>
                <c:pt idx="16">
                  <c:v>2.9292926757015069E-2</c:v>
                </c:pt>
                <c:pt idx="17">
                  <c:v>2.9541107656935999E-2</c:v>
                </c:pt>
                <c:pt idx="18">
                  <c:v>3.1154431279754719E-2</c:v>
                </c:pt>
                <c:pt idx="19">
                  <c:v>2.9461129531890291E-2</c:v>
                </c:pt>
                <c:pt idx="20">
                  <c:v>3.0313783713891131E-2</c:v>
                </c:pt>
                <c:pt idx="21">
                  <c:v>3.3508822667282862E-2</c:v>
                </c:pt>
                <c:pt idx="22">
                  <c:v>3.4739165058279807E-2</c:v>
                </c:pt>
                <c:pt idx="23">
                  <c:v>3.3561500120319547E-2</c:v>
                </c:pt>
                <c:pt idx="24">
                  <c:v>3.0961282548418428E-2</c:v>
                </c:pt>
                <c:pt idx="25">
                  <c:v>3.325613118609181E-2</c:v>
                </c:pt>
                <c:pt idx="26">
                  <c:v>3.230935798656305E-2</c:v>
                </c:pt>
                <c:pt idx="27">
                  <c:v>3.0186042242885399E-2</c:v>
                </c:pt>
                <c:pt idx="28">
                  <c:v>2.9826699740302571E-2</c:v>
                </c:pt>
                <c:pt idx="29">
                  <c:v>2.8461825588360749E-2</c:v>
                </c:pt>
                <c:pt idx="30">
                  <c:v>2.6667445839888119E-2</c:v>
                </c:pt>
                <c:pt idx="31">
                  <c:v>2.9333797528733729E-2</c:v>
                </c:pt>
                <c:pt idx="32">
                  <c:v>2.8469462201818171E-2</c:v>
                </c:pt>
                <c:pt idx="33">
                  <c:v>3.1278574864500211E-2</c:v>
                </c:pt>
                <c:pt idx="34">
                  <c:v>3.362517184260494E-2</c:v>
                </c:pt>
                <c:pt idx="35">
                  <c:v>3.1259339751075838E-2</c:v>
                </c:pt>
                <c:pt idx="36">
                  <c:v>3.2466678789921898E-2</c:v>
                </c:pt>
                <c:pt idx="37">
                  <c:v>3.336561461501103E-2</c:v>
                </c:pt>
                <c:pt idx="38">
                  <c:v>3.1897061212580187E-2</c:v>
                </c:pt>
                <c:pt idx="39">
                  <c:v>3.0591232179052279E-2</c:v>
                </c:pt>
                <c:pt idx="40">
                  <c:v>2.6490890509876141E-2</c:v>
                </c:pt>
                <c:pt idx="41">
                  <c:v>2.5005655171483909E-2</c:v>
                </c:pt>
                <c:pt idx="42">
                  <c:v>2.471524594195228E-2</c:v>
                </c:pt>
                <c:pt idx="43">
                  <c:v>2.5740688254943609E-2</c:v>
                </c:pt>
                <c:pt idx="44">
                  <c:v>2.534241769031121E-2</c:v>
                </c:pt>
                <c:pt idx="45">
                  <c:v>2.5785004878787769E-2</c:v>
                </c:pt>
                <c:pt idx="46">
                  <c:v>2.6712805427711591E-2</c:v>
                </c:pt>
                <c:pt idx="47">
                  <c:v>2.6016063432124481E-2</c:v>
                </c:pt>
                <c:pt idx="48">
                  <c:v>2.645901837190287E-2</c:v>
                </c:pt>
                <c:pt idx="49">
                  <c:v>2.253097533810856E-2</c:v>
                </c:pt>
                <c:pt idx="50">
                  <c:v>2.3407974477709061E-2</c:v>
                </c:pt>
                <c:pt idx="51">
                  <c:v>2.5267129597052979E-2</c:v>
                </c:pt>
                <c:pt idx="52">
                  <c:v>3.1101577984060599E-2</c:v>
                </c:pt>
                <c:pt idx="53">
                  <c:v>3.3390590546211449E-2</c:v>
                </c:pt>
                <c:pt idx="54">
                  <c:v>2.47735092998775E-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18089307194123574"/>
          <c:min val="7.5697543274504286E-2"/>
        </c:scaling>
        <c:delete val="0"/>
        <c:axPos val="b"/>
        <c:title>
          <c:tx>
            <c:rich>
              <a:bodyPr rot="0" spcFirstLastPara="1" vertOverflow="ellipsis" vert="horz" wrap="square" anchor="ctr" anchorCtr="1"/>
              <a:lstStyle/>
              <a:p>
                <a:pPr>
                  <a:defRPr sz="800" b="0">
                    <a:solidFill>
                      <a:srgbClr val="575555"/>
                    </a:solidFill>
                    <a:latin typeface="Nexa Bold"/>
                  </a:defRPr>
                </a:pPr>
                <a:r>
                  <a:rPr lang="en-US"/>
                  <a:t>Price Ix vs. Gillette Fusion5</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3084051742229012</c:v>
                </c:pt>
                <c:pt idx="1">
                  <c:v>0.31591786351078627</c:v>
                </c:pt>
                <c:pt idx="2">
                  <c:v>0.32058023334902946</c:v>
                </c:pt>
                <c:pt idx="3">
                  <c:v>0.31551466024025998</c:v>
                </c:pt>
                <c:pt idx="4">
                  <c:v>0.31248983133575575</c:v>
                </c:pt>
                <c:pt idx="5">
                  <c:v>0.31209899175068745</c:v>
                </c:pt>
                <c:pt idx="6">
                  <c:v>0.31243915630070307</c:v>
                </c:pt>
                <c:pt idx="7">
                  <c:v>0.3133619793471481</c:v>
                </c:pt>
                <c:pt idx="8">
                  <c:v>0.31671907756813417</c:v>
                </c:pt>
                <c:pt idx="9">
                  <c:v>0.31082322826247477</c:v>
                </c:pt>
                <c:pt idx="10">
                  <c:v>0.31047212859141043</c:v>
                </c:pt>
                <c:pt idx="11">
                  <c:v>0.30851195946449417</c:v>
                </c:pt>
                <c:pt idx="12">
                  <c:v>0.30743476600274672</c:v>
                </c:pt>
                <c:pt idx="13">
                  <c:v>0.30557876018361524</c:v>
                </c:pt>
                <c:pt idx="14">
                  <c:v>0.30608180521683359</c:v>
                </c:pt>
                <c:pt idx="15">
                  <c:v>0.30537959003209308</c:v>
                </c:pt>
                <c:pt idx="16">
                  <c:v>0.30479028449342177</c:v>
                </c:pt>
                <c:pt idx="17">
                  <c:v>0.30535697989231286</c:v>
                </c:pt>
                <c:pt idx="18">
                  <c:v>0.30758733419811496</c:v>
                </c:pt>
                <c:pt idx="19">
                  <c:v>0.30384356418742708</c:v>
                </c:pt>
                <c:pt idx="20">
                  <c:v>0.30255871389344829</c:v>
                </c:pt>
                <c:pt idx="21">
                  <c:v>0.30131492720175512</c:v>
                </c:pt>
                <c:pt idx="22">
                  <c:v>0.30402402402402401</c:v>
                </c:pt>
                <c:pt idx="23">
                  <c:v>0.3041818228723267</c:v>
                </c:pt>
                <c:pt idx="24">
                  <c:v>0.30380595989557657</c:v>
                </c:pt>
                <c:pt idx="25">
                  <c:v>0.30266464709715091</c:v>
                </c:pt>
                <c:pt idx="26">
                  <c:v>0.30198090992432275</c:v>
                </c:pt>
                <c:pt idx="27">
                  <c:v>0.30261018186645428</c:v>
                </c:pt>
                <c:pt idx="28">
                  <c:v>0.30379475941413642</c:v>
                </c:pt>
                <c:pt idx="29">
                  <c:v>0.30510575091808745</c:v>
                </c:pt>
                <c:pt idx="30">
                  <c:v>0.30547263681592041</c:v>
                </c:pt>
                <c:pt idx="31">
                  <c:v>0.30191808942530629</c:v>
                </c:pt>
                <c:pt idx="32">
                  <c:v>0.30004016835781272</c:v>
                </c:pt>
                <c:pt idx="33">
                  <c:v>0.30140260803244229</c:v>
                </c:pt>
                <c:pt idx="34">
                  <c:v>0.30315931183998879</c:v>
                </c:pt>
                <c:pt idx="35">
                  <c:v>0.30423707530585153</c:v>
                </c:pt>
                <c:pt idx="36">
                  <c:v>0.30339368848493503</c:v>
                </c:pt>
                <c:pt idx="37">
                  <c:v>0.30312142377964563</c:v>
                </c:pt>
                <c:pt idx="38">
                  <c:v>0.30421477922015827</c:v>
                </c:pt>
                <c:pt idx="39">
                  <c:v>0.30360700245050509</c:v>
                </c:pt>
                <c:pt idx="40">
                  <c:v>0.30482776067799466</c:v>
                </c:pt>
                <c:pt idx="41">
                  <c:v>0.30496561046396053</c:v>
                </c:pt>
                <c:pt idx="42">
                  <c:v>0.30474260101509459</c:v>
                </c:pt>
                <c:pt idx="43">
                  <c:v>0.30487658997567685</c:v>
                </c:pt>
                <c:pt idx="44">
                  <c:v>0.30417377406912238</c:v>
                </c:pt>
                <c:pt idx="45">
                  <c:v>0.30429474182711519</c:v>
                </c:pt>
                <c:pt idx="46">
                  <c:v>0.30416987037597953</c:v>
                </c:pt>
                <c:pt idx="47">
                  <c:v>0.30177142857142858</c:v>
                </c:pt>
                <c:pt idx="48">
                  <c:v>0.30034428178139644</c:v>
                </c:pt>
                <c:pt idx="49">
                  <c:v>0.30020553910468561</c:v>
                </c:pt>
                <c:pt idx="50">
                  <c:v>0.30020393921120919</c:v>
                </c:pt>
                <c:pt idx="51">
                  <c:v>0.30029572161037082</c:v>
                </c:pt>
                <c:pt idx="52">
                  <c:v>0.30085731375024921</c:v>
                </c:pt>
                <c:pt idx="53">
                  <c:v>0.30374794069192751</c:v>
                </c:pt>
                <c:pt idx="54">
                  <c:v>0.30475569923731716</c:v>
                </c:pt>
                <c:pt idx="55">
                  <c:v>0.30484411191281596</c:v>
                </c:pt>
                <c:pt idx="56">
                  <c:v>0.29666067320451317</c:v>
                </c:pt>
                <c:pt idx="57">
                  <c:v>0.25400835544515327</c:v>
                </c:pt>
                <c:pt idx="58">
                  <c:v>0.23382400369980466</c:v>
                </c:pt>
                <c:pt idx="59">
                  <c:v>0.23943026116791946</c:v>
                </c:pt>
                <c:pt idx="60">
                  <c:v>0.25369491863085675</c:v>
                </c:pt>
                <c:pt idx="61">
                  <c:v>0.26335839430757868</c:v>
                </c:pt>
                <c:pt idx="62">
                  <c:v>0.24811366501794199</c:v>
                </c:pt>
                <c:pt idx="63">
                  <c:v>0.25331883600138116</c:v>
                </c:pt>
                <c:pt idx="64">
                  <c:v>0.27606841827999473</c:v>
                </c:pt>
                <c:pt idx="65">
                  <c:v>0.28160478817918266</c:v>
                </c:pt>
                <c:pt idx="66">
                  <c:v>0.29229782021117312</c:v>
                </c:pt>
                <c:pt idx="67">
                  <c:v>0.30127414335954045</c:v>
                </c:pt>
                <c:pt idx="68">
                  <c:v>0.30305886879569066</c:v>
                </c:pt>
                <c:pt idx="69">
                  <c:v>0.30492991022208221</c:v>
                </c:pt>
                <c:pt idx="70">
                  <c:v>0.30628978911194849</c:v>
                </c:pt>
                <c:pt idx="71">
                  <c:v>0.30507690665654685</c:v>
                </c:pt>
                <c:pt idx="72">
                  <c:v>0.30607670596048481</c:v>
                </c:pt>
                <c:pt idx="73">
                  <c:v>0.3116373241246056</c:v>
                </c:pt>
                <c:pt idx="74">
                  <c:v>0.31424842998124136</c:v>
                </c:pt>
                <c:pt idx="75">
                  <c:v>0.31320176754871626</c:v>
                </c:pt>
                <c:pt idx="76">
                  <c:v>0.31380953870863448</c:v>
                </c:pt>
                <c:pt idx="77">
                  <c:v>0.32590348409435188</c:v>
                </c:pt>
                <c:pt idx="78">
                  <c:v>0.33061711871301291</c:v>
                </c:pt>
                <c:pt idx="79">
                  <c:v>0.33376024237416513</c:v>
                </c:pt>
                <c:pt idx="80">
                  <c:v>0.334863282523373</c:v>
                </c:pt>
                <c:pt idx="81">
                  <c:v>0.33732775797715603</c:v>
                </c:pt>
                <c:pt idx="82">
                  <c:v>0.3340239432262419</c:v>
                </c:pt>
                <c:pt idx="83">
                  <c:v>0.32813911724353323</c:v>
                </c:pt>
                <c:pt idx="84">
                  <c:v>0.32451377453380215</c:v>
                </c:pt>
                <c:pt idx="85">
                  <c:v>0.3242920313313794</c:v>
                </c:pt>
                <c:pt idx="86">
                  <c:v>0.32834757834757833</c:v>
                </c:pt>
                <c:pt idx="87">
                  <c:v>0.33024565689467972</c:v>
                </c:pt>
                <c:pt idx="88">
                  <c:v>0.33047076978575868</c:v>
                </c:pt>
                <c:pt idx="89">
                  <c:v>0.32960364974033468</c:v>
                </c:pt>
                <c:pt idx="90">
                  <c:v>0.32877782475231143</c:v>
                </c:pt>
                <c:pt idx="91">
                  <c:v>0.33265505668454848</c:v>
                </c:pt>
                <c:pt idx="92">
                  <c:v>0.33383080669232584</c:v>
                </c:pt>
                <c:pt idx="93">
                  <c:v>0.33445095599479496</c:v>
                </c:pt>
                <c:pt idx="94">
                  <c:v>0.33425385899470356</c:v>
                </c:pt>
                <c:pt idx="95">
                  <c:v>0.33302358553829059</c:v>
                </c:pt>
                <c:pt idx="96">
                  <c:v>0.3331230702831911</c:v>
                </c:pt>
                <c:pt idx="97">
                  <c:v>0.33248279672509923</c:v>
                </c:pt>
                <c:pt idx="98">
                  <c:v>0.33184443040565192</c:v>
                </c:pt>
                <c:pt idx="99">
                  <c:v>0.31234357273380736</c:v>
                </c:pt>
                <c:pt idx="100">
                  <c:v>0.30123106937136429</c:v>
                </c:pt>
                <c:pt idx="101">
                  <c:v>0.30056872662328632</c:v>
                </c:pt>
              </c:numCache>
            </c:numRef>
          </c:xVal>
          <c:yVal>
            <c:numRef>
              <c:f>Sheet1!$B$2:$B$103</c:f>
              <c:numCache>
                <c:formatCode>General</c:formatCode>
                <c:ptCount val="102"/>
                <c:pt idx="0">
                  <c:v>3.1549194168607006E-2</c:v>
                </c:pt>
                <c:pt idx="1">
                  <c:v>2.5925076493376501E-2</c:v>
                </c:pt>
                <c:pt idx="2">
                  <c:v>1.9457371147598559E-2</c:v>
                </c:pt>
                <c:pt idx="3">
                  <c:v>2.1005226955186754E-2</c:v>
                </c:pt>
                <c:pt idx="4">
                  <c:v>2.3683174888924508E-2</c:v>
                </c:pt>
                <c:pt idx="5">
                  <c:v>2.4814911692122233E-2</c:v>
                </c:pt>
                <c:pt idx="6">
                  <c:v>2.2966901329024649E-2</c:v>
                </c:pt>
                <c:pt idx="7">
                  <c:v>2.1693356757167159E-2</c:v>
                </c:pt>
                <c:pt idx="8">
                  <c:v>2.508474647577718E-2</c:v>
                </c:pt>
                <c:pt idx="9">
                  <c:v>3.2219360006132694E-2</c:v>
                </c:pt>
                <c:pt idx="10">
                  <c:v>3.3455366889535383E-2</c:v>
                </c:pt>
                <c:pt idx="11">
                  <c:v>3.0774205038558523E-2</c:v>
                </c:pt>
                <c:pt idx="12">
                  <c:v>3.166311843777065E-2</c:v>
                </c:pt>
                <c:pt idx="13">
                  <c:v>2.9573633835338665E-2</c:v>
                </c:pt>
                <c:pt idx="14">
                  <c:v>2.9438294749618857E-2</c:v>
                </c:pt>
                <c:pt idx="15">
                  <c:v>3.2326555355538883E-2</c:v>
                </c:pt>
                <c:pt idx="16">
                  <c:v>3.0454183212358377E-2</c:v>
                </c:pt>
                <c:pt idx="17">
                  <c:v>3.0177244147381318E-2</c:v>
                </c:pt>
                <c:pt idx="18">
                  <c:v>3.0949579617420526E-2</c:v>
                </c:pt>
                <c:pt idx="19">
                  <c:v>3.3044676701229417E-2</c:v>
                </c:pt>
                <c:pt idx="20">
                  <c:v>3.4502368865567047E-2</c:v>
                </c:pt>
                <c:pt idx="21">
                  <c:v>3.8171203781773647E-2</c:v>
                </c:pt>
                <c:pt idx="22">
                  <c:v>3.2633840746857157E-2</c:v>
                </c:pt>
                <c:pt idx="23">
                  <c:v>3.22851825867847E-2</c:v>
                </c:pt>
                <c:pt idx="24">
                  <c:v>3.4293774474369265E-2</c:v>
                </c:pt>
                <c:pt idx="25">
                  <c:v>3.3493331489235549E-2</c:v>
                </c:pt>
                <c:pt idx="26">
                  <c:v>3.2256296982208908E-2</c:v>
                </c:pt>
                <c:pt idx="27">
                  <c:v>3.256327154323236E-2</c:v>
                </c:pt>
                <c:pt idx="28">
                  <c:v>3.0215972855570965E-2</c:v>
                </c:pt>
                <c:pt idx="29">
                  <c:v>2.971323515475446E-2</c:v>
                </c:pt>
                <c:pt idx="30">
                  <c:v>2.9886044202056927E-2</c:v>
                </c:pt>
                <c:pt idx="31">
                  <c:v>3.0113049153545669E-2</c:v>
                </c:pt>
                <c:pt idx="32">
                  <c:v>3.0121682992946059E-2</c:v>
                </c:pt>
                <c:pt idx="33">
                  <c:v>2.8704102443482309E-2</c:v>
                </c:pt>
                <c:pt idx="34">
                  <c:v>3.0602403901330309E-2</c:v>
                </c:pt>
                <c:pt idx="35">
                  <c:v>3.1456536502498786E-2</c:v>
                </c:pt>
                <c:pt idx="36">
                  <c:v>3.1516667937295108E-2</c:v>
                </c:pt>
                <c:pt idx="37">
                  <c:v>3.3226585884057164E-2</c:v>
                </c:pt>
                <c:pt idx="38">
                  <c:v>3.3016326225624587E-2</c:v>
                </c:pt>
                <c:pt idx="39">
                  <c:v>3.0075909553288729E-2</c:v>
                </c:pt>
                <c:pt idx="40">
                  <c:v>3.0308227143147046E-2</c:v>
                </c:pt>
                <c:pt idx="41">
                  <c:v>3.1273537834975489E-2</c:v>
                </c:pt>
                <c:pt idx="42">
                  <c:v>3.0059016900147784E-2</c:v>
                </c:pt>
                <c:pt idx="43">
                  <c:v>3.0573863083611635E-2</c:v>
                </c:pt>
                <c:pt idx="44">
                  <c:v>3.254448153409624E-2</c:v>
                </c:pt>
                <c:pt idx="45">
                  <c:v>3.2420025270644671E-2</c:v>
                </c:pt>
                <c:pt idx="46">
                  <c:v>3.0841270586476857E-2</c:v>
                </c:pt>
                <c:pt idx="47">
                  <c:v>3.4545476528939606E-2</c:v>
                </c:pt>
                <c:pt idx="48">
                  <c:v>3.9378011399146942E-2</c:v>
                </c:pt>
                <c:pt idx="49">
                  <c:v>3.4585845792310457E-2</c:v>
                </c:pt>
                <c:pt idx="50">
                  <c:v>3.6889295123608744E-2</c:v>
                </c:pt>
                <c:pt idx="51">
                  <c:v>3.516974061970235E-2</c:v>
                </c:pt>
                <c:pt idx="52">
                  <c:v>3.3440411726256954E-2</c:v>
                </c:pt>
                <c:pt idx="53">
                  <c:v>3.0775515895011849E-2</c:v>
                </c:pt>
                <c:pt idx="54">
                  <c:v>2.856172806220978E-2</c:v>
                </c:pt>
                <c:pt idx="55">
                  <c:v>2.9260191711765828E-2</c:v>
                </c:pt>
                <c:pt idx="56">
                  <c:v>3.1178692703543048E-2</c:v>
                </c:pt>
                <c:pt idx="57">
                  <c:v>3.7031471681131703E-2</c:v>
                </c:pt>
                <c:pt idx="58">
                  <c:v>3.9909501581123753E-2</c:v>
                </c:pt>
                <c:pt idx="59">
                  <c:v>3.3090443177845791E-2</c:v>
                </c:pt>
                <c:pt idx="60">
                  <c:v>2.0429936026239697E-2</c:v>
                </c:pt>
                <c:pt idx="61">
                  <c:v>1.5942339180034886E-2</c:v>
                </c:pt>
                <c:pt idx="62">
                  <c:v>2.6561543645322632E-2</c:v>
                </c:pt>
                <c:pt idx="63">
                  <c:v>3.5068893654044385E-2</c:v>
                </c:pt>
                <c:pt idx="64">
                  <c:v>3.0967228847484717E-2</c:v>
                </c:pt>
                <c:pt idx="65">
                  <c:v>2.6027056162994167E-2</c:v>
                </c:pt>
                <c:pt idx="66">
                  <c:v>2.5871503741223587E-2</c:v>
                </c:pt>
                <c:pt idx="67">
                  <c:v>2.691260699372984E-2</c:v>
                </c:pt>
                <c:pt idx="68">
                  <c:v>2.5874418970458959E-2</c:v>
                </c:pt>
                <c:pt idx="69">
                  <c:v>2.3193315376484971E-2</c:v>
                </c:pt>
                <c:pt idx="70">
                  <c:v>2.2686657383630057E-2</c:v>
                </c:pt>
                <c:pt idx="71">
                  <c:v>2.6189284143623485E-2</c:v>
                </c:pt>
                <c:pt idx="72">
                  <c:v>2.7336338114147821E-2</c:v>
                </c:pt>
                <c:pt idx="73">
                  <c:v>2.7740990571672709E-2</c:v>
                </c:pt>
                <c:pt idx="74">
                  <c:v>2.8775273119844166E-2</c:v>
                </c:pt>
                <c:pt idx="75">
                  <c:v>2.8510329318482425E-2</c:v>
                </c:pt>
                <c:pt idx="76">
                  <c:v>2.7909474603405617E-2</c:v>
                </c:pt>
                <c:pt idx="77">
                  <c:v>2.354699792786898E-2</c:v>
                </c:pt>
                <c:pt idx="78">
                  <c:v>2.3516397046911525E-2</c:v>
                </c:pt>
                <c:pt idx="79">
                  <c:v>2.2115174941799768E-2</c:v>
                </c:pt>
                <c:pt idx="80">
                  <c:v>2.2268202762568419E-2</c:v>
                </c:pt>
                <c:pt idx="81">
                  <c:v>2.1244426266941792E-2</c:v>
                </c:pt>
                <c:pt idx="82">
                  <c:v>3.1177386289303839E-2</c:v>
                </c:pt>
                <c:pt idx="83">
                  <c:v>2.6306476866990773E-2</c:v>
                </c:pt>
                <c:pt idx="84">
                  <c:v>2.5524833007679375E-2</c:v>
                </c:pt>
                <c:pt idx="85">
                  <c:v>2.6871534411513368E-2</c:v>
                </c:pt>
                <c:pt idx="86">
                  <c:v>2.6338851413823878E-2</c:v>
                </c:pt>
                <c:pt idx="87">
                  <c:v>2.4648701089615546E-2</c:v>
                </c:pt>
                <c:pt idx="88">
                  <c:v>2.6238033764437702E-2</c:v>
                </c:pt>
                <c:pt idx="89">
                  <c:v>3.0191859532939729E-2</c:v>
                </c:pt>
                <c:pt idx="90">
                  <c:v>3.0716851696320817E-2</c:v>
                </c:pt>
                <c:pt idx="91">
                  <c:v>3.1790352756617284E-2</c:v>
                </c:pt>
                <c:pt idx="92">
                  <c:v>2.9789485452214992E-2</c:v>
                </c:pt>
                <c:pt idx="93">
                  <c:v>2.7419432969366012E-2</c:v>
                </c:pt>
                <c:pt idx="94">
                  <c:v>2.5375304588112154E-2</c:v>
                </c:pt>
                <c:pt idx="95">
                  <c:v>2.7271435244645044E-2</c:v>
                </c:pt>
                <c:pt idx="96">
                  <c:v>2.4300725205733124E-2</c:v>
                </c:pt>
                <c:pt idx="97">
                  <c:v>2.5953063658202231E-2</c:v>
                </c:pt>
                <c:pt idx="98">
                  <c:v>2.870484051773789E-2</c:v>
                </c:pt>
                <c:pt idx="99">
                  <c:v>3.0161179689259059E-2</c:v>
                </c:pt>
                <c:pt idx="100">
                  <c:v>3.7558407981539428E-2</c:v>
                </c:pt>
                <c:pt idx="101">
                  <c:v>3.5796970668813106E-2</c:v>
                </c:pt>
              </c:numCache>
            </c:numRef>
          </c:yVal>
          <c:smooth val="0"/>
          <c:extLst>
            <c:ext xmlns:c16="http://schemas.microsoft.com/office/drawing/2014/chart" uri="{C3380CC4-5D6E-409C-BE32-E72D297353CC}">
              <c16:uniqueId val="{00000000-F32D-48B7-BC20-E66FC6253BAD}"/>
            </c:ext>
          </c:extLst>
        </c:ser>
        <c:ser>
          <c:idx val="1"/>
          <c:order val="1"/>
          <c:tx>
            <c:strRef>
              <c:f>Sheet1!$B$10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6:$A$157</c:f>
              <c:numCache>
                <c:formatCode>General</c:formatCode>
                <c:ptCount val="52"/>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numCache>
            </c:numRef>
          </c:xVal>
          <c:yVal>
            <c:numRef>
              <c:f>Sheet1!$B$106:$B$157</c:f>
              <c:numCache>
                <c:formatCode>General</c:formatCode>
                <c:ptCount val="52"/>
                <c:pt idx="0">
                  <c:v>3.3379430772150658E-2</c:v>
                </c:pt>
                <c:pt idx="1">
                  <c:v>3.5297770608354727E-2</c:v>
                </c:pt>
                <c:pt idx="2">
                  <c:v>3.603152077608085E-2</c:v>
                </c:pt>
                <c:pt idx="3">
                  <c:v>3.0978674639028675E-2</c:v>
                </c:pt>
                <c:pt idx="4">
                  <c:v>2.8133515753956471E-2</c:v>
                </c:pt>
                <c:pt idx="5">
                  <c:v>2.7512069607189618E-2</c:v>
                </c:pt>
                <c:pt idx="6">
                  <c:v>2.7535908601076187E-2</c:v>
                </c:pt>
                <c:pt idx="7">
                  <c:v>2.7306049137985969E-2</c:v>
                </c:pt>
                <c:pt idx="8">
                  <c:v>2.6838607545871734E-2</c:v>
                </c:pt>
                <c:pt idx="9">
                  <c:v>2.8577136215520643E-2</c:v>
                </c:pt>
                <c:pt idx="10">
                  <c:v>2.9045708307140341E-2</c:v>
                </c:pt>
                <c:pt idx="11">
                  <c:v>3.0151694267354034E-2</c:v>
                </c:pt>
                <c:pt idx="12">
                  <c:v>3.1278274774940926E-2</c:v>
                </c:pt>
                <c:pt idx="13">
                  <c:v>3.2623144271831599E-2</c:v>
                </c:pt>
                <c:pt idx="14">
                  <c:v>3.2081452766552027E-2</c:v>
                </c:pt>
                <c:pt idx="15">
                  <c:v>2.8476513020004538E-2</c:v>
                </c:pt>
                <c:pt idx="16">
                  <c:v>2.8897929262062423E-2</c:v>
                </c:pt>
                <c:pt idx="17">
                  <c:v>2.8572345272906727E-2</c:v>
                </c:pt>
                <c:pt idx="18">
                  <c:v>2.7582157287634194E-2</c:v>
                </c:pt>
                <c:pt idx="19">
                  <c:v>2.6684207925807661E-2</c:v>
                </c:pt>
                <c:pt idx="20">
                  <c:v>2.5074098168638374E-2</c:v>
                </c:pt>
                <c:pt idx="21">
                  <c:v>3.7053775555914395E-2</c:v>
                </c:pt>
                <c:pt idx="22">
                  <c:v>4.1201839145334811E-2</c:v>
                </c:pt>
                <c:pt idx="23">
                  <c:v>3.952108516249337E-2</c:v>
                </c:pt>
                <c:pt idx="24">
                  <c:v>3.301132678213544E-2</c:v>
                </c:pt>
                <c:pt idx="25">
                  <c:v>3.4672282379825628E-2</c:v>
                </c:pt>
                <c:pt idx="26">
                  <c:v>3.6478521099227869E-2</c:v>
                </c:pt>
                <c:pt idx="27">
                  <c:v>3.1719960612283417E-2</c:v>
                </c:pt>
                <c:pt idx="28">
                  <c:v>2.9844699099281863E-2</c:v>
                </c:pt>
                <c:pt idx="29">
                  <c:v>2.8247037929351546E-2</c:v>
                </c:pt>
                <c:pt idx="30">
                  <c:v>2.3926861689124793E-2</c:v>
                </c:pt>
                <c:pt idx="31">
                  <c:v>2.0770671408149036E-2</c:v>
                </c:pt>
                <c:pt idx="32">
                  <c:v>2.3460558709885785E-2</c:v>
                </c:pt>
                <c:pt idx="33">
                  <c:v>3.0427962862070307E-2</c:v>
                </c:pt>
                <c:pt idx="34">
                  <c:v>3.1037706913624008E-2</c:v>
                </c:pt>
                <c:pt idx="35">
                  <c:v>2.928997264422914E-2</c:v>
                </c:pt>
                <c:pt idx="36">
                  <c:v>2.9697936908540855E-2</c:v>
                </c:pt>
                <c:pt idx="37">
                  <c:v>3.0248130900335804E-2</c:v>
                </c:pt>
                <c:pt idx="38">
                  <c:v>3.5070387750061743E-2</c:v>
                </c:pt>
                <c:pt idx="39">
                  <c:v>3.1208337770205517E-2</c:v>
                </c:pt>
                <c:pt idx="40">
                  <c:v>2.6826790166755026E-2</c:v>
                </c:pt>
                <c:pt idx="41">
                  <c:v>2.4203784771293646E-2</c:v>
                </c:pt>
                <c:pt idx="42">
                  <c:v>2.4098053977022377E-2</c:v>
                </c:pt>
                <c:pt idx="43">
                  <c:v>2.4523754132153155E-2</c:v>
                </c:pt>
                <c:pt idx="44">
                  <c:v>2.2379504666963371E-2</c:v>
                </c:pt>
                <c:pt idx="45">
                  <c:v>2.104065524243157E-2</c:v>
                </c:pt>
                <c:pt idx="46">
                  <c:v>2.2028240128902143E-2</c:v>
                </c:pt>
                <c:pt idx="47">
                  <c:v>2.3321641522021073E-2</c:v>
                </c:pt>
                <c:pt idx="48">
                  <c:v>2.5721900660138006E-2</c:v>
                </c:pt>
                <c:pt idx="49">
                  <c:v>2.4967370312040958E-2</c:v>
                </c:pt>
                <c:pt idx="50">
                  <c:v>2.6033359791458374E-2</c:v>
                </c:pt>
                <c:pt idx="51">
                  <c:v>2.5702227757022279E-2</c:v>
                </c:pt>
              </c:numCache>
            </c:numRef>
          </c:yVal>
          <c:smooth val="0"/>
          <c:extLst>
            <c:ext xmlns:c16="http://schemas.microsoft.com/office/drawing/2014/chart" uri="{C3380CC4-5D6E-409C-BE32-E72D297353CC}">
              <c16:uniqueId val="{00000002-F32D-48B7-BC20-E66FC6253BAD}"/>
            </c:ext>
          </c:extLst>
        </c:ser>
        <c:ser>
          <c:idx val="2"/>
          <c:order val="2"/>
          <c:tx>
            <c:strRef>
              <c:f>Sheet1!$B$159</c:f>
              <c:strCache>
                <c:ptCount val="1"/>
                <c:pt idx="0">
                  <c:v>Custom Linep3yQ</c:v>
                </c:pt>
              </c:strCache>
            </c:strRef>
          </c:tx>
          <c:spPr>
            <a:ln w="19050" cap="rnd">
              <a:solidFill>
                <a:srgbClr val="C00000"/>
              </a:solidFill>
              <a:prstDash val="sysDot"/>
              <a:round/>
            </a:ln>
            <a:effectLst/>
          </c:spPr>
          <c:marker>
            <c:symbol val="none"/>
          </c:marker>
          <c:xVal>
            <c:numRef>
              <c:f>Sheet1!$A$160:$A$161</c:f>
              <c:numCache>
                <c:formatCode>General</c:formatCode>
                <c:ptCount val="2"/>
                <c:pt idx="0">
                  <c:v>0</c:v>
                </c:pt>
                <c:pt idx="1">
                  <c:v>0.27575744047645689</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3-F32D-48B7-BC20-E66FC6253BAD}"/>
            </c:ext>
          </c:extLst>
        </c:ser>
        <c:ser>
          <c:idx val="3"/>
          <c:order val="3"/>
          <c:tx>
            <c:strRef>
              <c:f>Sheet1!$B$16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0.27575744047645689</c:v>
                </c:pt>
                <c:pt idx="1">
                  <c:v>0.27575744047645689</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8:$A$169</c:f>
              <c:numCache>
                <c:formatCode>General</c:formatCode>
                <c:ptCount val="2"/>
                <c:pt idx="0">
                  <c:v>0</c:v>
                </c:pt>
                <c:pt idx="1">
                  <c:v>0.28987004975079905</c:v>
                </c:pt>
              </c:numCache>
            </c:numRef>
          </c:xVal>
          <c:yVal>
            <c:numRef>
              <c:f>Sheet1!$B$168:$B$169</c:f>
              <c:numCache>
                <c:formatCode>General</c:formatCode>
                <c:ptCount val="2"/>
                <c:pt idx="0">
                  <c:v>3.1101577984060606E-2</c:v>
                </c:pt>
                <c:pt idx="1">
                  <c:v>3.1101577984060606E-2</c:v>
                </c:pt>
              </c:numCache>
            </c:numRef>
          </c:yVal>
          <c:smooth val="0"/>
          <c:extLst>
            <c:ext xmlns:c16="http://schemas.microsoft.com/office/drawing/2014/chart" uri="{C3380CC4-5D6E-409C-BE32-E72D297353CC}">
              <c16:uniqueId val="{0000000A-F32D-48B7-BC20-E66FC6253BAD}"/>
            </c:ext>
          </c:extLst>
        </c:ser>
        <c:ser>
          <c:idx val="5"/>
          <c:order val="5"/>
          <c:tx>
            <c:strRef>
              <c:f>Sheet1!$B$17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0.28987004975079905</c:v>
                </c:pt>
                <c:pt idx="1">
                  <c:v>0.28987004975079905</c:v>
                </c:pt>
              </c:numCache>
            </c:numRef>
          </c:xVal>
          <c:yVal>
            <c:numRef>
              <c:f>Sheet1!$B$172:$B$173</c:f>
              <c:numCache>
                <c:formatCode>General</c:formatCode>
                <c:ptCount val="2"/>
                <c:pt idx="0">
                  <c:v>3.1101577984060606E-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6:$A$177</c:f>
              <c:numCache>
                <c:formatCode>General</c:formatCode>
                <c:ptCount val="2"/>
                <c:pt idx="0">
                  <c:v>0</c:v>
                </c:pt>
                <c:pt idx="1">
                  <c:v>0.32888493428125432</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1-F32D-48B7-BC20-E66FC6253BAD}"/>
            </c:ext>
          </c:extLst>
        </c:ser>
        <c:ser>
          <c:idx val="7"/>
          <c:order val="7"/>
          <c:tx>
            <c:strRef>
              <c:f>Sheet1!$B$17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0:$A$181</c:f>
              <c:numCache>
                <c:formatCode>General</c:formatCode>
                <c:ptCount val="2"/>
                <c:pt idx="0">
                  <c:v>0.32888493428125432</c:v>
                </c:pt>
                <c:pt idx="1">
                  <c:v>0.32888493428125432</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4:$A$238</c:f>
              <c:numCache>
                <c:formatCode>General</c:formatCode>
                <c:ptCount val="55"/>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pt idx="52">
                  <c:v>0.28987004975079905</c:v>
                </c:pt>
                <c:pt idx="53">
                  <c:v>0.27575744047645689</c:v>
                </c:pt>
                <c:pt idx="54">
                  <c:v>0.32888493428125432</c:v>
                </c:pt>
              </c:numCache>
            </c:numRef>
          </c:xVal>
          <c:yVal>
            <c:numRef>
              <c:f>Sheet1!$B$184:$B$238</c:f>
              <c:numCache>
                <c:formatCode>General</c:formatCode>
                <c:ptCount val="55"/>
                <c:pt idx="0">
                  <c:v>2.9413873016704839E-2</c:v>
                </c:pt>
                <c:pt idx="1">
                  <c:v>2.9896344890080709E-2</c:v>
                </c:pt>
                <c:pt idx="2">
                  <c:v>3.0155656486461964E-2</c:v>
                </c:pt>
                <c:pt idx="3">
                  <c:v>2.7109900331363727E-2</c:v>
                </c:pt>
                <c:pt idx="4">
                  <c:v>2.4371775225560388E-2</c:v>
                </c:pt>
                <c:pt idx="5">
                  <c:v>2.4094268404047922E-2</c:v>
                </c:pt>
                <c:pt idx="6">
                  <c:v>2.4322183284519114E-2</c:v>
                </c:pt>
                <c:pt idx="7">
                  <c:v>2.5263903460272262E-2</c:v>
                </c:pt>
                <c:pt idx="8">
                  <c:v>2.7533717749061021E-2</c:v>
                </c:pt>
                <c:pt idx="9">
                  <c:v>2.9136059572005948E-2</c:v>
                </c:pt>
                <c:pt idx="10">
                  <c:v>2.8439725189245424E-2</c:v>
                </c:pt>
                <c:pt idx="11">
                  <c:v>2.8481575446516888E-2</c:v>
                </c:pt>
                <c:pt idx="12">
                  <c:v>3.0108594349578348E-2</c:v>
                </c:pt>
                <c:pt idx="13">
                  <c:v>3.169054387055209E-2</c:v>
                </c:pt>
                <c:pt idx="14">
                  <c:v>3.1465934595702259E-2</c:v>
                </c:pt>
                <c:pt idx="15">
                  <c:v>3.1477667841337743E-2</c:v>
                </c:pt>
                <c:pt idx="16">
                  <c:v>3.1573121681829512E-2</c:v>
                </c:pt>
                <c:pt idx="17">
                  <c:v>3.1532924296196564E-2</c:v>
                </c:pt>
                <c:pt idx="18">
                  <c:v>3.0515660900336583E-2</c:v>
                </c:pt>
                <c:pt idx="19">
                  <c:v>3.0211789143868836E-2</c:v>
                </c:pt>
                <c:pt idx="20">
                  <c:v>2.8955614795748236E-2</c:v>
                </c:pt>
                <c:pt idx="21">
                  <c:v>3.2772131418724967E-2</c:v>
                </c:pt>
                <c:pt idx="22">
                  <c:v>3.3542665870490845E-2</c:v>
                </c:pt>
                <c:pt idx="23">
                  <c:v>3.3435184307609174E-2</c:v>
                </c:pt>
                <c:pt idx="24">
                  <c:v>3.268271460365052E-2</c:v>
                </c:pt>
                <c:pt idx="25">
                  <c:v>3.3870059534782497E-2</c:v>
                </c:pt>
                <c:pt idx="26">
                  <c:v>3.3073079926514877E-2</c:v>
                </c:pt>
                <c:pt idx="27">
                  <c:v>3.1808643842456727E-2</c:v>
                </c:pt>
                <c:pt idx="28">
                  <c:v>3.0502176751221188E-2</c:v>
                </c:pt>
                <c:pt idx="29">
                  <c:v>2.7906678470255915E-2</c:v>
                </c:pt>
                <c:pt idx="30">
                  <c:v>2.5033266393526828E-2</c:v>
                </c:pt>
                <c:pt idx="31">
                  <c:v>2.630903103630991E-2</c:v>
                </c:pt>
                <c:pt idx="32">
                  <c:v>2.8693045313762239E-2</c:v>
                </c:pt>
                <c:pt idx="33">
                  <c:v>3.2596808075387743E-2</c:v>
                </c:pt>
                <c:pt idx="34">
                  <c:v>3.3462836223474769E-2</c:v>
                </c:pt>
                <c:pt idx="35">
                  <c:v>3.1780988069129081E-2</c:v>
                </c:pt>
                <c:pt idx="36">
                  <c:v>3.2997078119396075E-2</c:v>
                </c:pt>
                <c:pt idx="37">
                  <c:v>3.4241810296995578E-2</c:v>
                </c:pt>
                <c:pt idx="38">
                  <c:v>3.5259393566231922E-2</c:v>
                </c:pt>
                <c:pt idx="39">
                  <c:v>3.2524924643797831E-2</c:v>
                </c:pt>
                <c:pt idx="40">
                  <c:v>2.8308242375685959E-2</c:v>
                </c:pt>
                <c:pt idx="41">
                  <c:v>2.54404048951909E-2</c:v>
                </c:pt>
                <c:pt idx="42">
                  <c:v>2.3287513921568817E-2</c:v>
                </c:pt>
                <c:pt idx="43">
                  <c:v>2.3365554652546534E-2</c:v>
                </c:pt>
                <c:pt idx="44">
                  <c:v>2.3054756675168077E-2</c:v>
                </c:pt>
                <c:pt idx="45">
                  <c:v>2.3566114628330095E-2</c:v>
                </c:pt>
                <c:pt idx="46">
                  <c:v>2.5888630394799238E-2</c:v>
                </c:pt>
                <c:pt idx="47">
                  <c:v>2.6265547596405793E-2</c:v>
                </c:pt>
                <c:pt idx="48">
                  <c:v>2.7412822111043234E-2</c:v>
                </c:pt>
                <c:pt idx="49">
                  <c:v>2.5962622488181153E-2</c:v>
                </c:pt>
                <c:pt idx="50">
                  <c:v>2.4525712064247307E-2</c:v>
                </c:pt>
                <c:pt idx="51">
                  <c:v>2.4473274634488791E-2</c:v>
                </c:pt>
                <c:pt idx="52">
                  <c:v>3.1101577984060602E-2</c:v>
                </c:pt>
                <c:pt idx="53">
                  <c:v>3.3390590546211449E-2</c:v>
                </c:pt>
                <c:pt idx="54">
                  <c:v>2.4773509299877497E-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40737801608579088"/>
          <c:min val="0.18705920295984374"/>
        </c:scaling>
        <c:delete val="0"/>
        <c:axPos val="b"/>
        <c:title>
          <c:tx>
            <c:rich>
              <a:bodyPr rot="0" spcFirstLastPara="1" vertOverflow="ellipsis" vert="horz" wrap="square" anchor="ctr" anchorCtr="1"/>
              <a:lstStyle/>
              <a:p>
                <a:pPr>
                  <a:defRPr sz="800" b="0">
                    <a:latin typeface="Nexa Bold"/>
                  </a:defRPr>
                </a:pPr>
                <a:r>
                  <a:rPr lang="en-US"/>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1291069944164441</c:v>
                </c:pt>
                <c:pt idx="1">
                  <c:v>0.13485892486555889</c:v>
                </c:pt>
                <c:pt idx="2">
                  <c:v>0.13361697278764331</c:v>
                </c:pt>
                <c:pt idx="3">
                  <c:v>0.13181455947245191</c:v>
                </c:pt>
                <c:pt idx="4">
                  <c:v>0.13079849733141291</c:v>
                </c:pt>
                <c:pt idx="5">
                  <c:v>0.12786527339341361</c:v>
                </c:pt>
                <c:pt idx="6">
                  <c:v>0.13389772495720559</c:v>
                </c:pt>
                <c:pt idx="7">
                  <c:v>0.1359519354250221</c:v>
                </c:pt>
                <c:pt idx="8">
                  <c:v>0.13408395448492219</c:v>
                </c:pt>
                <c:pt idx="9">
                  <c:v>0.1272173036352085</c:v>
                </c:pt>
                <c:pt idx="10">
                  <c:v>0.12580154817273331</c:v>
                </c:pt>
                <c:pt idx="11">
                  <c:v>0.1247833670603628</c:v>
                </c:pt>
                <c:pt idx="12">
                  <c:v>0.12616612542700109</c:v>
                </c:pt>
                <c:pt idx="13">
                  <c:v>0.13426073846412021</c:v>
                </c:pt>
                <c:pt idx="14">
                  <c:v>0.13040345544745011</c:v>
                </c:pt>
                <c:pt idx="15">
                  <c:v>0.12568196098787579</c:v>
                </c:pt>
                <c:pt idx="16">
                  <c:v>0.1284543866213313</c:v>
                </c:pt>
                <c:pt idx="17">
                  <c:v>0.13252000199740169</c:v>
                </c:pt>
                <c:pt idx="18">
                  <c:v>0.12612196270786419</c:v>
                </c:pt>
                <c:pt idx="19">
                  <c:v>0.13496886950214251</c:v>
                </c:pt>
                <c:pt idx="20">
                  <c:v>0.13064933940560819</c:v>
                </c:pt>
                <c:pt idx="21">
                  <c:v>0.12635635491031241</c:v>
                </c:pt>
                <c:pt idx="22">
                  <c:v>0.12863609693980929</c:v>
                </c:pt>
                <c:pt idx="23">
                  <c:v>0.13116494310893009</c:v>
                </c:pt>
                <c:pt idx="24">
                  <c:v>0.1278058186678292</c:v>
                </c:pt>
                <c:pt idx="25">
                  <c:v>0.1235932293079324</c:v>
                </c:pt>
                <c:pt idx="26">
                  <c:v>0.12290934252239009</c:v>
                </c:pt>
                <c:pt idx="27">
                  <c:v>0.12109503765009599</c:v>
                </c:pt>
                <c:pt idx="28">
                  <c:v>0.12207135397276341</c:v>
                </c:pt>
                <c:pt idx="29">
                  <c:v>0.1263122981136704</c:v>
                </c:pt>
                <c:pt idx="30">
                  <c:v>0.1263263635992006</c:v>
                </c:pt>
                <c:pt idx="31">
                  <c:v>0.12476889875077329</c:v>
                </c:pt>
                <c:pt idx="32">
                  <c:v>0.12674353123399981</c:v>
                </c:pt>
                <c:pt idx="33">
                  <c:v>0.12588695742723971</c:v>
                </c:pt>
                <c:pt idx="34">
                  <c:v>0.12390000002667199</c:v>
                </c:pt>
                <c:pt idx="35">
                  <c:v>0.12440850519118039</c:v>
                </c:pt>
                <c:pt idx="36">
                  <c:v>0.12336288941275771</c:v>
                </c:pt>
                <c:pt idx="37">
                  <c:v>0.1236579395008299</c:v>
                </c:pt>
                <c:pt idx="38">
                  <c:v>0.1244360084590832</c:v>
                </c:pt>
                <c:pt idx="39">
                  <c:v>0.12224083915887329</c:v>
                </c:pt>
                <c:pt idx="40">
                  <c:v>0.1219327444047168</c:v>
                </c:pt>
                <c:pt idx="41">
                  <c:v>0.1250560323566518</c:v>
                </c:pt>
                <c:pt idx="42">
                  <c:v>0.12745512740440279</c:v>
                </c:pt>
                <c:pt idx="43">
                  <c:v>0.1211984894858895</c:v>
                </c:pt>
                <c:pt idx="44">
                  <c:v>0.1258670226690102</c:v>
                </c:pt>
                <c:pt idx="45">
                  <c:v>0.1272339848348821</c:v>
                </c:pt>
                <c:pt idx="46">
                  <c:v>0.13490346412193621</c:v>
                </c:pt>
                <c:pt idx="47">
                  <c:v>0.1232399985423943</c:v>
                </c:pt>
                <c:pt idx="48">
                  <c:v>0.12311641114157899</c:v>
                </c:pt>
                <c:pt idx="49">
                  <c:v>0.1234350759255986</c:v>
                </c:pt>
                <c:pt idx="50">
                  <c:v>0.12419744604278141</c:v>
                </c:pt>
                <c:pt idx="51">
                  <c:v>0.13145508336915421</c:v>
                </c:pt>
                <c:pt idx="52">
                  <c:v>0.13109930113357529</c:v>
                </c:pt>
                <c:pt idx="53">
                  <c:v>0.13568928560863899</c:v>
                </c:pt>
                <c:pt idx="54">
                  <c:v>0.1285210371531505</c:v>
                </c:pt>
                <c:pt idx="55">
                  <c:v>0.1300753516373136</c:v>
                </c:pt>
                <c:pt idx="56">
                  <c:v>0.12489749950473671</c:v>
                </c:pt>
                <c:pt idx="57">
                  <c:v>0.10266521645136149</c:v>
                </c:pt>
                <c:pt idx="58">
                  <c:v>9.4621929093130358E-2</c:v>
                </c:pt>
                <c:pt idx="59">
                  <c:v>9.8212612965823731E-2</c:v>
                </c:pt>
                <c:pt idx="60">
                  <c:v>0.1102654339127445</c:v>
                </c:pt>
                <c:pt idx="61">
                  <c:v>0.1086326326560431</c:v>
                </c:pt>
                <c:pt idx="62">
                  <c:v>0.10273100071317991</c:v>
                </c:pt>
                <c:pt idx="63">
                  <c:v>0.1056131313298932</c:v>
                </c:pt>
                <c:pt idx="64">
                  <c:v>0.116037952360732</c:v>
                </c:pt>
                <c:pt idx="65">
                  <c:v>0.13065683342069531</c:v>
                </c:pt>
                <c:pt idx="66">
                  <c:v>0.132712182958446</c:v>
                </c:pt>
                <c:pt idx="67">
                  <c:v>0.12498087731066</c:v>
                </c:pt>
                <c:pt idx="68">
                  <c:v>0.1318623648264734</c:v>
                </c:pt>
                <c:pt idx="69">
                  <c:v>0.13405085209231629</c:v>
                </c:pt>
                <c:pt idx="70">
                  <c:v>0.12663942767242409</c:v>
                </c:pt>
                <c:pt idx="71">
                  <c:v>0.13715997078444109</c:v>
                </c:pt>
                <c:pt idx="72">
                  <c:v>0.1312699287114284</c:v>
                </c:pt>
                <c:pt idx="73">
                  <c:v>0.1290474255800157</c:v>
                </c:pt>
                <c:pt idx="74">
                  <c:v>0.12976627424972709</c:v>
                </c:pt>
                <c:pt idx="75">
                  <c:v>0.12686829869724861</c:v>
                </c:pt>
                <c:pt idx="76">
                  <c:v>0.1253623579280761</c:v>
                </c:pt>
                <c:pt idx="77">
                  <c:v>0.12968156222074531</c:v>
                </c:pt>
                <c:pt idx="78">
                  <c:v>0.12750329032649099</c:v>
                </c:pt>
                <c:pt idx="79">
                  <c:v>0.12461050546445129</c:v>
                </c:pt>
                <c:pt idx="80">
                  <c:v>0.12900335189603049</c:v>
                </c:pt>
                <c:pt idx="81">
                  <c:v>0.12741746962889991</c:v>
                </c:pt>
                <c:pt idx="82">
                  <c:v>0.1227246355993528</c:v>
                </c:pt>
                <c:pt idx="83">
                  <c:v>0.12325497363003669</c:v>
                </c:pt>
                <c:pt idx="84">
                  <c:v>0.1237777050026681</c:v>
                </c:pt>
                <c:pt idx="85">
                  <c:v>0.1227618684932686</c:v>
                </c:pt>
                <c:pt idx="86">
                  <c:v>0.12625273778634091</c:v>
                </c:pt>
                <c:pt idx="87">
                  <c:v>0.12848401925218161</c:v>
                </c:pt>
                <c:pt idx="88">
                  <c:v>0.12808991008793849</c:v>
                </c:pt>
                <c:pt idx="89">
                  <c:v>0.12669599383578639</c:v>
                </c:pt>
                <c:pt idx="90">
                  <c:v>0.128457244567205</c:v>
                </c:pt>
                <c:pt idx="91">
                  <c:v>0.1287495738807907</c:v>
                </c:pt>
                <c:pt idx="92">
                  <c:v>0.12753778198649329</c:v>
                </c:pt>
                <c:pt idx="93">
                  <c:v>0.12858384689357691</c:v>
                </c:pt>
                <c:pt idx="94">
                  <c:v>0.13053873342212541</c:v>
                </c:pt>
                <c:pt idx="95">
                  <c:v>0.1283681251237693</c:v>
                </c:pt>
                <c:pt idx="96">
                  <c:v>0.12712219330013799</c:v>
                </c:pt>
                <c:pt idx="97">
                  <c:v>0.12537888942730019</c:v>
                </c:pt>
                <c:pt idx="98">
                  <c:v>0.12745921704595151</c:v>
                </c:pt>
                <c:pt idx="99">
                  <c:v>0.1212266665697815</c:v>
                </c:pt>
                <c:pt idx="100">
                  <c:v>0.1141728668578047</c:v>
                </c:pt>
                <c:pt idx="101">
                  <c:v>0.115957494325048</c:v>
                </c:pt>
              </c:numCache>
            </c:numRef>
          </c:xVal>
          <c:yVal>
            <c:numRef>
              <c:f>Sheet1!$B$2:$B$103</c:f>
              <c:numCache>
                <c:formatCode>General</c:formatCode>
                <c:ptCount val="102"/>
                <c:pt idx="0">
                  <c:v>3.1549194168607013E-2</c:v>
                </c:pt>
                <c:pt idx="1">
                  <c:v>2.5925076493376501E-2</c:v>
                </c:pt>
                <c:pt idx="2">
                  <c:v>1.9457371147598559E-2</c:v>
                </c:pt>
                <c:pt idx="3">
                  <c:v>2.1005226955186751E-2</c:v>
                </c:pt>
                <c:pt idx="4">
                  <c:v>2.3683174888924512E-2</c:v>
                </c:pt>
                <c:pt idx="5">
                  <c:v>2.481491169212223E-2</c:v>
                </c:pt>
                <c:pt idx="6">
                  <c:v>2.2966901329024649E-2</c:v>
                </c:pt>
                <c:pt idx="7">
                  <c:v>2.1693356757167159E-2</c:v>
                </c:pt>
                <c:pt idx="8">
                  <c:v>2.508474647577718E-2</c:v>
                </c:pt>
                <c:pt idx="9">
                  <c:v>3.2219360006132687E-2</c:v>
                </c:pt>
                <c:pt idx="10">
                  <c:v>3.3455366889535383E-2</c:v>
                </c:pt>
                <c:pt idx="11">
                  <c:v>3.077420503855852E-2</c:v>
                </c:pt>
                <c:pt idx="12">
                  <c:v>3.166311843777065E-2</c:v>
                </c:pt>
                <c:pt idx="13">
                  <c:v>2.9573633835338661E-2</c:v>
                </c:pt>
                <c:pt idx="14">
                  <c:v>2.943829474961886E-2</c:v>
                </c:pt>
                <c:pt idx="15">
                  <c:v>3.2326555355538883E-2</c:v>
                </c:pt>
                <c:pt idx="16">
                  <c:v>3.045418321235838E-2</c:v>
                </c:pt>
                <c:pt idx="17">
                  <c:v>3.0177244147381321E-2</c:v>
                </c:pt>
                <c:pt idx="18">
                  <c:v>3.0949579617420529E-2</c:v>
                </c:pt>
                <c:pt idx="19">
                  <c:v>3.3044676701229417E-2</c:v>
                </c:pt>
                <c:pt idx="20">
                  <c:v>3.4502368865567047E-2</c:v>
                </c:pt>
                <c:pt idx="21">
                  <c:v>3.8171203781773647E-2</c:v>
                </c:pt>
                <c:pt idx="22">
                  <c:v>3.2633840746857157E-2</c:v>
                </c:pt>
                <c:pt idx="23">
                  <c:v>3.22851825867847E-2</c:v>
                </c:pt>
                <c:pt idx="24">
                  <c:v>3.4293774474369272E-2</c:v>
                </c:pt>
                <c:pt idx="25">
                  <c:v>3.3493331489235549E-2</c:v>
                </c:pt>
                <c:pt idx="26">
                  <c:v>3.2256296982208908E-2</c:v>
                </c:pt>
                <c:pt idx="27">
                  <c:v>3.256327154323236E-2</c:v>
                </c:pt>
                <c:pt idx="28">
                  <c:v>3.0215972855570969E-2</c:v>
                </c:pt>
                <c:pt idx="29">
                  <c:v>2.971323515475446E-2</c:v>
                </c:pt>
                <c:pt idx="30">
                  <c:v>2.9886044202056931E-2</c:v>
                </c:pt>
                <c:pt idx="31">
                  <c:v>3.0113049153545669E-2</c:v>
                </c:pt>
                <c:pt idx="32">
                  <c:v>3.0121682992946059E-2</c:v>
                </c:pt>
                <c:pt idx="33">
                  <c:v>2.8704102443482309E-2</c:v>
                </c:pt>
                <c:pt idx="34">
                  <c:v>3.0602403901330309E-2</c:v>
                </c:pt>
                <c:pt idx="35">
                  <c:v>3.1456536502498793E-2</c:v>
                </c:pt>
                <c:pt idx="36">
                  <c:v>3.1516667937295108E-2</c:v>
                </c:pt>
                <c:pt idx="37">
                  <c:v>3.3226585884057157E-2</c:v>
                </c:pt>
                <c:pt idx="38">
                  <c:v>3.3016326225624587E-2</c:v>
                </c:pt>
                <c:pt idx="39">
                  <c:v>3.0075909553288729E-2</c:v>
                </c:pt>
                <c:pt idx="40">
                  <c:v>3.030822714314705E-2</c:v>
                </c:pt>
                <c:pt idx="41">
                  <c:v>3.1273537834975489E-2</c:v>
                </c:pt>
                <c:pt idx="42">
                  <c:v>3.005901690014778E-2</c:v>
                </c:pt>
                <c:pt idx="43">
                  <c:v>3.0573863083611631E-2</c:v>
                </c:pt>
                <c:pt idx="44">
                  <c:v>3.254448153409624E-2</c:v>
                </c:pt>
                <c:pt idx="45">
                  <c:v>3.2420025270644671E-2</c:v>
                </c:pt>
                <c:pt idx="46">
                  <c:v>3.0841270586476861E-2</c:v>
                </c:pt>
                <c:pt idx="47">
                  <c:v>3.4545476528939613E-2</c:v>
                </c:pt>
                <c:pt idx="48">
                  <c:v>3.9378011399146942E-2</c:v>
                </c:pt>
                <c:pt idx="49">
                  <c:v>3.4585845792310457E-2</c:v>
                </c:pt>
                <c:pt idx="50">
                  <c:v>3.6889295123608737E-2</c:v>
                </c:pt>
                <c:pt idx="51">
                  <c:v>3.516974061970235E-2</c:v>
                </c:pt>
                <c:pt idx="52">
                  <c:v>3.3440411726256947E-2</c:v>
                </c:pt>
                <c:pt idx="53">
                  <c:v>3.0775515895011849E-2</c:v>
                </c:pt>
                <c:pt idx="54">
                  <c:v>2.856172806220978E-2</c:v>
                </c:pt>
                <c:pt idx="55">
                  <c:v>2.9260191711765832E-2</c:v>
                </c:pt>
                <c:pt idx="56">
                  <c:v>3.1178692703543051E-2</c:v>
                </c:pt>
                <c:pt idx="57">
                  <c:v>3.7031471681131703E-2</c:v>
                </c:pt>
                <c:pt idx="58">
                  <c:v>3.9909501581123753E-2</c:v>
                </c:pt>
                <c:pt idx="59">
                  <c:v>3.3090443177845791E-2</c:v>
                </c:pt>
                <c:pt idx="60">
                  <c:v>2.0429936026239701E-2</c:v>
                </c:pt>
                <c:pt idx="61">
                  <c:v>1.594233918003489E-2</c:v>
                </c:pt>
                <c:pt idx="62">
                  <c:v>2.6561543645322629E-2</c:v>
                </c:pt>
                <c:pt idx="63">
                  <c:v>3.5068893654044378E-2</c:v>
                </c:pt>
                <c:pt idx="64">
                  <c:v>3.0967228847484721E-2</c:v>
                </c:pt>
                <c:pt idx="65">
                  <c:v>2.602705616299417E-2</c:v>
                </c:pt>
                <c:pt idx="66">
                  <c:v>2.587150374122359E-2</c:v>
                </c:pt>
                <c:pt idx="67">
                  <c:v>2.691260699372984E-2</c:v>
                </c:pt>
                <c:pt idx="68">
                  <c:v>2.5874418970458959E-2</c:v>
                </c:pt>
                <c:pt idx="69">
                  <c:v>2.3193315376484971E-2</c:v>
                </c:pt>
                <c:pt idx="70">
                  <c:v>2.2686657383630061E-2</c:v>
                </c:pt>
                <c:pt idx="71">
                  <c:v>2.6189284143623481E-2</c:v>
                </c:pt>
                <c:pt idx="72">
                  <c:v>2.7336338114147821E-2</c:v>
                </c:pt>
                <c:pt idx="73">
                  <c:v>2.7740990571672709E-2</c:v>
                </c:pt>
                <c:pt idx="74">
                  <c:v>2.877527311984417E-2</c:v>
                </c:pt>
                <c:pt idx="75">
                  <c:v>2.8510329318482429E-2</c:v>
                </c:pt>
                <c:pt idx="76">
                  <c:v>2.7909474603405621E-2</c:v>
                </c:pt>
                <c:pt idx="77">
                  <c:v>2.354699792786898E-2</c:v>
                </c:pt>
                <c:pt idx="78">
                  <c:v>2.3516397046911521E-2</c:v>
                </c:pt>
                <c:pt idx="79">
                  <c:v>2.2115174941799771E-2</c:v>
                </c:pt>
                <c:pt idx="80">
                  <c:v>2.2268202762568419E-2</c:v>
                </c:pt>
                <c:pt idx="81">
                  <c:v>2.1244426266941788E-2</c:v>
                </c:pt>
                <c:pt idx="82">
                  <c:v>3.1177386289303839E-2</c:v>
                </c:pt>
                <c:pt idx="83">
                  <c:v>2.630647686699077E-2</c:v>
                </c:pt>
                <c:pt idx="84">
                  <c:v>2.5524833007679371E-2</c:v>
                </c:pt>
                <c:pt idx="85">
                  <c:v>2.6871534411513371E-2</c:v>
                </c:pt>
                <c:pt idx="86">
                  <c:v>2.6338851413823881E-2</c:v>
                </c:pt>
                <c:pt idx="87">
                  <c:v>2.464870108961555E-2</c:v>
                </c:pt>
                <c:pt idx="88">
                  <c:v>2.6238033764437702E-2</c:v>
                </c:pt>
                <c:pt idx="89">
                  <c:v>3.0191859532939729E-2</c:v>
                </c:pt>
                <c:pt idx="90">
                  <c:v>3.071685169632082E-2</c:v>
                </c:pt>
                <c:pt idx="91">
                  <c:v>3.1790352756617277E-2</c:v>
                </c:pt>
                <c:pt idx="92">
                  <c:v>2.9789485452214989E-2</c:v>
                </c:pt>
                <c:pt idx="93">
                  <c:v>2.7419432969366012E-2</c:v>
                </c:pt>
                <c:pt idx="94">
                  <c:v>2.5375304588112151E-2</c:v>
                </c:pt>
                <c:pt idx="95">
                  <c:v>2.727143524464504E-2</c:v>
                </c:pt>
                <c:pt idx="96">
                  <c:v>2.430072520573312E-2</c:v>
                </c:pt>
                <c:pt idx="97">
                  <c:v>2.5953063658202231E-2</c:v>
                </c:pt>
                <c:pt idx="98">
                  <c:v>2.870484051773789E-2</c:v>
                </c:pt>
                <c:pt idx="99">
                  <c:v>3.0161179689259059E-2</c:v>
                </c:pt>
                <c:pt idx="100">
                  <c:v>3.7558407981539428E-2</c:v>
                </c:pt>
                <c:pt idx="101">
                  <c:v>3.5796970668813113E-2</c:v>
                </c:pt>
              </c:numCache>
            </c:numRef>
          </c:yVal>
          <c:smooth val="0"/>
          <c:extLst>
            <c:ext xmlns:c16="http://schemas.microsoft.com/office/drawing/2014/chart" uri="{C3380CC4-5D6E-409C-BE32-E72D297353CC}">
              <c16:uniqueId val="{00000000-096C-4121-9522-6AB7243CCAAE}"/>
            </c:ext>
          </c:extLst>
        </c:ser>
        <c:ser>
          <c:idx val="1"/>
          <c:order val="1"/>
          <c:tx>
            <c:strRef>
              <c:f>Sheet1!$B$10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6:$A$157</c:f>
              <c:numCache>
                <c:formatCode>General</c:formatCode>
                <c:ptCount val="52"/>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numCache>
            </c:numRef>
          </c:xVal>
          <c:yVal>
            <c:numRef>
              <c:f>Sheet1!$B$106:$B$157</c:f>
              <c:numCache>
                <c:formatCode>General</c:formatCode>
                <c:ptCount val="52"/>
                <c:pt idx="0">
                  <c:v>3.3379430772150658E-2</c:v>
                </c:pt>
                <c:pt idx="1">
                  <c:v>3.5297770608354727E-2</c:v>
                </c:pt>
                <c:pt idx="2">
                  <c:v>3.603152077608085E-2</c:v>
                </c:pt>
                <c:pt idx="3">
                  <c:v>3.0978674639028671E-2</c:v>
                </c:pt>
                <c:pt idx="4">
                  <c:v>2.8133515753956471E-2</c:v>
                </c:pt>
                <c:pt idx="5">
                  <c:v>2.7512069607189622E-2</c:v>
                </c:pt>
                <c:pt idx="6">
                  <c:v>2.753590860107619E-2</c:v>
                </c:pt>
                <c:pt idx="7">
                  <c:v>2.7306049137985969E-2</c:v>
                </c:pt>
                <c:pt idx="8">
                  <c:v>2.683860754587173E-2</c:v>
                </c:pt>
                <c:pt idx="9">
                  <c:v>2.8577136215520639E-2</c:v>
                </c:pt>
                <c:pt idx="10">
                  <c:v>2.9045708307140341E-2</c:v>
                </c:pt>
                <c:pt idx="11">
                  <c:v>3.0151694267354031E-2</c:v>
                </c:pt>
                <c:pt idx="12">
                  <c:v>3.1278274774940933E-2</c:v>
                </c:pt>
                <c:pt idx="13">
                  <c:v>3.2623144271831599E-2</c:v>
                </c:pt>
                <c:pt idx="14">
                  <c:v>3.2081452766552027E-2</c:v>
                </c:pt>
                <c:pt idx="15">
                  <c:v>2.8476513020004542E-2</c:v>
                </c:pt>
                <c:pt idx="16">
                  <c:v>2.889792926206242E-2</c:v>
                </c:pt>
                <c:pt idx="17">
                  <c:v>2.8572345272906731E-2</c:v>
                </c:pt>
                <c:pt idx="18">
                  <c:v>2.758215728763419E-2</c:v>
                </c:pt>
                <c:pt idx="19">
                  <c:v>2.6684207925807661E-2</c:v>
                </c:pt>
                <c:pt idx="20">
                  <c:v>2.507409816863837E-2</c:v>
                </c:pt>
                <c:pt idx="21">
                  <c:v>3.7053775555914388E-2</c:v>
                </c:pt>
                <c:pt idx="22">
                  <c:v>4.1201839145334811E-2</c:v>
                </c:pt>
                <c:pt idx="23">
                  <c:v>3.952108516249337E-2</c:v>
                </c:pt>
                <c:pt idx="24">
                  <c:v>3.301132678213544E-2</c:v>
                </c:pt>
                <c:pt idx="25">
                  <c:v>3.4672282379825628E-2</c:v>
                </c:pt>
                <c:pt idx="26">
                  <c:v>3.6478521099227869E-2</c:v>
                </c:pt>
                <c:pt idx="27">
                  <c:v>3.1719960612283417E-2</c:v>
                </c:pt>
                <c:pt idx="28">
                  <c:v>2.9844699099281859E-2</c:v>
                </c:pt>
                <c:pt idx="29">
                  <c:v>2.824703792935155E-2</c:v>
                </c:pt>
                <c:pt idx="30">
                  <c:v>2.3926861689124789E-2</c:v>
                </c:pt>
                <c:pt idx="31">
                  <c:v>2.077067140814904E-2</c:v>
                </c:pt>
                <c:pt idx="32">
                  <c:v>2.3460558709885782E-2</c:v>
                </c:pt>
                <c:pt idx="33">
                  <c:v>3.042796286207031E-2</c:v>
                </c:pt>
                <c:pt idx="34">
                  <c:v>3.1037706913624011E-2</c:v>
                </c:pt>
                <c:pt idx="35">
                  <c:v>2.928997264422914E-2</c:v>
                </c:pt>
                <c:pt idx="36">
                  <c:v>2.9697936908540851E-2</c:v>
                </c:pt>
                <c:pt idx="37">
                  <c:v>3.0248130900335801E-2</c:v>
                </c:pt>
                <c:pt idx="38">
                  <c:v>3.5070387750061743E-2</c:v>
                </c:pt>
                <c:pt idx="39">
                  <c:v>3.120833777020552E-2</c:v>
                </c:pt>
                <c:pt idx="40">
                  <c:v>2.682679016675503E-2</c:v>
                </c:pt>
                <c:pt idx="41">
                  <c:v>2.4203784771293649E-2</c:v>
                </c:pt>
                <c:pt idx="42">
                  <c:v>2.4098053977022381E-2</c:v>
                </c:pt>
                <c:pt idx="43">
                  <c:v>2.4523754132153151E-2</c:v>
                </c:pt>
                <c:pt idx="44">
                  <c:v>2.2379504666963371E-2</c:v>
                </c:pt>
                <c:pt idx="45">
                  <c:v>2.104065524243157E-2</c:v>
                </c:pt>
                <c:pt idx="46">
                  <c:v>2.202824012890214E-2</c:v>
                </c:pt>
                <c:pt idx="47">
                  <c:v>2.3321641522021069E-2</c:v>
                </c:pt>
                <c:pt idx="48">
                  <c:v>2.5721900660138009E-2</c:v>
                </c:pt>
                <c:pt idx="49">
                  <c:v>2.4967370312040962E-2</c:v>
                </c:pt>
                <c:pt idx="50">
                  <c:v>2.603335979145837E-2</c:v>
                </c:pt>
                <c:pt idx="51">
                  <c:v>2.5702227757022279E-2</c:v>
                </c:pt>
              </c:numCache>
            </c:numRef>
          </c:yVal>
          <c:smooth val="0"/>
          <c:extLst>
            <c:ext xmlns:c16="http://schemas.microsoft.com/office/drawing/2014/chart" uri="{C3380CC4-5D6E-409C-BE32-E72D297353CC}">
              <c16:uniqueId val="{00000002-096C-4121-9522-6AB7243CCAAE}"/>
            </c:ext>
          </c:extLst>
        </c:ser>
        <c:ser>
          <c:idx val="2"/>
          <c:order val="2"/>
          <c:tx>
            <c:strRef>
              <c:f>Sheet1!$B$15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0:$A$161</c:f>
              <c:numCache>
                <c:formatCode>General</c:formatCode>
                <c:ptCount val="2"/>
                <c:pt idx="0">
                  <c:v>0</c:v>
                </c:pt>
                <c:pt idx="1">
                  <c:v>0.1108820277239114</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5-096C-4121-9522-6AB7243CCAAE}"/>
            </c:ext>
          </c:extLst>
        </c:ser>
        <c:ser>
          <c:idx val="3"/>
          <c:order val="3"/>
          <c:tx>
            <c:strRef>
              <c:f>Sheet1!$B$16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0.1108820277239114</c:v>
                </c:pt>
                <c:pt idx="1">
                  <c:v>0.1108820277239114</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8:$A$169</c:f>
              <c:numCache>
                <c:formatCode>General</c:formatCode>
                <c:ptCount val="2"/>
                <c:pt idx="0">
                  <c:v>0</c:v>
                </c:pt>
                <c:pt idx="1">
                  <c:v>0.11732114474802791</c:v>
                </c:pt>
              </c:numCache>
            </c:numRef>
          </c:xVal>
          <c:yVal>
            <c:numRef>
              <c:f>Sheet1!$B$168:$B$169</c:f>
              <c:numCache>
                <c:formatCode>General</c:formatCode>
                <c:ptCount val="2"/>
                <c:pt idx="0">
                  <c:v>3.1101577984060609E-2</c:v>
                </c:pt>
                <c:pt idx="1">
                  <c:v>3.1101577984060609E-2</c:v>
                </c:pt>
              </c:numCache>
            </c:numRef>
          </c:yVal>
          <c:smooth val="0"/>
          <c:extLst>
            <c:ext xmlns:c16="http://schemas.microsoft.com/office/drawing/2014/chart" uri="{C3380CC4-5D6E-409C-BE32-E72D297353CC}">
              <c16:uniqueId val="{0000000D-096C-4121-9522-6AB7243CCAAE}"/>
            </c:ext>
          </c:extLst>
        </c:ser>
        <c:ser>
          <c:idx val="5"/>
          <c:order val="5"/>
          <c:tx>
            <c:strRef>
              <c:f>Sheet1!$B$17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0.11732114474802791</c:v>
                </c:pt>
                <c:pt idx="1">
                  <c:v>0.11732114474802791</c:v>
                </c:pt>
              </c:numCache>
            </c:numRef>
          </c:xVal>
          <c:yVal>
            <c:numRef>
              <c:f>Sheet1!$B$172:$B$173</c:f>
              <c:numCache>
                <c:formatCode>General</c:formatCode>
                <c:ptCount val="2"/>
                <c:pt idx="0">
                  <c:v>3.1101577984060609E-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6:$A$177</c:f>
              <c:numCache>
                <c:formatCode>General</c:formatCode>
                <c:ptCount val="2"/>
                <c:pt idx="0">
                  <c:v>0</c:v>
                </c:pt>
                <c:pt idx="1">
                  <c:v>0.13512234665834599</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5-096C-4121-9522-6AB7243CCAAE}"/>
            </c:ext>
          </c:extLst>
        </c:ser>
        <c:ser>
          <c:idx val="7"/>
          <c:order val="7"/>
          <c:tx>
            <c:strRef>
              <c:f>Sheet1!$B$17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0:$A$181</c:f>
              <c:numCache>
                <c:formatCode>General</c:formatCode>
                <c:ptCount val="2"/>
                <c:pt idx="0">
                  <c:v>0.13512234665834599</c:v>
                </c:pt>
                <c:pt idx="1">
                  <c:v>0.13512234665834599</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4:$A$238</c:f>
              <c:numCache>
                <c:formatCode>General</c:formatCode>
                <c:ptCount val="55"/>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pt idx="52">
                  <c:v>0.11732114474802791</c:v>
                </c:pt>
                <c:pt idx="53">
                  <c:v>0.1108820277239114</c:v>
                </c:pt>
                <c:pt idx="54">
                  <c:v>0.13512234665834599</c:v>
                </c:pt>
              </c:numCache>
            </c:numRef>
          </c:xVal>
          <c:yVal>
            <c:numRef>
              <c:f>Sheet1!$B$184:$B$238</c:f>
              <c:numCache>
                <c:formatCode>General</c:formatCode>
                <c:ptCount val="55"/>
                <c:pt idx="0">
                  <c:v>3.1620668745252142E-2</c:v>
                </c:pt>
                <c:pt idx="1">
                  <c:v>3.1654790245678951E-2</c:v>
                </c:pt>
                <c:pt idx="2">
                  <c:v>3.2783325344754151E-2</c:v>
                </c:pt>
                <c:pt idx="3">
                  <c:v>3.022688607526958E-2</c:v>
                </c:pt>
                <c:pt idx="4">
                  <c:v>2.8540776744242852E-2</c:v>
                </c:pt>
                <c:pt idx="5">
                  <c:v>2.8198639317480349E-2</c:v>
                </c:pt>
                <c:pt idx="6">
                  <c:v>2.8149354774764782E-2</c:v>
                </c:pt>
                <c:pt idx="7">
                  <c:v>2.8199004366077019E-2</c:v>
                </c:pt>
                <c:pt idx="8">
                  <c:v>3.0157282303857849E-2</c:v>
                </c:pt>
                <c:pt idx="9">
                  <c:v>2.9717490317624731E-2</c:v>
                </c:pt>
                <c:pt idx="10">
                  <c:v>2.880162617160174E-2</c:v>
                </c:pt>
                <c:pt idx="11">
                  <c:v>3.0799476543192809E-2</c:v>
                </c:pt>
                <c:pt idx="12">
                  <c:v>2.8080121278043681E-2</c:v>
                </c:pt>
                <c:pt idx="13">
                  <c:v>2.8247092051713919E-2</c:v>
                </c:pt>
                <c:pt idx="14">
                  <c:v>2.639540124703324E-2</c:v>
                </c:pt>
                <c:pt idx="15">
                  <c:v>1.9220157910636009E-2</c:v>
                </c:pt>
                <c:pt idx="16">
                  <c:v>2.9292926757015069E-2</c:v>
                </c:pt>
                <c:pt idx="17">
                  <c:v>2.9541107656935999E-2</c:v>
                </c:pt>
                <c:pt idx="18">
                  <c:v>3.1154431279754719E-2</c:v>
                </c:pt>
                <c:pt idx="19">
                  <c:v>2.9461129531890291E-2</c:v>
                </c:pt>
                <c:pt idx="20">
                  <c:v>3.0313783713891131E-2</c:v>
                </c:pt>
                <c:pt idx="21">
                  <c:v>3.3508822667282862E-2</c:v>
                </c:pt>
                <c:pt idx="22">
                  <c:v>3.4739165058279807E-2</c:v>
                </c:pt>
                <c:pt idx="23">
                  <c:v>3.3561500120319547E-2</c:v>
                </c:pt>
                <c:pt idx="24">
                  <c:v>3.0961282548418428E-2</c:v>
                </c:pt>
                <c:pt idx="25">
                  <c:v>3.325613118609181E-2</c:v>
                </c:pt>
                <c:pt idx="26">
                  <c:v>3.230935798656305E-2</c:v>
                </c:pt>
                <c:pt idx="27">
                  <c:v>3.0186042242885399E-2</c:v>
                </c:pt>
                <c:pt idx="28">
                  <c:v>2.9826699740302571E-2</c:v>
                </c:pt>
                <c:pt idx="29">
                  <c:v>2.8461825588360749E-2</c:v>
                </c:pt>
                <c:pt idx="30">
                  <c:v>2.6667445839888119E-2</c:v>
                </c:pt>
                <c:pt idx="31">
                  <c:v>2.9333797528733729E-2</c:v>
                </c:pt>
                <c:pt idx="32">
                  <c:v>2.8469462201818171E-2</c:v>
                </c:pt>
                <c:pt idx="33">
                  <c:v>3.1278574864500211E-2</c:v>
                </c:pt>
                <c:pt idx="34">
                  <c:v>3.362517184260494E-2</c:v>
                </c:pt>
                <c:pt idx="35">
                  <c:v>3.1259339751075838E-2</c:v>
                </c:pt>
                <c:pt idx="36">
                  <c:v>3.2466678789921898E-2</c:v>
                </c:pt>
                <c:pt idx="37">
                  <c:v>3.336561461501103E-2</c:v>
                </c:pt>
                <c:pt idx="38">
                  <c:v>3.1897061212580187E-2</c:v>
                </c:pt>
                <c:pt idx="39">
                  <c:v>3.0591232179052279E-2</c:v>
                </c:pt>
                <c:pt idx="40">
                  <c:v>2.6490890509876141E-2</c:v>
                </c:pt>
                <c:pt idx="41">
                  <c:v>2.5005655171483909E-2</c:v>
                </c:pt>
                <c:pt idx="42">
                  <c:v>2.471524594195228E-2</c:v>
                </c:pt>
                <c:pt idx="43">
                  <c:v>2.5740688254943609E-2</c:v>
                </c:pt>
                <c:pt idx="44">
                  <c:v>2.534241769031121E-2</c:v>
                </c:pt>
                <c:pt idx="45">
                  <c:v>2.5785004878787769E-2</c:v>
                </c:pt>
                <c:pt idx="46">
                  <c:v>2.6712805427711591E-2</c:v>
                </c:pt>
                <c:pt idx="47">
                  <c:v>2.6016063432124481E-2</c:v>
                </c:pt>
                <c:pt idx="48">
                  <c:v>2.645901837190287E-2</c:v>
                </c:pt>
                <c:pt idx="49">
                  <c:v>2.253097533810856E-2</c:v>
                </c:pt>
                <c:pt idx="50">
                  <c:v>2.3407974477709061E-2</c:v>
                </c:pt>
                <c:pt idx="51">
                  <c:v>2.5267129597052979E-2</c:v>
                </c:pt>
                <c:pt idx="52">
                  <c:v>3.1101577984060599E-2</c:v>
                </c:pt>
                <c:pt idx="53">
                  <c:v>3.3390590546211449E-2</c:v>
                </c:pt>
                <c:pt idx="54">
                  <c:v>2.47735092998775E-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18089307194123574"/>
          <c:min val="7.5697543274504286E-2"/>
        </c:scaling>
        <c:delete val="0"/>
        <c:axPos val="b"/>
        <c:title>
          <c:tx>
            <c:rich>
              <a:bodyPr rot="0" spcFirstLastPara="1" vertOverflow="ellipsis" vert="horz" wrap="square" anchor="ctr" anchorCtr="1"/>
              <a:lstStyle/>
              <a:p>
                <a:pPr>
                  <a:defRPr sz="800" b="0">
                    <a:solidFill>
                      <a:srgbClr val="575555"/>
                    </a:solidFill>
                    <a:latin typeface="Nexa Bold"/>
                  </a:defRPr>
                </a:pPr>
                <a:r>
                  <a:rPr lang="en-US"/>
                  <a:t>Price Ix vs. Gillette Fusion5</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3084051742229012</c:v>
                </c:pt>
                <c:pt idx="1">
                  <c:v>0.31591786351078627</c:v>
                </c:pt>
                <c:pt idx="2">
                  <c:v>0.32058023334902946</c:v>
                </c:pt>
                <c:pt idx="3">
                  <c:v>0.31551466024025998</c:v>
                </c:pt>
                <c:pt idx="4">
                  <c:v>0.31248983133575575</c:v>
                </c:pt>
                <c:pt idx="5">
                  <c:v>0.31209899175068745</c:v>
                </c:pt>
                <c:pt idx="6">
                  <c:v>0.31243915630070307</c:v>
                </c:pt>
                <c:pt idx="7">
                  <c:v>0.3133619793471481</c:v>
                </c:pt>
                <c:pt idx="8">
                  <c:v>0.31671907756813417</c:v>
                </c:pt>
                <c:pt idx="9">
                  <c:v>0.31082322826247477</c:v>
                </c:pt>
                <c:pt idx="10">
                  <c:v>0.31047212859141043</c:v>
                </c:pt>
                <c:pt idx="11">
                  <c:v>0.30851195946449417</c:v>
                </c:pt>
                <c:pt idx="12">
                  <c:v>0.30743476600274672</c:v>
                </c:pt>
                <c:pt idx="13">
                  <c:v>0.30557876018361524</c:v>
                </c:pt>
                <c:pt idx="14">
                  <c:v>0.30608180521683359</c:v>
                </c:pt>
                <c:pt idx="15">
                  <c:v>0.30537959003209308</c:v>
                </c:pt>
                <c:pt idx="16">
                  <c:v>0.30479028449342177</c:v>
                </c:pt>
                <c:pt idx="17">
                  <c:v>0.30535697989231286</c:v>
                </c:pt>
                <c:pt idx="18">
                  <c:v>0.30758733419811496</c:v>
                </c:pt>
                <c:pt idx="19">
                  <c:v>0.30384356418742708</c:v>
                </c:pt>
                <c:pt idx="20">
                  <c:v>0.30255871389344829</c:v>
                </c:pt>
                <c:pt idx="21">
                  <c:v>0.30131492720175512</c:v>
                </c:pt>
                <c:pt idx="22">
                  <c:v>0.30402402402402401</c:v>
                </c:pt>
                <c:pt idx="23">
                  <c:v>0.3041818228723267</c:v>
                </c:pt>
                <c:pt idx="24">
                  <c:v>0.30380595989557657</c:v>
                </c:pt>
                <c:pt idx="25">
                  <c:v>0.30266464709715091</c:v>
                </c:pt>
                <c:pt idx="26">
                  <c:v>0.30198090992432275</c:v>
                </c:pt>
                <c:pt idx="27">
                  <c:v>0.30261018186645428</c:v>
                </c:pt>
                <c:pt idx="28">
                  <c:v>0.30379475941413642</c:v>
                </c:pt>
                <c:pt idx="29">
                  <c:v>0.30510575091808745</c:v>
                </c:pt>
                <c:pt idx="30">
                  <c:v>0.30547263681592041</c:v>
                </c:pt>
                <c:pt idx="31">
                  <c:v>0.30191808942530629</c:v>
                </c:pt>
                <c:pt idx="32">
                  <c:v>0.30004016835781272</c:v>
                </c:pt>
                <c:pt idx="33">
                  <c:v>0.30140260803244229</c:v>
                </c:pt>
                <c:pt idx="34">
                  <c:v>0.30315931183998879</c:v>
                </c:pt>
                <c:pt idx="35">
                  <c:v>0.30423707530585153</c:v>
                </c:pt>
                <c:pt idx="36">
                  <c:v>0.30339368848493503</c:v>
                </c:pt>
                <c:pt idx="37">
                  <c:v>0.30312142377964563</c:v>
                </c:pt>
                <c:pt idx="38">
                  <c:v>0.30421477922015827</c:v>
                </c:pt>
                <c:pt idx="39">
                  <c:v>0.30360700245050509</c:v>
                </c:pt>
                <c:pt idx="40">
                  <c:v>0.30482776067799466</c:v>
                </c:pt>
                <c:pt idx="41">
                  <c:v>0.30496561046396053</c:v>
                </c:pt>
                <c:pt idx="42">
                  <c:v>0.30474260101509459</c:v>
                </c:pt>
                <c:pt idx="43">
                  <c:v>0.30487658997567685</c:v>
                </c:pt>
                <c:pt idx="44">
                  <c:v>0.30417377406912238</c:v>
                </c:pt>
                <c:pt idx="45">
                  <c:v>0.30429474182711519</c:v>
                </c:pt>
                <c:pt idx="46">
                  <c:v>0.30416987037597953</c:v>
                </c:pt>
                <c:pt idx="47">
                  <c:v>0.30177142857142858</c:v>
                </c:pt>
                <c:pt idx="48">
                  <c:v>0.30034428178139644</c:v>
                </c:pt>
                <c:pt idx="49">
                  <c:v>0.30020553910468561</c:v>
                </c:pt>
                <c:pt idx="50">
                  <c:v>0.30020393921120919</c:v>
                </c:pt>
                <c:pt idx="51">
                  <c:v>0.30029572161037082</c:v>
                </c:pt>
                <c:pt idx="52">
                  <c:v>0.30085731375024921</c:v>
                </c:pt>
                <c:pt idx="53">
                  <c:v>0.30374794069192751</c:v>
                </c:pt>
                <c:pt idx="54">
                  <c:v>0.30475569923731716</c:v>
                </c:pt>
                <c:pt idx="55">
                  <c:v>0.30484411191281596</c:v>
                </c:pt>
                <c:pt idx="56">
                  <c:v>0.29666067320451317</c:v>
                </c:pt>
                <c:pt idx="57">
                  <c:v>0.25400835544515327</c:v>
                </c:pt>
                <c:pt idx="58">
                  <c:v>0.23382400369980466</c:v>
                </c:pt>
                <c:pt idx="59">
                  <c:v>0.23943026116791946</c:v>
                </c:pt>
                <c:pt idx="60">
                  <c:v>0.25369491863085675</c:v>
                </c:pt>
                <c:pt idx="61">
                  <c:v>0.26335839430757868</c:v>
                </c:pt>
                <c:pt idx="62">
                  <c:v>0.24811366501794199</c:v>
                </c:pt>
                <c:pt idx="63">
                  <c:v>0.25331883600138116</c:v>
                </c:pt>
                <c:pt idx="64">
                  <c:v>0.27606841827999473</c:v>
                </c:pt>
                <c:pt idx="65">
                  <c:v>0.28160478817918266</c:v>
                </c:pt>
                <c:pt idx="66">
                  <c:v>0.29229782021117312</c:v>
                </c:pt>
                <c:pt idx="67">
                  <c:v>0.30127414335954045</c:v>
                </c:pt>
                <c:pt idx="68">
                  <c:v>0.30305886879569066</c:v>
                </c:pt>
                <c:pt idx="69">
                  <c:v>0.30492991022208221</c:v>
                </c:pt>
                <c:pt idx="70">
                  <c:v>0.30628978911194849</c:v>
                </c:pt>
                <c:pt idx="71">
                  <c:v>0.30507690665654685</c:v>
                </c:pt>
                <c:pt idx="72">
                  <c:v>0.30607670596048481</c:v>
                </c:pt>
                <c:pt idx="73">
                  <c:v>0.3116373241246056</c:v>
                </c:pt>
                <c:pt idx="74">
                  <c:v>0.31424842998124136</c:v>
                </c:pt>
                <c:pt idx="75">
                  <c:v>0.31320176754871626</c:v>
                </c:pt>
                <c:pt idx="76">
                  <c:v>0.31380953870863448</c:v>
                </c:pt>
                <c:pt idx="77">
                  <c:v>0.32590348409435188</c:v>
                </c:pt>
                <c:pt idx="78">
                  <c:v>0.33061711871301291</c:v>
                </c:pt>
                <c:pt idx="79">
                  <c:v>0.33376024237416513</c:v>
                </c:pt>
                <c:pt idx="80">
                  <c:v>0.334863282523373</c:v>
                </c:pt>
                <c:pt idx="81">
                  <c:v>0.33732775797715603</c:v>
                </c:pt>
                <c:pt idx="82">
                  <c:v>0.3340239432262419</c:v>
                </c:pt>
                <c:pt idx="83">
                  <c:v>0.32813911724353323</c:v>
                </c:pt>
                <c:pt idx="84">
                  <c:v>0.32451377453380215</c:v>
                </c:pt>
                <c:pt idx="85">
                  <c:v>0.3242920313313794</c:v>
                </c:pt>
                <c:pt idx="86">
                  <c:v>0.32834757834757833</c:v>
                </c:pt>
                <c:pt idx="87">
                  <c:v>0.33024565689467972</c:v>
                </c:pt>
                <c:pt idx="88">
                  <c:v>0.33047076978575868</c:v>
                </c:pt>
                <c:pt idx="89">
                  <c:v>0.32960364974033468</c:v>
                </c:pt>
                <c:pt idx="90">
                  <c:v>0.32877782475231143</c:v>
                </c:pt>
                <c:pt idx="91">
                  <c:v>0.33265505668454848</c:v>
                </c:pt>
                <c:pt idx="92">
                  <c:v>0.33383080669232584</c:v>
                </c:pt>
                <c:pt idx="93">
                  <c:v>0.33445095599479496</c:v>
                </c:pt>
                <c:pt idx="94">
                  <c:v>0.33425385899470356</c:v>
                </c:pt>
                <c:pt idx="95">
                  <c:v>0.33302358553829059</c:v>
                </c:pt>
                <c:pt idx="96">
                  <c:v>0.3331230702831911</c:v>
                </c:pt>
                <c:pt idx="97">
                  <c:v>0.33248279672509923</c:v>
                </c:pt>
                <c:pt idx="98">
                  <c:v>0.33184443040565192</c:v>
                </c:pt>
                <c:pt idx="99">
                  <c:v>0.31234357273380736</c:v>
                </c:pt>
                <c:pt idx="100">
                  <c:v>0.30123106937136429</c:v>
                </c:pt>
                <c:pt idx="101">
                  <c:v>0.30056872662328632</c:v>
                </c:pt>
              </c:numCache>
            </c:numRef>
          </c:xVal>
          <c:yVal>
            <c:numRef>
              <c:f>Sheet1!$B$2:$B$103</c:f>
              <c:numCache>
                <c:formatCode>General</c:formatCode>
                <c:ptCount val="102"/>
                <c:pt idx="0">
                  <c:v>3.1549194168607006E-2</c:v>
                </c:pt>
                <c:pt idx="1">
                  <c:v>2.5925076493376501E-2</c:v>
                </c:pt>
                <c:pt idx="2">
                  <c:v>1.9457371147598559E-2</c:v>
                </c:pt>
                <c:pt idx="3">
                  <c:v>2.1005226955186754E-2</c:v>
                </c:pt>
                <c:pt idx="4">
                  <c:v>2.3683174888924508E-2</c:v>
                </c:pt>
                <c:pt idx="5">
                  <c:v>2.4814911692122233E-2</c:v>
                </c:pt>
                <c:pt idx="6">
                  <c:v>2.2966901329024649E-2</c:v>
                </c:pt>
                <c:pt idx="7">
                  <c:v>2.1693356757167159E-2</c:v>
                </c:pt>
                <c:pt idx="8">
                  <c:v>2.508474647577718E-2</c:v>
                </c:pt>
                <c:pt idx="9">
                  <c:v>3.2219360006132694E-2</c:v>
                </c:pt>
                <c:pt idx="10">
                  <c:v>3.3455366889535383E-2</c:v>
                </c:pt>
                <c:pt idx="11">
                  <c:v>3.0774205038558523E-2</c:v>
                </c:pt>
                <c:pt idx="12">
                  <c:v>3.166311843777065E-2</c:v>
                </c:pt>
                <c:pt idx="13">
                  <c:v>2.9573633835338665E-2</c:v>
                </c:pt>
                <c:pt idx="14">
                  <c:v>2.9438294749618857E-2</c:v>
                </c:pt>
                <c:pt idx="15">
                  <c:v>3.2326555355538883E-2</c:v>
                </c:pt>
                <c:pt idx="16">
                  <c:v>3.0454183212358377E-2</c:v>
                </c:pt>
                <c:pt idx="17">
                  <c:v>3.0177244147381318E-2</c:v>
                </c:pt>
                <c:pt idx="18">
                  <c:v>3.0949579617420526E-2</c:v>
                </c:pt>
                <c:pt idx="19">
                  <c:v>3.3044676701229417E-2</c:v>
                </c:pt>
                <c:pt idx="20">
                  <c:v>3.4502368865567047E-2</c:v>
                </c:pt>
                <c:pt idx="21">
                  <c:v>3.8171203781773647E-2</c:v>
                </c:pt>
                <c:pt idx="22">
                  <c:v>3.2633840746857157E-2</c:v>
                </c:pt>
                <c:pt idx="23">
                  <c:v>3.22851825867847E-2</c:v>
                </c:pt>
                <c:pt idx="24">
                  <c:v>3.4293774474369265E-2</c:v>
                </c:pt>
                <c:pt idx="25">
                  <c:v>3.3493331489235549E-2</c:v>
                </c:pt>
                <c:pt idx="26">
                  <c:v>3.2256296982208908E-2</c:v>
                </c:pt>
                <c:pt idx="27">
                  <c:v>3.256327154323236E-2</c:v>
                </c:pt>
                <c:pt idx="28">
                  <c:v>3.0215972855570965E-2</c:v>
                </c:pt>
                <c:pt idx="29">
                  <c:v>2.971323515475446E-2</c:v>
                </c:pt>
                <c:pt idx="30">
                  <c:v>2.9886044202056927E-2</c:v>
                </c:pt>
                <c:pt idx="31">
                  <c:v>3.0113049153545669E-2</c:v>
                </c:pt>
                <c:pt idx="32">
                  <c:v>3.0121682992946059E-2</c:v>
                </c:pt>
                <c:pt idx="33">
                  <c:v>2.8704102443482309E-2</c:v>
                </c:pt>
                <c:pt idx="34">
                  <c:v>3.0602403901330309E-2</c:v>
                </c:pt>
                <c:pt idx="35">
                  <c:v>3.1456536502498786E-2</c:v>
                </c:pt>
                <c:pt idx="36">
                  <c:v>3.1516667937295108E-2</c:v>
                </c:pt>
                <c:pt idx="37">
                  <c:v>3.3226585884057164E-2</c:v>
                </c:pt>
                <c:pt idx="38">
                  <c:v>3.3016326225624587E-2</c:v>
                </c:pt>
                <c:pt idx="39">
                  <c:v>3.0075909553288729E-2</c:v>
                </c:pt>
                <c:pt idx="40">
                  <c:v>3.0308227143147046E-2</c:v>
                </c:pt>
                <c:pt idx="41">
                  <c:v>3.1273537834975489E-2</c:v>
                </c:pt>
                <c:pt idx="42">
                  <c:v>3.0059016900147784E-2</c:v>
                </c:pt>
                <c:pt idx="43">
                  <c:v>3.0573863083611635E-2</c:v>
                </c:pt>
                <c:pt idx="44">
                  <c:v>3.254448153409624E-2</c:v>
                </c:pt>
                <c:pt idx="45">
                  <c:v>3.2420025270644671E-2</c:v>
                </c:pt>
                <c:pt idx="46">
                  <c:v>3.0841270586476857E-2</c:v>
                </c:pt>
                <c:pt idx="47">
                  <c:v>3.4545476528939606E-2</c:v>
                </c:pt>
                <c:pt idx="48">
                  <c:v>3.9378011399146942E-2</c:v>
                </c:pt>
                <c:pt idx="49">
                  <c:v>3.4585845792310457E-2</c:v>
                </c:pt>
                <c:pt idx="50">
                  <c:v>3.6889295123608744E-2</c:v>
                </c:pt>
                <c:pt idx="51">
                  <c:v>3.516974061970235E-2</c:v>
                </c:pt>
                <c:pt idx="52">
                  <c:v>3.3440411726256954E-2</c:v>
                </c:pt>
                <c:pt idx="53">
                  <c:v>3.0775515895011849E-2</c:v>
                </c:pt>
                <c:pt idx="54">
                  <c:v>2.856172806220978E-2</c:v>
                </c:pt>
                <c:pt idx="55">
                  <c:v>2.9260191711765828E-2</c:v>
                </c:pt>
                <c:pt idx="56">
                  <c:v>3.1178692703543048E-2</c:v>
                </c:pt>
                <c:pt idx="57">
                  <c:v>3.7031471681131703E-2</c:v>
                </c:pt>
                <c:pt idx="58">
                  <c:v>3.9909501581123753E-2</c:v>
                </c:pt>
                <c:pt idx="59">
                  <c:v>3.3090443177845791E-2</c:v>
                </c:pt>
                <c:pt idx="60">
                  <c:v>2.0429936026239697E-2</c:v>
                </c:pt>
                <c:pt idx="61">
                  <c:v>1.5942339180034886E-2</c:v>
                </c:pt>
                <c:pt idx="62">
                  <c:v>2.6561543645322632E-2</c:v>
                </c:pt>
                <c:pt idx="63">
                  <c:v>3.5068893654044385E-2</c:v>
                </c:pt>
                <c:pt idx="64">
                  <c:v>3.0967228847484717E-2</c:v>
                </c:pt>
                <c:pt idx="65">
                  <c:v>2.6027056162994167E-2</c:v>
                </c:pt>
                <c:pt idx="66">
                  <c:v>2.5871503741223587E-2</c:v>
                </c:pt>
                <c:pt idx="67">
                  <c:v>2.691260699372984E-2</c:v>
                </c:pt>
                <c:pt idx="68">
                  <c:v>2.5874418970458959E-2</c:v>
                </c:pt>
                <c:pt idx="69">
                  <c:v>2.3193315376484971E-2</c:v>
                </c:pt>
                <c:pt idx="70">
                  <c:v>2.2686657383630057E-2</c:v>
                </c:pt>
                <c:pt idx="71">
                  <c:v>2.6189284143623485E-2</c:v>
                </c:pt>
                <c:pt idx="72">
                  <c:v>2.7336338114147821E-2</c:v>
                </c:pt>
                <c:pt idx="73">
                  <c:v>2.7740990571672709E-2</c:v>
                </c:pt>
                <c:pt idx="74">
                  <c:v>2.8775273119844166E-2</c:v>
                </c:pt>
                <c:pt idx="75">
                  <c:v>2.8510329318482425E-2</c:v>
                </c:pt>
                <c:pt idx="76">
                  <c:v>2.7909474603405617E-2</c:v>
                </c:pt>
                <c:pt idx="77">
                  <c:v>2.354699792786898E-2</c:v>
                </c:pt>
                <c:pt idx="78">
                  <c:v>2.3516397046911525E-2</c:v>
                </c:pt>
                <c:pt idx="79">
                  <c:v>2.2115174941799768E-2</c:v>
                </c:pt>
                <c:pt idx="80">
                  <c:v>2.2268202762568419E-2</c:v>
                </c:pt>
                <c:pt idx="81">
                  <c:v>2.1244426266941792E-2</c:v>
                </c:pt>
                <c:pt idx="82">
                  <c:v>3.1177386289303839E-2</c:v>
                </c:pt>
                <c:pt idx="83">
                  <c:v>2.6306476866990773E-2</c:v>
                </c:pt>
                <c:pt idx="84">
                  <c:v>2.5524833007679375E-2</c:v>
                </c:pt>
                <c:pt idx="85">
                  <c:v>2.6871534411513368E-2</c:v>
                </c:pt>
                <c:pt idx="86">
                  <c:v>2.6338851413823878E-2</c:v>
                </c:pt>
                <c:pt idx="87">
                  <c:v>2.4648701089615546E-2</c:v>
                </c:pt>
                <c:pt idx="88">
                  <c:v>2.6238033764437702E-2</c:v>
                </c:pt>
                <c:pt idx="89">
                  <c:v>3.0191859532939729E-2</c:v>
                </c:pt>
                <c:pt idx="90">
                  <c:v>3.0716851696320817E-2</c:v>
                </c:pt>
                <c:pt idx="91">
                  <c:v>3.1790352756617284E-2</c:v>
                </c:pt>
                <c:pt idx="92">
                  <c:v>2.9789485452214992E-2</c:v>
                </c:pt>
                <c:pt idx="93">
                  <c:v>2.7419432969366012E-2</c:v>
                </c:pt>
                <c:pt idx="94">
                  <c:v>2.5375304588112154E-2</c:v>
                </c:pt>
                <c:pt idx="95">
                  <c:v>2.7271435244645044E-2</c:v>
                </c:pt>
                <c:pt idx="96">
                  <c:v>2.4300725205733124E-2</c:v>
                </c:pt>
                <c:pt idx="97">
                  <c:v>2.5953063658202231E-2</c:v>
                </c:pt>
                <c:pt idx="98">
                  <c:v>2.870484051773789E-2</c:v>
                </c:pt>
                <c:pt idx="99">
                  <c:v>3.0161179689259059E-2</c:v>
                </c:pt>
                <c:pt idx="100">
                  <c:v>3.7558407981539428E-2</c:v>
                </c:pt>
                <c:pt idx="101">
                  <c:v>3.5796970668813106E-2</c:v>
                </c:pt>
              </c:numCache>
            </c:numRef>
          </c:yVal>
          <c:smooth val="0"/>
          <c:extLst>
            <c:ext xmlns:c16="http://schemas.microsoft.com/office/drawing/2014/chart" uri="{C3380CC4-5D6E-409C-BE32-E72D297353CC}">
              <c16:uniqueId val="{00000000-F32D-48B7-BC20-E66FC6253BAD}"/>
            </c:ext>
          </c:extLst>
        </c:ser>
        <c:ser>
          <c:idx val="1"/>
          <c:order val="1"/>
          <c:tx>
            <c:strRef>
              <c:f>Sheet1!$B$10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6:$A$157</c:f>
              <c:numCache>
                <c:formatCode>General</c:formatCode>
                <c:ptCount val="52"/>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numCache>
            </c:numRef>
          </c:xVal>
          <c:yVal>
            <c:numRef>
              <c:f>Sheet1!$B$106:$B$157</c:f>
              <c:numCache>
                <c:formatCode>General</c:formatCode>
                <c:ptCount val="52"/>
                <c:pt idx="0">
                  <c:v>3.3379430772150658E-2</c:v>
                </c:pt>
                <c:pt idx="1">
                  <c:v>3.5297770608354727E-2</c:v>
                </c:pt>
                <c:pt idx="2">
                  <c:v>3.603152077608085E-2</c:v>
                </c:pt>
                <c:pt idx="3">
                  <c:v>3.0978674639028675E-2</c:v>
                </c:pt>
                <c:pt idx="4">
                  <c:v>2.8133515753956471E-2</c:v>
                </c:pt>
                <c:pt idx="5">
                  <c:v>2.7512069607189618E-2</c:v>
                </c:pt>
                <c:pt idx="6">
                  <c:v>2.7535908601076187E-2</c:v>
                </c:pt>
                <c:pt idx="7">
                  <c:v>2.7306049137985969E-2</c:v>
                </c:pt>
                <c:pt idx="8">
                  <c:v>2.6838607545871734E-2</c:v>
                </c:pt>
                <c:pt idx="9">
                  <c:v>2.8577136215520643E-2</c:v>
                </c:pt>
                <c:pt idx="10">
                  <c:v>2.9045708307140341E-2</c:v>
                </c:pt>
                <c:pt idx="11">
                  <c:v>3.0151694267354034E-2</c:v>
                </c:pt>
                <c:pt idx="12">
                  <c:v>3.1278274774940926E-2</c:v>
                </c:pt>
                <c:pt idx="13">
                  <c:v>3.2623144271831599E-2</c:v>
                </c:pt>
                <c:pt idx="14">
                  <c:v>3.2081452766552027E-2</c:v>
                </c:pt>
                <c:pt idx="15">
                  <c:v>2.8476513020004538E-2</c:v>
                </c:pt>
                <c:pt idx="16">
                  <c:v>2.8897929262062423E-2</c:v>
                </c:pt>
                <c:pt idx="17">
                  <c:v>2.8572345272906727E-2</c:v>
                </c:pt>
                <c:pt idx="18">
                  <c:v>2.7582157287634194E-2</c:v>
                </c:pt>
                <c:pt idx="19">
                  <c:v>2.6684207925807661E-2</c:v>
                </c:pt>
                <c:pt idx="20">
                  <c:v>2.5074098168638374E-2</c:v>
                </c:pt>
                <c:pt idx="21">
                  <c:v>3.7053775555914395E-2</c:v>
                </c:pt>
                <c:pt idx="22">
                  <c:v>4.1201839145334811E-2</c:v>
                </c:pt>
                <c:pt idx="23">
                  <c:v>3.952108516249337E-2</c:v>
                </c:pt>
                <c:pt idx="24">
                  <c:v>3.301132678213544E-2</c:v>
                </c:pt>
                <c:pt idx="25">
                  <c:v>3.4672282379825628E-2</c:v>
                </c:pt>
                <c:pt idx="26">
                  <c:v>3.6478521099227869E-2</c:v>
                </c:pt>
                <c:pt idx="27">
                  <c:v>3.1719960612283417E-2</c:v>
                </c:pt>
                <c:pt idx="28">
                  <c:v>2.9844699099281863E-2</c:v>
                </c:pt>
                <c:pt idx="29">
                  <c:v>2.8247037929351546E-2</c:v>
                </c:pt>
                <c:pt idx="30">
                  <c:v>2.3926861689124793E-2</c:v>
                </c:pt>
                <c:pt idx="31">
                  <c:v>2.0770671408149036E-2</c:v>
                </c:pt>
                <c:pt idx="32">
                  <c:v>2.3460558709885785E-2</c:v>
                </c:pt>
                <c:pt idx="33">
                  <c:v>3.0427962862070307E-2</c:v>
                </c:pt>
                <c:pt idx="34">
                  <c:v>3.1037706913624008E-2</c:v>
                </c:pt>
                <c:pt idx="35">
                  <c:v>2.928997264422914E-2</c:v>
                </c:pt>
                <c:pt idx="36">
                  <c:v>2.9697936908540855E-2</c:v>
                </c:pt>
                <c:pt idx="37">
                  <c:v>3.0248130900335804E-2</c:v>
                </c:pt>
                <c:pt idx="38">
                  <c:v>3.5070387750061743E-2</c:v>
                </c:pt>
                <c:pt idx="39">
                  <c:v>3.1208337770205517E-2</c:v>
                </c:pt>
                <c:pt idx="40">
                  <c:v>2.6826790166755026E-2</c:v>
                </c:pt>
                <c:pt idx="41">
                  <c:v>2.4203784771293646E-2</c:v>
                </c:pt>
                <c:pt idx="42">
                  <c:v>2.4098053977022377E-2</c:v>
                </c:pt>
                <c:pt idx="43">
                  <c:v>2.4523754132153155E-2</c:v>
                </c:pt>
                <c:pt idx="44">
                  <c:v>2.2379504666963371E-2</c:v>
                </c:pt>
                <c:pt idx="45">
                  <c:v>2.104065524243157E-2</c:v>
                </c:pt>
                <c:pt idx="46">
                  <c:v>2.2028240128902143E-2</c:v>
                </c:pt>
                <c:pt idx="47">
                  <c:v>2.3321641522021073E-2</c:v>
                </c:pt>
                <c:pt idx="48">
                  <c:v>2.5721900660138006E-2</c:v>
                </c:pt>
                <c:pt idx="49">
                  <c:v>2.4967370312040958E-2</c:v>
                </c:pt>
                <c:pt idx="50">
                  <c:v>2.6033359791458374E-2</c:v>
                </c:pt>
                <c:pt idx="51">
                  <c:v>2.5702227757022279E-2</c:v>
                </c:pt>
              </c:numCache>
            </c:numRef>
          </c:yVal>
          <c:smooth val="0"/>
          <c:extLst>
            <c:ext xmlns:c16="http://schemas.microsoft.com/office/drawing/2014/chart" uri="{C3380CC4-5D6E-409C-BE32-E72D297353CC}">
              <c16:uniqueId val="{00000002-F32D-48B7-BC20-E66FC6253BAD}"/>
            </c:ext>
          </c:extLst>
        </c:ser>
        <c:ser>
          <c:idx val="2"/>
          <c:order val="2"/>
          <c:tx>
            <c:strRef>
              <c:f>Sheet1!$B$159</c:f>
              <c:strCache>
                <c:ptCount val="1"/>
                <c:pt idx="0">
                  <c:v>Custom Linep3yQ</c:v>
                </c:pt>
              </c:strCache>
            </c:strRef>
          </c:tx>
          <c:spPr>
            <a:ln w="19050" cap="rnd">
              <a:solidFill>
                <a:srgbClr val="C00000"/>
              </a:solidFill>
              <a:prstDash val="sysDot"/>
              <a:round/>
            </a:ln>
            <a:effectLst/>
          </c:spPr>
          <c:marker>
            <c:symbol val="none"/>
          </c:marker>
          <c:xVal>
            <c:numRef>
              <c:f>Sheet1!$A$160:$A$161</c:f>
              <c:numCache>
                <c:formatCode>General</c:formatCode>
                <c:ptCount val="2"/>
                <c:pt idx="0">
                  <c:v>0</c:v>
                </c:pt>
                <c:pt idx="1">
                  <c:v>0.27575744047645689</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3-F32D-48B7-BC20-E66FC6253BAD}"/>
            </c:ext>
          </c:extLst>
        </c:ser>
        <c:ser>
          <c:idx val="3"/>
          <c:order val="3"/>
          <c:tx>
            <c:strRef>
              <c:f>Sheet1!$B$16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0.27575744047645689</c:v>
                </c:pt>
                <c:pt idx="1">
                  <c:v>0.27575744047645689</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8:$A$169</c:f>
              <c:numCache>
                <c:formatCode>General</c:formatCode>
                <c:ptCount val="2"/>
                <c:pt idx="0">
                  <c:v>0</c:v>
                </c:pt>
                <c:pt idx="1">
                  <c:v>0.28987004975079905</c:v>
                </c:pt>
              </c:numCache>
            </c:numRef>
          </c:xVal>
          <c:yVal>
            <c:numRef>
              <c:f>Sheet1!$B$168:$B$169</c:f>
              <c:numCache>
                <c:formatCode>General</c:formatCode>
                <c:ptCount val="2"/>
                <c:pt idx="0">
                  <c:v>3.1101577984060606E-2</c:v>
                </c:pt>
                <c:pt idx="1">
                  <c:v>3.1101577984060606E-2</c:v>
                </c:pt>
              </c:numCache>
            </c:numRef>
          </c:yVal>
          <c:smooth val="0"/>
          <c:extLst>
            <c:ext xmlns:c16="http://schemas.microsoft.com/office/drawing/2014/chart" uri="{C3380CC4-5D6E-409C-BE32-E72D297353CC}">
              <c16:uniqueId val="{0000000A-F32D-48B7-BC20-E66FC6253BAD}"/>
            </c:ext>
          </c:extLst>
        </c:ser>
        <c:ser>
          <c:idx val="5"/>
          <c:order val="5"/>
          <c:tx>
            <c:strRef>
              <c:f>Sheet1!$B$17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0.28987004975079905</c:v>
                </c:pt>
                <c:pt idx="1">
                  <c:v>0.28987004975079905</c:v>
                </c:pt>
              </c:numCache>
            </c:numRef>
          </c:xVal>
          <c:yVal>
            <c:numRef>
              <c:f>Sheet1!$B$172:$B$173</c:f>
              <c:numCache>
                <c:formatCode>General</c:formatCode>
                <c:ptCount val="2"/>
                <c:pt idx="0">
                  <c:v>3.1101577984060606E-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6:$A$177</c:f>
              <c:numCache>
                <c:formatCode>General</c:formatCode>
                <c:ptCount val="2"/>
                <c:pt idx="0">
                  <c:v>0</c:v>
                </c:pt>
                <c:pt idx="1">
                  <c:v>0.32888493428125432</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1-F32D-48B7-BC20-E66FC6253BAD}"/>
            </c:ext>
          </c:extLst>
        </c:ser>
        <c:ser>
          <c:idx val="7"/>
          <c:order val="7"/>
          <c:tx>
            <c:strRef>
              <c:f>Sheet1!$B$17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0:$A$181</c:f>
              <c:numCache>
                <c:formatCode>General</c:formatCode>
                <c:ptCount val="2"/>
                <c:pt idx="0">
                  <c:v>0.32888493428125432</c:v>
                </c:pt>
                <c:pt idx="1">
                  <c:v>0.32888493428125432</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4:$A$238</c:f>
              <c:numCache>
                <c:formatCode>General</c:formatCode>
                <c:ptCount val="55"/>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pt idx="52">
                  <c:v>0.28987004975079905</c:v>
                </c:pt>
                <c:pt idx="53">
                  <c:v>0.27575744047645689</c:v>
                </c:pt>
                <c:pt idx="54">
                  <c:v>0.32888493428125432</c:v>
                </c:pt>
              </c:numCache>
            </c:numRef>
          </c:xVal>
          <c:yVal>
            <c:numRef>
              <c:f>Sheet1!$B$184:$B$238</c:f>
              <c:numCache>
                <c:formatCode>General</c:formatCode>
                <c:ptCount val="55"/>
                <c:pt idx="0">
                  <c:v>2.9413873016704839E-2</c:v>
                </c:pt>
                <c:pt idx="1">
                  <c:v>2.9896344890080709E-2</c:v>
                </c:pt>
                <c:pt idx="2">
                  <c:v>3.0155656486461964E-2</c:v>
                </c:pt>
                <c:pt idx="3">
                  <c:v>2.7109900331363727E-2</c:v>
                </c:pt>
                <c:pt idx="4">
                  <c:v>2.4371775225560388E-2</c:v>
                </c:pt>
                <c:pt idx="5">
                  <c:v>2.4094268404047922E-2</c:v>
                </c:pt>
                <c:pt idx="6">
                  <c:v>2.4322183284519114E-2</c:v>
                </c:pt>
                <c:pt idx="7">
                  <c:v>2.5263903460272262E-2</c:v>
                </c:pt>
                <c:pt idx="8">
                  <c:v>2.7533717749061021E-2</c:v>
                </c:pt>
                <c:pt idx="9">
                  <c:v>2.9136059572005948E-2</c:v>
                </c:pt>
                <c:pt idx="10">
                  <c:v>2.8439725189245424E-2</c:v>
                </c:pt>
                <c:pt idx="11">
                  <c:v>2.8481575446516888E-2</c:v>
                </c:pt>
                <c:pt idx="12">
                  <c:v>3.0108594349578348E-2</c:v>
                </c:pt>
                <c:pt idx="13">
                  <c:v>3.169054387055209E-2</c:v>
                </c:pt>
                <c:pt idx="14">
                  <c:v>3.1465934595702259E-2</c:v>
                </c:pt>
                <c:pt idx="15">
                  <c:v>3.1477667841337743E-2</c:v>
                </c:pt>
                <c:pt idx="16">
                  <c:v>3.1573121681829512E-2</c:v>
                </c:pt>
                <c:pt idx="17">
                  <c:v>3.1532924296196564E-2</c:v>
                </c:pt>
                <c:pt idx="18">
                  <c:v>3.0515660900336583E-2</c:v>
                </c:pt>
                <c:pt idx="19">
                  <c:v>3.0211789143868836E-2</c:v>
                </c:pt>
                <c:pt idx="20">
                  <c:v>2.8955614795748236E-2</c:v>
                </c:pt>
                <c:pt idx="21">
                  <c:v>3.2772131418724967E-2</c:v>
                </c:pt>
                <c:pt idx="22">
                  <c:v>3.3542665870490845E-2</c:v>
                </c:pt>
                <c:pt idx="23">
                  <c:v>3.3435184307609174E-2</c:v>
                </c:pt>
                <c:pt idx="24">
                  <c:v>3.268271460365052E-2</c:v>
                </c:pt>
                <c:pt idx="25">
                  <c:v>3.3870059534782497E-2</c:v>
                </c:pt>
                <c:pt idx="26">
                  <c:v>3.3073079926514877E-2</c:v>
                </c:pt>
                <c:pt idx="27">
                  <c:v>3.1808643842456727E-2</c:v>
                </c:pt>
                <c:pt idx="28">
                  <c:v>3.0502176751221188E-2</c:v>
                </c:pt>
                <c:pt idx="29">
                  <c:v>2.7906678470255915E-2</c:v>
                </c:pt>
                <c:pt idx="30">
                  <c:v>2.5033266393526828E-2</c:v>
                </c:pt>
                <c:pt idx="31">
                  <c:v>2.630903103630991E-2</c:v>
                </c:pt>
                <c:pt idx="32">
                  <c:v>2.8693045313762239E-2</c:v>
                </c:pt>
                <c:pt idx="33">
                  <c:v>3.2596808075387743E-2</c:v>
                </c:pt>
                <c:pt idx="34">
                  <c:v>3.3462836223474769E-2</c:v>
                </c:pt>
                <c:pt idx="35">
                  <c:v>3.1780988069129081E-2</c:v>
                </c:pt>
                <c:pt idx="36">
                  <c:v>3.2997078119396075E-2</c:v>
                </c:pt>
                <c:pt idx="37">
                  <c:v>3.4241810296995578E-2</c:v>
                </c:pt>
                <c:pt idx="38">
                  <c:v>3.5259393566231922E-2</c:v>
                </c:pt>
                <c:pt idx="39">
                  <c:v>3.2524924643797831E-2</c:v>
                </c:pt>
                <c:pt idx="40">
                  <c:v>2.8308242375685959E-2</c:v>
                </c:pt>
                <c:pt idx="41">
                  <c:v>2.54404048951909E-2</c:v>
                </c:pt>
                <c:pt idx="42">
                  <c:v>2.3287513921568817E-2</c:v>
                </c:pt>
                <c:pt idx="43">
                  <c:v>2.3365554652546534E-2</c:v>
                </c:pt>
                <c:pt idx="44">
                  <c:v>2.3054756675168077E-2</c:v>
                </c:pt>
                <c:pt idx="45">
                  <c:v>2.3566114628330095E-2</c:v>
                </c:pt>
                <c:pt idx="46">
                  <c:v>2.5888630394799238E-2</c:v>
                </c:pt>
                <c:pt idx="47">
                  <c:v>2.6265547596405793E-2</c:v>
                </c:pt>
                <c:pt idx="48">
                  <c:v>2.7412822111043234E-2</c:v>
                </c:pt>
                <c:pt idx="49">
                  <c:v>2.5962622488181153E-2</c:v>
                </c:pt>
                <c:pt idx="50">
                  <c:v>2.4525712064247307E-2</c:v>
                </c:pt>
                <c:pt idx="51">
                  <c:v>2.4473274634488791E-2</c:v>
                </c:pt>
                <c:pt idx="52">
                  <c:v>3.1101577984060602E-2</c:v>
                </c:pt>
                <c:pt idx="53">
                  <c:v>3.3390590546211449E-2</c:v>
                </c:pt>
                <c:pt idx="54">
                  <c:v>2.4773509299877497E-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40737801608579088"/>
          <c:min val="0.18705920295984374"/>
        </c:scaling>
        <c:delete val="0"/>
        <c:axPos val="b"/>
        <c:title>
          <c:tx>
            <c:rich>
              <a:bodyPr rot="0" spcFirstLastPara="1" vertOverflow="ellipsis" vert="horz" wrap="square" anchor="ctr" anchorCtr="1"/>
              <a:lstStyle/>
              <a:p>
                <a:pPr>
                  <a:defRPr sz="800" b="0">
                    <a:latin typeface="Nexa Bold"/>
                  </a:defRPr>
                </a:pPr>
                <a:r>
                  <a:rPr lang="en-US"/>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1291069944164441</c:v>
                </c:pt>
                <c:pt idx="1">
                  <c:v>0.13485892486555889</c:v>
                </c:pt>
                <c:pt idx="2">
                  <c:v>0.13361697278764331</c:v>
                </c:pt>
                <c:pt idx="3">
                  <c:v>0.13181455947245191</c:v>
                </c:pt>
                <c:pt idx="4">
                  <c:v>0.13079849733141291</c:v>
                </c:pt>
                <c:pt idx="5">
                  <c:v>0.12786527339341361</c:v>
                </c:pt>
                <c:pt idx="6">
                  <c:v>0.13389772495720559</c:v>
                </c:pt>
                <c:pt idx="7">
                  <c:v>0.1359519354250221</c:v>
                </c:pt>
                <c:pt idx="8">
                  <c:v>0.13408395448492219</c:v>
                </c:pt>
                <c:pt idx="9">
                  <c:v>0.1272173036352085</c:v>
                </c:pt>
                <c:pt idx="10">
                  <c:v>0.12580154817273331</c:v>
                </c:pt>
                <c:pt idx="11">
                  <c:v>0.1247833670603628</c:v>
                </c:pt>
                <c:pt idx="12">
                  <c:v>0.12616612542700109</c:v>
                </c:pt>
                <c:pt idx="13">
                  <c:v>0.13426073846412021</c:v>
                </c:pt>
                <c:pt idx="14">
                  <c:v>0.13040345544745011</c:v>
                </c:pt>
                <c:pt idx="15">
                  <c:v>0.12568196098787579</c:v>
                </c:pt>
                <c:pt idx="16">
                  <c:v>0.1284543866213313</c:v>
                </c:pt>
                <c:pt idx="17">
                  <c:v>0.13252000199740169</c:v>
                </c:pt>
                <c:pt idx="18">
                  <c:v>0.12612196270786419</c:v>
                </c:pt>
                <c:pt idx="19">
                  <c:v>0.13496886950214251</c:v>
                </c:pt>
                <c:pt idx="20">
                  <c:v>0.13064933940560819</c:v>
                </c:pt>
                <c:pt idx="21">
                  <c:v>0.12635635491031241</c:v>
                </c:pt>
                <c:pt idx="22">
                  <c:v>0.12863609693980929</c:v>
                </c:pt>
                <c:pt idx="23">
                  <c:v>0.13116494310893009</c:v>
                </c:pt>
                <c:pt idx="24">
                  <c:v>0.1278058186678292</c:v>
                </c:pt>
                <c:pt idx="25">
                  <c:v>0.1235932293079324</c:v>
                </c:pt>
                <c:pt idx="26">
                  <c:v>0.12290934252239009</c:v>
                </c:pt>
                <c:pt idx="27">
                  <c:v>0.12109503765009599</c:v>
                </c:pt>
                <c:pt idx="28">
                  <c:v>0.12207135397276341</c:v>
                </c:pt>
                <c:pt idx="29">
                  <c:v>0.1263122981136704</c:v>
                </c:pt>
                <c:pt idx="30">
                  <c:v>0.1263263635992006</c:v>
                </c:pt>
                <c:pt idx="31">
                  <c:v>0.12476889875077329</c:v>
                </c:pt>
                <c:pt idx="32">
                  <c:v>0.12674353123399981</c:v>
                </c:pt>
                <c:pt idx="33">
                  <c:v>0.12588695742723971</c:v>
                </c:pt>
                <c:pt idx="34">
                  <c:v>0.12390000002667199</c:v>
                </c:pt>
                <c:pt idx="35">
                  <c:v>0.12440850519118039</c:v>
                </c:pt>
                <c:pt idx="36">
                  <c:v>0.12336288941275771</c:v>
                </c:pt>
                <c:pt idx="37">
                  <c:v>0.1236579395008299</c:v>
                </c:pt>
                <c:pt idx="38">
                  <c:v>0.1244360084590832</c:v>
                </c:pt>
                <c:pt idx="39">
                  <c:v>0.12224083915887329</c:v>
                </c:pt>
                <c:pt idx="40">
                  <c:v>0.1219327444047168</c:v>
                </c:pt>
                <c:pt idx="41">
                  <c:v>0.1250560323566518</c:v>
                </c:pt>
                <c:pt idx="42">
                  <c:v>0.12745512740440279</c:v>
                </c:pt>
                <c:pt idx="43">
                  <c:v>0.1211984894858895</c:v>
                </c:pt>
                <c:pt idx="44">
                  <c:v>0.1258670226690102</c:v>
                </c:pt>
                <c:pt idx="45">
                  <c:v>0.1272339848348821</c:v>
                </c:pt>
                <c:pt idx="46">
                  <c:v>0.13490346412193621</c:v>
                </c:pt>
                <c:pt idx="47">
                  <c:v>0.1232399985423943</c:v>
                </c:pt>
                <c:pt idx="48">
                  <c:v>0.12311641114157899</c:v>
                </c:pt>
                <c:pt idx="49">
                  <c:v>0.1234350759255986</c:v>
                </c:pt>
                <c:pt idx="50">
                  <c:v>0.12419744604278141</c:v>
                </c:pt>
                <c:pt idx="51">
                  <c:v>0.13145508336915421</c:v>
                </c:pt>
                <c:pt idx="52">
                  <c:v>0.13109930113357529</c:v>
                </c:pt>
                <c:pt idx="53">
                  <c:v>0.13568928560863899</c:v>
                </c:pt>
                <c:pt idx="54">
                  <c:v>0.1285210371531505</c:v>
                </c:pt>
                <c:pt idx="55">
                  <c:v>0.1300753516373136</c:v>
                </c:pt>
                <c:pt idx="56">
                  <c:v>0.12489749950473671</c:v>
                </c:pt>
                <c:pt idx="57">
                  <c:v>0.10266521645136149</c:v>
                </c:pt>
                <c:pt idx="58">
                  <c:v>9.4621929093130358E-2</c:v>
                </c:pt>
                <c:pt idx="59">
                  <c:v>9.8212612965823731E-2</c:v>
                </c:pt>
                <c:pt idx="60">
                  <c:v>0.1102654339127445</c:v>
                </c:pt>
                <c:pt idx="61">
                  <c:v>0.1086326326560431</c:v>
                </c:pt>
                <c:pt idx="62">
                  <c:v>0.10273100071317991</c:v>
                </c:pt>
                <c:pt idx="63">
                  <c:v>0.1056131313298932</c:v>
                </c:pt>
                <c:pt idx="64">
                  <c:v>0.116037952360732</c:v>
                </c:pt>
                <c:pt idx="65">
                  <c:v>0.13065683342069531</c:v>
                </c:pt>
                <c:pt idx="66">
                  <c:v>0.132712182958446</c:v>
                </c:pt>
                <c:pt idx="67">
                  <c:v>0.12498087731066</c:v>
                </c:pt>
                <c:pt idx="68">
                  <c:v>0.1318623648264734</c:v>
                </c:pt>
                <c:pt idx="69">
                  <c:v>0.13405085209231629</c:v>
                </c:pt>
                <c:pt idx="70">
                  <c:v>0.12663942767242409</c:v>
                </c:pt>
                <c:pt idx="71">
                  <c:v>0.13715997078444109</c:v>
                </c:pt>
                <c:pt idx="72">
                  <c:v>0.1312699287114284</c:v>
                </c:pt>
                <c:pt idx="73">
                  <c:v>0.1290474255800157</c:v>
                </c:pt>
                <c:pt idx="74">
                  <c:v>0.12976627424972709</c:v>
                </c:pt>
                <c:pt idx="75">
                  <c:v>0.12686829869724861</c:v>
                </c:pt>
                <c:pt idx="76">
                  <c:v>0.1253623579280761</c:v>
                </c:pt>
                <c:pt idx="77">
                  <c:v>0.12968156222074531</c:v>
                </c:pt>
                <c:pt idx="78">
                  <c:v>0.12750329032649099</c:v>
                </c:pt>
                <c:pt idx="79">
                  <c:v>0.12461050546445129</c:v>
                </c:pt>
                <c:pt idx="80">
                  <c:v>0.12900335189603049</c:v>
                </c:pt>
                <c:pt idx="81">
                  <c:v>0.12741746962889991</c:v>
                </c:pt>
                <c:pt idx="82">
                  <c:v>0.1227246355993528</c:v>
                </c:pt>
                <c:pt idx="83">
                  <c:v>0.12325497363003669</c:v>
                </c:pt>
                <c:pt idx="84">
                  <c:v>0.1237777050026681</c:v>
                </c:pt>
                <c:pt idx="85">
                  <c:v>0.1227618684932686</c:v>
                </c:pt>
                <c:pt idx="86">
                  <c:v>0.12625273778634091</c:v>
                </c:pt>
                <c:pt idx="87">
                  <c:v>0.12848401925218161</c:v>
                </c:pt>
                <c:pt idx="88">
                  <c:v>0.12808991008793849</c:v>
                </c:pt>
                <c:pt idx="89">
                  <c:v>0.12669599383578639</c:v>
                </c:pt>
                <c:pt idx="90">
                  <c:v>0.128457244567205</c:v>
                </c:pt>
                <c:pt idx="91">
                  <c:v>0.1287495738807907</c:v>
                </c:pt>
                <c:pt idx="92">
                  <c:v>0.12753778198649329</c:v>
                </c:pt>
                <c:pt idx="93">
                  <c:v>0.12858384689357691</c:v>
                </c:pt>
                <c:pt idx="94">
                  <c:v>0.13053873342212541</c:v>
                </c:pt>
                <c:pt idx="95">
                  <c:v>0.1283681251237693</c:v>
                </c:pt>
                <c:pt idx="96">
                  <c:v>0.12712219330013799</c:v>
                </c:pt>
                <c:pt idx="97">
                  <c:v>0.12537888942730019</c:v>
                </c:pt>
                <c:pt idx="98">
                  <c:v>0.12745921704595151</c:v>
                </c:pt>
                <c:pt idx="99">
                  <c:v>0.1212266665697815</c:v>
                </c:pt>
                <c:pt idx="100">
                  <c:v>0.1141728668578047</c:v>
                </c:pt>
                <c:pt idx="101">
                  <c:v>0.115957494325048</c:v>
                </c:pt>
              </c:numCache>
            </c:numRef>
          </c:xVal>
          <c:yVal>
            <c:numRef>
              <c:f>Sheet1!$B$2:$B$103</c:f>
              <c:numCache>
                <c:formatCode>General</c:formatCode>
                <c:ptCount val="102"/>
                <c:pt idx="0">
                  <c:v>3.1549194168607013E-2</c:v>
                </c:pt>
                <c:pt idx="1">
                  <c:v>2.5925076493376501E-2</c:v>
                </c:pt>
                <c:pt idx="2">
                  <c:v>1.9457371147598559E-2</c:v>
                </c:pt>
                <c:pt idx="3">
                  <c:v>2.1005226955186751E-2</c:v>
                </c:pt>
                <c:pt idx="4">
                  <c:v>2.3683174888924512E-2</c:v>
                </c:pt>
                <c:pt idx="5">
                  <c:v>2.481491169212223E-2</c:v>
                </c:pt>
                <c:pt idx="6">
                  <c:v>2.2966901329024649E-2</c:v>
                </c:pt>
                <c:pt idx="7">
                  <c:v>2.1693356757167159E-2</c:v>
                </c:pt>
                <c:pt idx="8">
                  <c:v>2.508474647577718E-2</c:v>
                </c:pt>
                <c:pt idx="9">
                  <c:v>3.2219360006132687E-2</c:v>
                </c:pt>
                <c:pt idx="10">
                  <c:v>3.3455366889535383E-2</c:v>
                </c:pt>
                <c:pt idx="11">
                  <c:v>3.077420503855852E-2</c:v>
                </c:pt>
                <c:pt idx="12">
                  <c:v>3.166311843777065E-2</c:v>
                </c:pt>
                <c:pt idx="13">
                  <c:v>2.9573633835338661E-2</c:v>
                </c:pt>
                <c:pt idx="14">
                  <c:v>2.943829474961886E-2</c:v>
                </c:pt>
                <c:pt idx="15">
                  <c:v>3.2326555355538883E-2</c:v>
                </c:pt>
                <c:pt idx="16">
                  <c:v>3.045418321235838E-2</c:v>
                </c:pt>
                <c:pt idx="17">
                  <c:v>3.0177244147381321E-2</c:v>
                </c:pt>
                <c:pt idx="18">
                  <c:v>3.0949579617420529E-2</c:v>
                </c:pt>
                <c:pt idx="19">
                  <c:v>3.3044676701229417E-2</c:v>
                </c:pt>
                <c:pt idx="20">
                  <c:v>3.4502368865567047E-2</c:v>
                </c:pt>
                <c:pt idx="21">
                  <c:v>3.8171203781773647E-2</c:v>
                </c:pt>
                <c:pt idx="22">
                  <c:v>3.2633840746857157E-2</c:v>
                </c:pt>
                <c:pt idx="23">
                  <c:v>3.22851825867847E-2</c:v>
                </c:pt>
                <c:pt idx="24">
                  <c:v>3.4293774474369272E-2</c:v>
                </c:pt>
                <c:pt idx="25">
                  <c:v>3.3493331489235549E-2</c:v>
                </c:pt>
                <c:pt idx="26">
                  <c:v>3.2256296982208908E-2</c:v>
                </c:pt>
                <c:pt idx="27">
                  <c:v>3.256327154323236E-2</c:v>
                </c:pt>
                <c:pt idx="28">
                  <c:v>3.0215972855570969E-2</c:v>
                </c:pt>
                <c:pt idx="29">
                  <c:v>2.971323515475446E-2</c:v>
                </c:pt>
                <c:pt idx="30">
                  <c:v>2.9886044202056931E-2</c:v>
                </c:pt>
                <c:pt idx="31">
                  <c:v>3.0113049153545669E-2</c:v>
                </c:pt>
                <c:pt idx="32">
                  <c:v>3.0121682992946059E-2</c:v>
                </c:pt>
                <c:pt idx="33">
                  <c:v>2.8704102443482309E-2</c:v>
                </c:pt>
                <c:pt idx="34">
                  <c:v>3.0602403901330309E-2</c:v>
                </c:pt>
                <c:pt idx="35">
                  <c:v>3.1456536502498793E-2</c:v>
                </c:pt>
                <c:pt idx="36">
                  <c:v>3.1516667937295108E-2</c:v>
                </c:pt>
                <c:pt idx="37">
                  <c:v>3.3226585884057157E-2</c:v>
                </c:pt>
                <c:pt idx="38">
                  <c:v>3.3016326225624587E-2</c:v>
                </c:pt>
                <c:pt idx="39">
                  <c:v>3.0075909553288729E-2</c:v>
                </c:pt>
                <c:pt idx="40">
                  <c:v>3.030822714314705E-2</c:v>
                </c:pt>
                <c:pt idx="41">
                  <c:v>3.1273537834975489E-2</c:v>
                </c:pt>
                <c:pt idx="42">
                  <c:v>3.005901690014778E-2</c:v>
                </c:pt>
                <c:pt idx="43">
                  <c:v>3.0573863083611631E-2</c:v>
                </c:pt>
                <c:pt idx="44">
                  <c:v>3.254448153409624E-2</c:v>
                </c:pt>
                <c:pt idx="45">
                  <c:v>3.2420025270644671E-2</c:v>
                </c:pt>
                <c:pt idx="46">
                  <c:v>3.0841270586476861E-2</c:v>
                </c:pt>
                <c:pt idx="47">
                  <c:v>3.4545476528939613E-2</c:v>
                </c:pt>
                <c:pt idx="48">
                  <c:v>3.9378011399146942E-2</c:v>
                </c:pt>
                <c:pt idx="49">
                  <c:v>3.4585845792310457E-2</c:v>
                </c:pt>
                <c:pt idx="50">
                  <c:v>3.6889295123608737E-2</c:v>
                </c:pt>
                <c:pt idx="51">
                  <c:v>3.516974061970235E-2</c:v>
                </c:pt>
                <c:pt idx="52">
                  <c:v>3.3440411726256947E-2</c:v>
                </c:pt>
                <c:pt idx="53">
                  <c:v>3.0775515895011849E-2</c:v>
                </c:pt>
                <c:pt idx="54">
                  <c:v>2.856172806220978E-2</c:v>
                </c:pt>
                <c:pt idx="55">
                  <c:v>2.9260191711765832E-2</c:v>
                </c:pt>
                <c:pt idx="56">
                  <c:v>3.1178692703543051E-2</c:v>
                </c:pt>
                <c:pt idx="57">
                  <c:v>3.7031471681131703E-2</c:v>
                </c:pt>
                <c:pt idx="58">
                  <c:v>3.9909501581123753E-2</c:v>
                </c:pt>
                <c:pt idx="59">
                  <c:v>3.3090443177845791E-2</c:v>
                </c:pt>
                <c:pt idx="60">
                  <c:v>2.0429936026239701E-2</c:v>
                </c:pt>
                <c:pt idx="61">
                  <c:v>1.594233918003489E-2</c:v>
                </c:pt>
                <c:pt idx="62">
                  <c:v>2.6561543645322629E-2</c:v>
                </c:pt>
                <c:pt idx="63">
                  <c:v>3.5068893654044378E-2</c:v>
                </c:pt>
                <c:pt idx="64">
                  <c:v>3.0967228847484721E-2</c:v>
                </c:pt>
                <c:pt idx="65">
                  <c:v>2.602705616299417E-2</c:v>
                </c:pt>
                <c:pt idx="66">
                  <c:v>2.587150374122359E-2</c:v>
                </c:pt>
                <c:pt idx="67">
                  <c:v>2.691260699372984E-2</c:v>
                </c:pt>
                <c:pt idx="68">
                  <c:v>2.5874418970458959E-2</c:v>
                </c:pt>
                <c:pt idx="69">
                  <c:v>2.3193315376484971E-2</c:v>
                </c:pt>
                <c:pt idx="70">
                  <c:v>2.2686657383630061E-2</c:v>
                </c:pt>
                <c:pt idx="71">
                  <c:v>2.6189284143623481E-2</c:v>
                </c:pt>
                <c:pt idx="72">
                  <c:v>2.7336338114147821E-2</c:v>
                </c:pt>
                <c:pt idx="73">
                  <c:v>2.7740990571672709E-2</c:v>
                </c:pt>
                <c:pt idx="74">
                  <c:v>2.877527311984417E-2</c:v>
                </c:pt>
                <c:pt idx="75">
                  <c:v>2.8510329318482429E-2</c:v>
                </c:pt>
                <c:pt idx="76">
                  <c:v>2.7909474603405621E-2</c:v>
                </c:pt>
                <c:pt idx="77">
                  <c:v>2.354699792786898E-2</c:v>
                </c:pt>
                <c:pt idx="78">
                  <c:v>2.3516397046911521E-2</c:v>
                </c:pt>
                <c:pt idx="79">
                  <c:v>2.2115174941799771E-2</c:v>
                </c:pt>
                <c:pt idx="80">
                  <c:v>2.2268202762568419E-2</c:v>
                </c:pt>
                <c:pt idx="81">
                  <c:v>2.1244426266941788E-2</c:v>
                </c:pt>
                <c:pt idx="82">
                  <c:v>3.1177386289303839E-2</c:v>
                </c:pt>
                <c:pt idx="83">
                  <c:v>2.630647686699077E-2</c:v>
                </c:pt>
                <c:pt idx="84">
                  <c:v>2.5524833007679371E-2</c:v>
                </c:pt>
                <c:pt idx="85">
                  <c:v>2.6871534411513371E-2</c:v>
                </c:pt>
                <c:pt idx="86">
                  <c:v>2.6338851413823881E-2</c:v>
                </c:pt>
                <c:pt idx="87">
                  <c:v>2.464870108961555E-2</c:v>
                </c:pt>
                <c:pt idx="88">
                  <c:v>2.6238033764437702E-2</c:v>
                </c:pt>
                <c:pt idx="89">
                  <c:v>3.0191859532939729E-2</c:v>
                </c:pt>
                <c:pt idx="90">
                  <c:v>3.071685169632082E-2</c:v>
                </c:pt>
                <c:pt idx="91">
                  <c:v>3.1790352756617277E-2</c:v>
                </c:pt>
                <c:pt idx="92">
                  <c:v>2.9789485452214989E-2</c:v>
                </c:pt>
                <c:pt idx="93">
                  <c:v>2.7419432969366012E-2</c:v>
                </c:pt>
                <c:pt idx="94">
                  <c:v>2.5375304588112151E-2</c:v>
                </c:pt>
                <c:pt idx="95">
                  <c:v>2.727143524464504E-2</c:v>
                </c:pt>
                <c:pt idx="96">
                  <c:v>2.430072520573312E-2</c:v>
                </c:pt>
                <c:pt idx="97">
                  <c:v>2.5953063658202231E-2</c:v>
                </c:pt>
                <c:pt idx="98">
                  <c:v>2.870484051773789E-2</c:v>
                </c:pt>
                <c:pt idx="99">
                  <c:v>3.0161179689259059E-2</c:v>
                </c:pt>
                <c:pt idx="100">
                  <c:v>3.7558407981539428E-2</c:v>
                </c:pt>
                <c:pt idx="101">
                  <c:v>3.5796970668813113E-2</c:v>
                </c:pt>
              </c:numCache>
            </c:numRef>
          </c:yVal>
          <c:smooth val="0"/>
          <c:extLst>
            <c:ext xmlns:c16="http://schemas.microsoft.com/office/drawing/2014/chart" uri="{C3380CC4-5D6E-409C-BE32-E72D297353CC}">
              <c16:uniqueId val="{00000000-096C-4121-9522-6AB7243CCAAE}"/>
            </c:ext>
          </c:extLst>
        </c:ser>
        <c:ser>
          <c:idx val="1"/>
          <c:order val="1"/>
          <c:tx>
            <c:strRef>
              <c:f>Sheet1!$B$10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6:$A$157</c:f>
              <c:numCache>
                <c:formatCode>General</c:formatCode>
                <c:ptCount val="52"/>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numCache>
            </c:numRef>
          </c:xVal>
          <c:yVal>
            <c:numRef>
              <c:f>Sheet1!$B$106:$B$157</c:f>
              <c:numCache>
                <c:formatCode>General</c:formatCode>
                <c:ptCount val="52"/>
                <c:pt idx="0">
                  <c:v>3.3379430772150658E-2</c:v>
                </c:pt>
                <c:pt idx="1">
                  <c:v>3.5297770608354727E-2</c:v>
                </c:pt>
                <c:pt idx="2">
                  <c:v>3.603152077608085E-2</c:v>
                </c:pt>
                <c:pt idx="3">
                  <c:v>3.0978674639028671E-2</c:v>
                </c:pt>
                <c:pt idx="4">
                  <c:v>2.8133515753956471E-2</c:v>
                </c:pt>
                <c:pt idx="5">
                  <c:v>2.7512069607189622E-2</c:v>
                </c:pt>
                <c:pt idx="6">
                  <c:v>2.753590860107619E-2</c:v>
                </c:pt>
                <c:pt idx="7">
                  <c:v>2.7306049137985969E-2</c:v>
                </c:pt>
                <c:pt idx="8">
                  <c:v>2.683860754587173E-2</c:v>
                </c:pt>
                <c:pt idx="9">
                  <c:v>2.8577136215520639E-2</c:v>
                </c:pt>
                <c:pt idx="10">
                  <c:v>2.9045708307140341E-2</c:v>
                </c:pt>
                <c:pt idx="11">
                  <c:v>3.0151694267354031E-2</c:v>
                </c:pt>
                <c:pt idx="12">
                  <c:v>3.1278274774940933E-2</c:v>
                </c:pt>
                <c:pt idx="13">
                  <c:v>3.2623144271831599E-2</c:v>
                </c:pt>
                <c:pt idx="14">
                  <c:v>3.2081452766552027E-2</c:v>
                </c:pt>
                <c:pt idx="15">
                  <c:v>2.8476513020004542E-2</c:v>
                </c:pt>
                <c:pt idx="16">
                  <c:v>2.889792926206242E-2</c:v>
                </c:pt>
                <c:pt idx="17">
                  <c:v>2.8572345272906731E-2</c:v>
                </c:pt>
                <c:pt idx="18">
                  <c:v>2.758215728763419E-2</c:v>
                </c:pt>
                <c:pt idx="19">
                  <c:v>2.6684207925807661E-2</c:v>
                </c:pt>
                <c:pt idx="20">
                  <c:v>2.507409816863837E-2</c:v>
                </c:pt>
                <c:pt idx="21">
                  <c:v>3.7053775555914388E-2</c:v>
                </c:pt>
                <c:pt idx="22">
                  <c:v>4.1201839145334811E-2</c:v>
                </c:pt>
                <c:pt idx="23">
                  <c:v>3.952108516249337E-2</c:v>
                </c:pt>
                <c:pt idx="24">
                  <c:v>3.301132678213544E-2</c:v>
                </c:pt>
                <c:pt idx="25">
                  <c:v>3.4672282379825628E-2</c:v>
                </c:pt>
                <c:pt idx="26">
                  <c:v>3.6478521099227869E-2</c:v>
                </c:pt>
                <c:pt idx="27">
                  <c:v>3.1719960612283417E-2</c:v>
                </c:pt>
                <c:pt idx="28">
                  <c:v>2.9844699099281859E-2</c:v>
                </c:pt>
                <c:pt idx="29">
                  <c:v>2.824703792935155E-2</c:v>
                </c:pt>
                <c:pt idx="30">
                  <c:v>2.3926861689124789E-2</c:v>
                </c:pt>
                <c:pt idx="31">
                  <c:v>2.077067140814904E-2</c:v>
                </c:pt>
                <c:pt idx="32">
                  <c:v>2.3460558709885782E-2</c:v>
                </c:pt>
                <c:pt idx="33">
                  <c:v>3.042796286207031E-2</c:v>
                </c:pt>
                <c:pt idx="34">
                  <c:v>3.1037706913624011E-2</c:v>
                </c:pt>
                <c:pt idx="35">
                  <c:v>2.928997264422914E-2</c:v>
                </c:pt>
                <c:pt idx="36">
                  <c:v>2.9697936908540851E-2</c:v>
                </c:pt>
                <c:pt idx="37">
                  <c:v>3.0248130900335801E-2</c:v>
                </c:pt>
                <c:pt idx="38">
                  <c:v>3.5070387750061743E-2</c:v>
                </c:pt>
                <c:pt idx="39">
                  <c:v>3.120833777020552E-2</c:v>
                </c:pt>
                <c:pt idx="40">
                  <c:v>2.682679016675503E-2</c:v>
                </c:pt>
                <c:pt idx="41">
                  <c:v>2.4203784771293649E-2</c:v>
                </c:pt>
                <c:pt idx="42">
                  <c:v>2.4098053977022381E-2</c:v>
                </c:pt>
                <c:pt idx="43">
                  <c:v>2.4523754132153151E-2</c:v>
                </c:pt>
                <c:pt idx="44">
                  <c:v>2.2379504666963371E-2</c:v>
                </c:pt>
                <c:pt idx="45">
                  <c:v>2.104065524243157E-2</c:v>
                </c:pt>
                <c:pt idx="46">
                  <c:v>2.202824012890214E-2</c:v>
                </c:pt>
                <c:pt idx="47">
                  <c:v>2.3321641522021069E-2</c:v>
                </c:pt>
                <c:pt idx="48">
                  <c:v>2.5721900660138009E-2</c:v>
                </c:pt>
                <c:pt idx="49">
                  <c:v>2.4967370312040962E-2</c:v>
                </c:pt>
                <c:pt idx="50">
                  <c:v>2.603335979145837E-2</c:v>
                </c:pt>
                <c:pt idx="51">
                  <c:v>2.5702227757022279E-2</c:v>
                </c:pt>
              </c:numCache>
            </c:numRef>
          </c:yVal>
          <c:smooth val="0"/>
          <c:extLst>
            <c:ext xmlns:c16="http://schemas.microsoft.com/office/drawing/2014/chart" uri="{C3380CC4-5D6E-409C-BE32-E72D297353CC}">
              <c16:uniqueId val="{00000002-096C-4121-9522-6AB7243CCAAE}"/>
            </c:ext>
          </c:extLst>
        </c:ser>
        <c:ser>
          <c:idx val="2"/>
          <c:order val="2"/>
          <c:tx>
            <c:strRef>
              <c:f>Sheet1!$B$15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0:$A$161</c:f>
              <c:numCache>
                <c:formatCode>General</c:formatCode>
                <c:ptCount val="2"/>
                <c:pt idx="0">
                  <c:v>0</c:v>
                </c:pt>
                <c:pt idx="1">
                  <c:v>0.1108820277239114</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5-096C-4121-9522-6AB7243CCAAE}"/>
            </c:ext>
          </c:extLst>
        </c:ser>
        <c:ser>
          <c:idx val="3"/>
          <c:order val="3"/>
          <c:tx>
            <c:strRef>
              <c:f>Sheet1!$B$16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0.1108820277239114</c:v>
                </c:pt>
                <c:pt idx="1">
                  <c:v>0.1108820277239114</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8:$A$169</c:f>
              <c:numCache>
                <c:formatCode>General</c:formatCode>
                <c:ptCount val="2"/>
                <c:pt idx="0">
                  <c:v>0</c:v>
                </c:pt>
                <c:pt idx="1">
                  <c:v>0.11732114474802791</c:v>
                </c:pt>
              </c:numCache>
            </c:numRef>
          </c:xVal>
          <c:yVal>
            <c:numRef>
              <c:f>Sheet1!$B$168:$B$169</c:f>
              <c:numCache>
                <c:formatCode>General</c:formatCode>
                <c:ptCount val="2"/>
                <c:pt idx="0">
                  <c:v>3.1101577984060609E-2</c:v>
                </c:pt>
                <c:pt idx="1">
                  <c:v>3.1101577984060609E-2</c:v>
                </c:pt>
              </c:numCache>
            </c:numRef>
          </c:yVal>
          <c:smooth val="0"/>
          <c:extLst>
            <c:ext xmlns:c16="http://schemas.microsoft.com/office/drawing/2014/chart" uri="{C3380CC4-5D6E-409C-BE32-E72D297353CC}">
              <c16:uniqueId val="{0000000D-096C-4121-9522-6AB7243CCAAE}"/>
            </c:ext>
          </c:extLst>
        </c:ser>
        <c:ser>
          <c:idx val="5"/>
          <c:order val="5"/>
          <c:tx>
            <c:strRef>
              <c:f>Sheet1!$B$17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0.11732114474802791</c:v>
                </c:pt>
                <c:pt idx="1">
                  <c:v>0.11732114474802791</c:v>
                </c:pt>
              </c:numCache>
            </c:numRef>
          </c:xVal>
          <c:yVal>
            <c:numRef>
              <c:f>Sheet1!$B$172:$B$173</c:f>
              <c:numCache>
                <c:formatCode>General</c:formatCode>
                <c:ptCount val="2"/>
                <c:pt idx="0">
                  <c:v>3.1101577984060609E-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6:$A$177</c:f>
              <c:numCache>
                <c:formatCode>General</c:formatCode>
                <c:ptCount val="2"/>
                <c:pt idx="0">
                  <c:v>0</c:v>
                </c:pt>
                <c:pt idx="1">
                  <c:v>0.13512234665834599</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5-096C-4121-9522-6AB7243CCAAE}"/>
            </c:ext>
          </c:extLst>
        </c:ser>
        <c:ser>
          <c:idx val="7"/>
          <c:order val="7"/>
          <c:tx>
            <c:strRef>
              <c:f>Sheet1!$B$17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0:$A$181</c:f>
              <c:numCache>
                <c:formatCode>General</c:formatCode>
                <c:ptCount val="2"/>
                <c:pt idx="0">
                  <c:v>0.13512234665834599</c:v>
                </c:pt>
                <c:pt idx="1">
                  <c:v>0.13512234665834599</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4:$A$238</c:f>
              <c:numCache>
                <c:formatCode>General</c:formatCode>
                <c:ptCount val="55"/>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pt idx="52">
                  <c:v>0.11732114474802791</c:v>
                </c:pt>
                <c:pt idx="53">
                  <c:v>0.1108820277239114</c:v>
                </c:pt>
                <c:pt idx="54">
                  <c:v>0.13512234665834599</c:v>
                </c:pt>
              </c:numCache>
            </c:numRef>
          </c:xVal>
          <c:yVal>
            <c:numRef>
              <c:f>Sheet1!$B$184:$B$238</c:f>
              <c:numCache>
                <c:formatCode>General</c:formatCode>
                <c:ptCount val="55"/>
                <c:pt idx="0">
                  <c:v>3.1620668745252142E-2</c:v>
                </c:pt>
                <c:pt idx="1">
                  <c:v>3.1654790245678951E-2</c:v>
                </c:pt>
                <c:pt idx="2">
                  <c:v>3.2783325344754151E-2</c:v>
                </c:pt>
                <c:pt idx="3">
                  <c:v>3.022688607526958E-2</c:v>
                </c:pt>
                <c:pt idx="4">
                  <c:v>2.8540776744242852E-2</c:v>
                </c:pt>
                <c:pt idx="5">
                  <c:v>2.8198639317480349E-2</c:v>
                </c:pt>
                <c:pt idx="6">
                  <c:v>2.8149354774764782E-2</c:v>
                </c:pt>
                <c:pt idx="7">
                  <c:v>2.8199004366077019E-2</c:v>
                </c:pt>
                <c:pt idx="8">
                  <c:v>3.0157282303857849E-2</c:v>
                </c:pt>
                <c:pt idx="9">
                  <c:v>2.9717490317624731E-2</c:v>
                </c:pt>
                <c:pt idx="10">
                  <c:v>2.880162617160174E-2</c:v>
                </c:pt>
                <c:pt idx="11">
                  <c:v>3.0799476543192809E-2</c:v>
                </c:pt>
                <c:pt idx="12">
                  <c:v>2.8080121278043681E-2</c:v>
                </c:pt>
                <c:pt idx="13">
                  <c:v>2.8247092051713919E-2</c:v>
                </c:pt>
                <c:pt idx="14">
                  <c:v>2.639540124703324E-2</c:v>
                </c:pt>
                <c:pt idx="15">
                  <c:v>1.9220157910636009E-2</c:v>
                </c:pt>
                <c:pt idx="16">
                  <c:v>2.9292926757015069E-2</c:v>
                </c:pt>
                <c:pt idx="17">
                  <c:v>2.9541107656935999E-2</c:v>
                </c:pt>
                <c:pt idx="18">
                  <c:v>3.1154431279754719E-2</c:v>
                </c:pt>
                <c:pt idx="19">
                  <c:v>2.9461129531890291E-2</c:v>
                </c:pt>
                <c:pt idx="20">
                  <c:v>3.0313783713891131E-2</c:v>
                </c:pt>
                <c:pt idx="21">
                  <c:v>3.3508822667282862E-2</c:v>
                </c:pt>
                <c:pt idx="22">
                  <c:v>3.4739165058279807E-2</c:v>
                </c:pt>
                <c:pt idx="23">
                  <c:v>3.3561500120319547E-2</c:v>
                </c:pt>
                <c:pt idx="24">
                  <c:v>3.0961282548418428E-2</c:v>
                </c:pt>
                <c:pt idx="25">
                  <c:v>3.325613118609181E-2</c:v>
                </c:pt>
                <c:pt idx="26">
                  <c:v>3.230935798656305E-2</c:v>
                </c:pt>
                <c:pt idx="27">
                  <c:v>3.0186042242885399E-2</c:v>
                </c:pt>
                <c:pt idx="28">
                  <c:v>2.9826699740302571E-2</c:v>
                </c:pt>
                <c:pt idx="29">
                  <c:v>2.8461825588360749E-2</c:v>
                </c:pt>
                <c:pt idx="30">
                  <c:v>2.6667445839888119E-2</c:v>
                </c:pt>
                <c:pt idx="31">
                  <c:v>2.9333797528733729E-2</c:v>
                </c:pt>
                <c:pt idx="32">
                  <c:v>2.8469462201818171E-2</c:v>
                </c:pt>
                <c:pt idx="33">
                  <c:v>3.1278574864500211E-2</c:v>
                </c:pt>
                <c:pt idx="34">
                  <c:v>3.362517184260494E-2</c:v>
                </c:pt>
                <c:pt idx="35">
                  <c:v>3.1259339751075838E-2</c:v>
                </c:pt>
                <c:pt idx="36">
                  <c:v>3.2466678789921898E-2</c:v>
                </c:pt>
                <c:pt idx="37">
                  <c:v>3.336561461501103E-2</c:v>
                </c:pt>
                <c:pt idx="38">
                  <c:v>3.1897061212580187E-2</c:v>
                </c:pt>
                <c:pt idx="39">
                  <c:v>3.0591232179052279E-2</c:v>
                </c:pt>
                <c:pt idx="40">
                  <c:v>2.6490890509876141E-2</c:v>
                </c:pt>
                <c:pt idx="41">
                  <c:v>2.5005655171483909E-2</c:v>
                </c:pt>
                <c:pt idx="42">
                  <c:v>2.471524594195228E-2</c:v>
                </c:pt>
                <c:pt idx="43">
                  <c:v>2.5740688254943609E-2</c:v>
                </c:pt>
                <c:pt idx="44">
                  <c:v>2.534241769031121E-2</c:v>
                </c:pt>
                <c:pt idx="45">
                  <c:v>2.5785004878787769E-2</c:v>
                </c:pt>
                <c:pt idx="46">
                  <c:v>2.6712805427711591E-2</c:v>
                </c:pt>
                <c:pt idx="47">
                  <c:v>2.6016063432124481E-2</c:v>
                </c:pt>
                <c:pt idx="48">
                  <c:v>2.645901837190287E-2</c:v>
                </c:pt>
                <c:pt idx="49">
                  <c:v>2.253097533810856E-2</c:v>
                </c:pt>
                <c:pt idx="50">
                  <c:v>2.3407974477709061E-2</c:v>
                </c:pt>
                <c:pt idx="51">
                  <c:v>2.5267129597052979E-2</c:v>
                </c:pt>
                <c:pt idx="52">
                  <c:v>3.1101577984060599E-2</c:v>
                </c:pt>
                <c:pt idx="53">
                  <c:v>3.3390590546211449E-2</c:v>
                </c:pt>
                <c:pt idx="54">
                  <c:v>2.47735092998775E-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18089307194123574"/>
          <c:min val="7.5697543274504286E-2"/>
        </c:scaling>
        <c:delete val="0"/>
        <c:axPos val="b"/>
        <c:title>
          <c:tx>
            <c:rich>
              <a:bodyPr rot="0" spcFirstLastPara="1" vertOverflow="ellipsis" vert="horz" wrap="square" anchor="ctr" anchorCtr="1"/>
              <a:lstStyle/>
              <a:p>
                <a:pPr>
                  <a:defRPr sz="800" b="0">
                    <a:solidFill>
                      <a:srgbClr val="575555"/>
                    </a:solidFill>
                    <a:latin typeface="Nexa Bold"/>
                  </a:defRPr>
                </a:pPr>
                <a:r>
                  <a:rPr lang="en-US"/>
                  <a:t>Price Ix vs. Gillette Fusion5</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3084051742229012</c:v>
                </c:pt>
                <c:pt idx="1">
                  <c:v>0.31591786351078627</c:v>
                </c:pt>
                <c:pt idx="2">
                  <c:v>0.32058023334902946</c:v>
                </c:pt>
                <c:pt idx="3">
                  <c:v>0.31551466024025998</c:v>
                </c:pt>
                <c:pt idx="4">
                  <c:v>0.31248983133575575</c:v>
                </c:pt>
                <c:pt idx="5">
                  <c:v>0.31209899175068745</c:v>
                </c:pt>
                <c:pt idx="6">
                  <c:v>0.31243915630070307</c:v>
                </c:pt>
                <c:pt idx="7">
                  <c:v>0.3133619793471481</c:v>
                </c:pt>
                <c:pt idx="8">
                  <c:v>0.31671907756813417</c:v>
                </c:pt>
                <c:pt idx="9">
                  <c:v>0.31082322826247477</c:v>
                </c:pt>
                <c:pt idx="10">
                  <c:v>0.31047212859141043</c:v>
                </c:pt>
                <c:pt idx="11">
                  <c:v>0.30851195946449417</c:v>
                </c:pt>
                <c:pt idx="12">
                  <c:v>0.30743476600274672</c:v>
                </c:pt>
                <c:pt idx="13">
                  <c:v>0.30557876018361524</c:v>
                </c:pt>
                <c:pt idx="14">
                  <c:v>0.30608180521683359</c:v>
                </c:pt>
                <c:pt idx="15">
                  <c:v>0.30537959003209308</c:v>
                </c:pt>
                <c:pt idx="16">
                  <c:v>0.30479028449342177</c:v>
                </c:pt>
                <c:pt idx="17">
                  <c:v>0.30535697989231286</c:v>
                </c:pt>
                <c:pt idx="18">
                  <c:v>0.30758733419811496</c:v>
                </c:pt>
                <c:pt idx="19">
                  <c:v>0.30384356418742708</c:v>
                </c:pt>
                <c:pt idx="20">
                  <c:v>0.30255871389344829</c:v>
                </c:pt>
                <c:pt idx="21">
                  <c:v>0.30131492720175512</c:v>
                </c:pt>
                <c:pt idx="22">
                  <c:v>0.30402402402402401</c:v>
                </c:pt>
                <c:pt idx="23">
                  <c:v>0.3041818228723267</c:v>
                </c:pt>
                <c:pt idx="24">
                  <c:v>0.30380595989557657</c:v>
                </c:pt>
                <c:pt idx="25">
                  <c:v>0.30266464709715091</c:v>
                </c:pt>
                <c:pt idx="26">
                  <c:v>0.30198090992432275</c:v>
                </c:pt>
                <c:pt idx="27">
                  <c:v>0.30261018186645428</c:v>
                </c:pt>
                <c:pt idx="28">
                  <c:v>0.30379475941413642</c:v>
                </c:pt>
                <c:pt idx="29">
                  <c:v>0.30510575091808745</c:v>
                </c:pt>
                <c:pt idx="30">
                  <c:v>0.30547263681592041</c:v>
                </c:pt>
                <c:pt idx="31">
                  <c:v>0.30191808942530629</c:v>
                </c:pt>
                <c:pt idx="32">
                  <c:v>0.30004016835781272</c:v>
                </c:pt>
                <c:pt idx="33">
                  <c:v>0.30140260803244229</c:v>
                </c:pt>
                <c:pt idx="34">
                  <c:v>0.30315931183998879</c:v>
                </c:pt>
                <c:pt idx="35">
                  <c:v>0.30423707530585153</c:v>
                </c:pt>
                <c:pt idx="36">
                  <c:v>0.30339368848493503</c:v>
                </c:pt>
                <c:pt idx="37">
                  <c:v>0.30312142377964563</c:v>
                </c:pt>
                <c:pt idx="38">
                  <c:v>0.30421477922015827</c:v>
                </c:pt>
                <c:pt idx="39">
                  <c:v>0.30360700245050509</c:v>
                </c:pt>
                <c:pt idx="40">
                  <c:v>0.30482776067799466</c:v>
                </c:pt>
                <c:pt idx="41">
                  <c:v>0.30496561046396053</c:v>
                </c:pt>
                <c:pt idx="42">
                  <c:v>0.30474260101509459</c:v>
                </c:pt>
                <c:pt idx="43">
                  <c:v>0.30487658997567685</c:v>
                </c:pt>
                <c:pt idx="44">
                  <c:v>0.30417377406912238</c:v>
                </c:pt>
                <c:pt idx="45">
                  <c:v>0.30429474182711519</c:v>
                </c:pt>
                <c:pt idx="46">
                  <c:v>0.30416987037597953</c:v>
                </c:pt>
                <c:pt idx="47">
                  <c:v>0.30177142857142858</c:v>
                </c:pt>
                <c:pt idx="48">
                  <c:v>0.30034428178139644</c:v>
                </c:pt>
                <c:pt idx="49">
                  <c:v>0.30020553910468561</c:v>
                </c:pt>
                <c:pt idx="50">
                  <c:v>0.30020393921120919</c:v>
                </c:pt>
                <c:pt idx="51">
                  <c:v>0.30029572161037082</c:v>
                </c:pt>
                <c:pt idx="52">
                  <c:v>0.30085731375024921</c:v>
                </c:pt>
                <c:pt idx="53">
                  <c:v>0.30374794069192751</c:v>
                </c:pt>
                <c:pt idx="54">
                  <c:v>0.30475569923731716</c:v>
                </c:pt>
                <c:pt idx="55">
                  <c:v>0.30484411191281596</c:v>
                </c:pt>
                <c:pt idx="56">
                  <c:v>0.29666067320451317</c:v>
                </c:pt>
                <c:pt idx="57">
                  <c:v>0.25400835544515327</c:v>
                </c:pt>
                <c:pt idx="58">
                  <c:v>0.23382400369980466</c:v>
                </c:pt>
                <c:pt idx="59">
                  <c:v>0.23943026116791946</c:v>
                </c:pt>
                <c:pt idx="60">
                  <c:v>0.25369491863085675</c:v>
                </c:pt>
                <c:pt idx="61">
                  <c:v>0.26335839430757868</c:v>
                </c:pt>
                <c:pt idx="62">
                  <c:v>0.24811366501794199</c:v>
                </c:pt>
                <c:pt idx="63">
                  <c:v>0.25331883600138116</c:v>
                </c:pt>
                <c:pt idx="64">
                  <c:v>0.27606841827999473</c:v>
                </c:pt>
                <c:pt idx="65">
                  <c:v>0.28160478817918266</c:v>
                </c:pt>
                <c:pt idx="66">
                  <c:v>0.29229782021117312</c:v>
                </c:pt>
                <c:pt idx="67">
                  <c:v>0.30127414335954045</c:v>
                </c:pt>
                <c:pt idx="68">
                  <c:v>0.30305886879569066</c:v>
                </c:pt>
                <c:pt idx="69">
                  <c:v>0.30492991022208221</c:v>
                </c:pt>
                <c:pt idx="70">
                  <c:v>0.30628978911194849</c:v>
                </c:pt>
                <c:pt idx="71">
                  <c:v>0.30507690665654685</c:v>
                </c:pt>
                <c:pt idx="72">
                  <c:v>0.30607670596048481</c:v>
                </c:pt>
                <c:pt idx="73">
                  <c:v>0.3116373241246056</c:v>
                </c:pt>
                <c:pt idx="74">
                  <c:v>0.31424842998124136</c:v>
                </c:pt>
                <c:pt idx="75">
                  <c:v>0.31320176754871626</c:v>
                </c:pt>
                <c:pt idx="76">
                  <c:v>0.31380953870863448</c:v>
                </c:pt>
                <c:pt idx="77">
                  <c:v>0.32590348409435188</c:v>
                </c:pt>
                <c:pt idx="78">
                  <c:v>0.33061711871301291</c:v>
                </c:pt>
                <c:pt idx="79">
                  <c:v>0.33376024237416513</c:v>
                </c:pt>
                <c:pt idx="80">
                  <c:v>0.334863282523373</c:v>
                </c:pt>
                <c:pt idx="81">
                  <c:v>0.33732775797715603</c:v>
                </c:pt>
                <c:pt idx="82">
                  <c:v>0.3340239432262419</c:v>
                </c:pt>
                <c:pt idx="83">
                  <c:v>0.32813911724353323</c:v>
                </c:pt>
                <c:pt idx="84">
                  <c:v>0.32451377453380215</c:v>
                </c:pt>
                <c:pt idx="85">
                  <c:v>0.3242920313313794</c:v>
                </c:pt>
                <c:pt idx="86">
                  <c:v>0.32834757834757833</c:v>
                </c:pt>
                <c:pt idx="87">
                  <c:v>0.33024565689467972</c:v>
                </c:pt>
                <c:pt idx="88">
                  <c:v>0.33047076978575868</c:v>
                </c:pt>
                <c:pt idx="89">
                  <c:v>0.32960364974033468</c:v>
                </c:pt>
                <c:pt idx="90">
                  <c:v>0.32877782475231143</c:v>
                </c:pt>
                <c:pt idx="91">
                  <c:v>0.33265505668454848</c:v>
                </c:pt>
                <c:pt idx="92">
                  <c:v>0.33383080669232584</c:v>
                </c:pt>
                <c:pt idx="93">
                  <c:v>0.33445095599479496</c:v>
                </c:pt>
                <c:pt idx="94">
                  <c:v>0.33425385899470356</c:v>
                </c:pt>
                <c:pt idx="95">
                  <c:v>0.33302358553829059</c:v>
                </c:pt>
                <c:pt idx="96">
                  <c:v>0.3331230702831911</c:v>
                </c:pt>
                <c:pt idx="97">
                  <c:v>0.33248279672509923</c:v>
                </c:pt>
                <c:pt idx="98">
                  <c:v>0.33184443040565192</c:v>
                </c:pt>
                <c:pt idx="99">
                  <c:v>0.31234357273380736</c:v>
                </c:pt>
                <c:pt idx="100">
                  <c:v>0.30123106937136429</c:v>
                </c:pt>
                <c:pt idx="101">
                  <c:v>0.30056872662328632</c:v>
                </c:pt>
              </c:numCache>
            </c:numRef>
          </c:xVal>
          <c:yVal>
            <c:numRef>
              <c:f>Sheet1!$B$2:$B$103</c:f>
              <c:numCache>
                <c:formatCode>General</c:formatCode>
                <c:ptCount val="102"/>
                <c:pt idx="0">
                  <c:v>3.1549194168607006E-2</c:v>
                </c:pt>
                <c:pt idx="1">
                  <c:v>2.5925076493376501E-2</c:v>
                </c:pt>
                <c:pt idx="2">
                  <c:v>1.9457371147598559E-2</c:v>
                </c:pt>
                <c:pt idx="3">
                  <c:v>2.1005226955186754E-2</c:v>
                </c:pt>
                <c:pt idx="4">
                  <c:v>2.3683174888924508E-2</c:v>
                </c:pt>
                <c:pt idx="5">
                  <c:v>2.4814911692122233E-2</c:v>
                </c:pt>
                <c:pt idx="6">
                  <c:v>2.2966901329024649E-2</c:v>
                </c:pt>
                <c:pt idx="7">
                  <c:v>2.1693356757167159E-2</c:v>
                </c:pt>
                <c:pt idx="8">
                  <c:v>2.508474647577718E-2</c:v>
                </c:pt>
                <c:pt idx="9">
                  <c:v>3.2219360006132694E-2</c:v>
                </c:pt>
                <c:pt idx="10">
                  <c:v>3.3455366889535383E-2</c:v>
                </c:pt>
                <c:pt idx="11">
                  <c:v>3.0774205038558523E-2</c:v>
                </c:pt>
                <c:pt idx="12">
                  <c:v>3.166311843777065E-2</c:v>
                </c:pt>
                <c:pt idx="13">
                  <c:v>2.9573633835338665E-2</c:v>
                </c:pt>
                <c:pt idx="14">
                  <c:v>2.9438294749618857E-2</c:v>
                </c:pt>
                <c:pt idx="15">
                  <c:v>3.2326555355538883E-2</c:v>
                </c:pt>
                <c:pt idx="16">
                  <c:v>3.0454183212358377E-2</c:v>
                </c:pt>
                <c:pt idx="17">
                  <c:v>3.0177244147381318E-2</c:v>
                </c:pt>
                <c:pt idx="18">
                  <c:v>3.0949579617420526E-2</c:v>
                </c:pt>
                <c:pt idx="19">
                  <c:v>3.3044676701229417E-2</c:v>
                </c:pt>
                <c:pt idx="20">
                  <c:v>3.4502368865567047E-2</c:v>
                </c:pt>
                <c:pt idx="21">
                  <c:v>3.8171203781773647E-2</c:v>
                </c:pt>
                <c:pt idx="22">
                  <c:v>3.2633840746857157E-2</c:v>
                </c:pt>
                <c:pt idx="23">
                  <c:v>3.22851825867847E-2</c:v>
                </c:pt>
                <c:pt idx="24">
                  <c:v>3.4293774474369265E-2</c:v>
                </c:pt>
                <c:pt idx="25">
                  <c:v>3.3493331489235549E-2</c:v>
                </c:pt>
                <c:pt idx="26">
                  <c:v>3.2256296982208908E-2</c:v>
                </c:pt>
                <c:pt idx="27">
                  <c:v>3.256327154323236E-2</c:v>
                </c:pt>
                <c:pt idx="28">
                  <c:v>3.0215972855570965E-2</c:v>
                </c:pt>
                <c:pt idx="29">
                  <c:v>2.971323515475446E-2</c:v>
                </c:pt>
                <c:pt idx="30">
                  <c:v>2.9886044202056927E-2</c:v>
                </c:pt>
                <c:pt idx="31">
                  <c:v>3.0113049153545669E-2</c:v>
                </c:pt>
                <c:pt idx="32">
                  <c:v>3.0121682992946059E-2</c:v>
                </c:pt>
                <c:pt idx="33">
                  <c:v>2.8704102443482309E-2</c:v>
                </c:pt>
                <c:pt idx="34">
                  <c:v>3.0602403901330309E-2</c:v>
                </c:pt>
                <c:pt idx="35">
                  <c:v>3.1456536502498786E-2</c:v>
                </c:pt>
                <c:pt idx="36">
                  <c:v>3.1516667937295108E-2</c:v>
                </c:pt>
                <c:pt idx="37">
                  <c:v>3.3226585884057164E-2</c:v>
                </c:pt>
                <c:pt idx="38">
                  <c:v>3.3016326225624587E-2</c:v>
                </c:pt>
                <c:pt idx="39">
                  <c:v>3.0075909553288729E-2</c:v>
                </c:pt>
                <c:pt idx="40">
                  <c:v>3.0308227143147046E-2</c:v>
                </c:pt>
                <c:pt idx="41">
                  <c:v>3.1273537834975489E-2</c:v>
                </c:pt>
                <c:pt idx="42">
                  <c:v>3.0059016900147784E-2</c:v>
                </c:pt>
                <c:pt idx="43">
                  <c:v>3.0573863083611635E-2</c:v>
                </c:pt>
                <c:pt idx="44">
                  <c:v>3.254448153409624E-2</c:v>
                </c:pt>
                <c:pt idx="45">
                  <c:v>3.2420025270644671E-2</c:v>
                </c:pt>
                <c:pt idx="46">
                  <c:v>3.0841270586476857E-2</c:v>
                </c:pt>
                <c:pt idx="47">
                  <c:v>3.4545476528939606E-2</c:v>
                </c:pt>
                <c:pt idx="48">
                  <c:v>3.9378011399146942E-2</c:v>
                </c:pt>
                <c:pt idx="49">
                  <c:v>3.4585845792310457E-2</c:v>
                </c:pt>
                <c:pt idx="50">
                  <c:v>3.6889295123608744E-2</c:v>
                </c:pt>
                <c:pt idx="51">
                  <c:v>3.516974061970235E-2</c:v>
                </c:pt>
                <c:pt idx="52">
                  <c:v>3.3440411726256954E-2</c:v>
                </c:pt>
                <c:pt idx="53">
                  <c:v>3.0775515895011849E-2</c:v>
                </c:pt>
                <c:pt idx="54">
                  <c:v>2.856172806220978E-2</c:v>
                </c:pt>
                <c:pt idx="55">
                  <c:v>2.9260191711765828E-2</c:v>
                </c:pt>
                <c:pt idx="56">
                  <c:v>3.1178692703543048E-2</c:v>
                </c:pt>
                <c:pt idx="57">
                  <c:v>3.7031471681131703E-2</c:v>
                </c:pt>
                <c:pt idx="58">
                  <c:v>3.9909501581123753E-2</c:v>
                </c:pt>
                <c:pt idx="59">
                  <c:v>3.3090443177845791E-2</c:v>
                </c:pt>
                <c:pt idx="60">
                  <c:v>2.0429936026239697E-2</c:v>
                </c:pt>
                <c:pt idx="61">
                  <c:v>1.5942339180034886E-2</c:v>
                </c:pt>
                <c:pt idx="62">
                  <c:v>2.6561543645322632E-2</c:v>
                </c:pt>
                <c:pt idx="63">
                  <c:v>3.5068893654044385E-2</c:v>
                </c:pt>
                <c:pt idx="64">
                  <c:v>3.0967228847484717E-2</c:v>
                </c:pt>
                <c:pt idx="65">
                  <c:v>2.6027056162994167E-2</c:v>
                </c:pt>
                <c:pt idx="66">
                  <c:v>2.5871503741223587E-2</c:v>
                </c:pt>
                <c:pt idx="67">
                  <c:v>2.691260699372984E-2</c:v>
                </c:pt>
                <c:pt idx="68">
                  <c:v>2.5874418970458959E-2</c:v>
                </c:pt>
                <c:pt idx="69">
                  <c:v>2.3193315376484971E-2</c:v>
                </c:pt>
                <c:pt idx="70">
                  <c:v>2.2686657383630057E-2</c:v>
                </c:pt>
                <c:pt idx="71">
                  <c:v>2.6189284143623485E-2</c:v>
                </c:pt>
                <c:pt idx="72">
                  <c:v>2.7336338114147821E-2</c:v>
                </c:pt>
                <c:pt idx="73">
                  <c:v>2.7740990571672709E-2</c:v>
                </c:pt>
                <c:pt idx="74">
                  <c:v>2.8775273119844166E-2</c:v>
                </c:pt>
                <c:pt idx="75">
                  <c:v>2.8510329318482425E-2</c:v>
                </c:pt>
                <c:pt idx="76">
                  <c:v>2.7909474603405617E-2</c:v>
                </c:pt>
                <c:pt idx="77">
                  <c:v>2.354699792786898E-2</c:v>
                </c:pt>
                <c:pt idx="78">
                  <c:v>2.3516397046911525E-2</c:v>
                </c:pt>
                <c:pt idx="79">
                  <c:v>2.2115174941799768E-2</c:v>
                </c:pt>
                <c:pt idx="80">
                  <c:v>2.2268202762568419E-2</c:v>
                </c:pt>
                <c:pt idx="81">
                  <c:v>2.1244426266941792E-2</c:v>
                </c:pt>
                <c:pt idx="82">
                  <c:v>3.1177386289303839E-2</c:v>
                </c:pt>
                <c:pt idx="83">
                  <c:v>2.6306476866990773E-2</c:v>
                </c:pt>
                <c:pt idx="84">
                  <c:v>2.5524833007679375E-2</c:v>
                </c:pt>
                <c:pt idx="85">
                  <c:v>2.6871534411513368E-2</c:v>
                </c:pt>
                <c:pt idx="86">
                  <c:v>2.6338851413823878E-2</c:v>
                </c:pt>
                <c:pt idx="87">
                  <c:v>2.4648701089615546E-2</c:v>
                </c:pt>
                <c:pt idx="88">
                  <c:v>2.6238033764437702E-2</c:v>
                </c:pt>
                <c:pt idx="89">
                  <c:v>3.0191859532939729E-2</c:v>
                </c:pt>
                <c:pt idx="90">
                  <c:v>3.0716851696320817E-2</c:v>
                </c:pt>
                <c:pt idx="91">
                  <c:v>3.1790352756617284E-2</c:v>
                </c:pt>
                <c:pt idx="92">
                  <c:v>2.9789485452214992E-2</c:v>
                </c:pt>
                <c:pt idx="93">
                  <c:v>2.7419432969366012E-2</c:v>
                </c:pt>
                <c:pt idx="94">
                  <c:v>2.5375304588112154E-2</c:v>
                </c:pt>
                <c:pt idx="95">
                  <c:v>2.7271435244645044E-2</c:v>
                </c:pt>
                <c:pt idx="96">
                  <c:v>2.4300725205733124E-2</c:v>
                </c:pt>
                <c:pt idx="97">
                  <c:v>2.5953063658202231E-2</c:v>
                </c:pt>
                <c:pt idx="98">
                  <c:v>2.870484051773789E-2</c:v>
                </c:pt>
                <c:pt idx="99">
                  <c:v>3.0161179689259059E-2</c:v>
                </c:pt>
                <c:pt idx="100">
                  <c:v>3.7558407981539428E-2</c:v>
                </c:pt>
                <c:pt idx="101">
                  <c:v>3.5796970668813106E-2</c:v>
                </c:pt>
              </c:numCache>
            </c:numRef>
          </c:yVal>
          <c:smooth val="0"/>
          <c:extLst>
            <c:ext xmlns:c16="http://schemas.microsoft.com/office/drawing/2014/chart" uri="{C3380CC4-5D6E-409C-BE32-E72D297353CC}">
              <c16:uniqueId val="{00000000-F32D-48B7-BC20-E66FC6253BAD}"/>
            </c:ext>
          </c:extLst>
        </c:ser>
        <c:ser>
          <c:idx val="1"/>
          <c:order val="1"/>
          <c:tx>
            <c:strRef>
              <c:f>Sheet1!$B$10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6:$A$157</c:f>
              <c:numCache>
                <c:formatCode>General</c:formatCode>
                <c:ptCount val="52"/>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numCache>
            </c:numRef>
          </c:xVal>
          <c:yVal>
            <c:numRef>
              <c:f>Sheet1!$B$106:$B$157</c:f>
              <c:numCache>
                <c:formatCode>General</c:formatCode>
                <c:ptCount val="52"/>
                <c:pt idx="0">
                  <c:v>3.3379430772150658E-2</c:v>
                </c:pt>
                <c:pt idx="1">
                  <c:v>3.5297770608354727E-2</c:v>
                </c:pt>
                <c:pt idx="2">
                  <c:v>3.603152077608085E-2</c:v>
                </c:pt>
                <c:pt idx="3">
                  <c:v>3.0978674639028675E-2</c:v>
                </c:pt>
                <c:pt idx="4">
                  <c:v>2.8133515753956471E-2</c:v>
                </c:pt>
                <c:pt idx="5">
                  <c:v>2.7512069607189618E-2</c:v>
                </c:pt>
                <c:pt idx="6">
                  <c:v>2.7535908601076187E-2</c:v>
                </c:pt>
                <c:pt idx="7">
                  <c:v>2.7306049137985969E-2</c:v>
                </c:pt>
                <c:pt idx="8">
                  <c:v>2.6838607545871734E-2</c:v>
                </c:pt>
                <c:pt idx="9">
                  <c:v>2.8577136215520643E-2</c:v>
                </c:pt>
                <c:pt idx="10">
                  <c:v>2.9045708307140341E-2</c:v>
                </c:pt>
                <c:pt idx="11">
                  <c:v>3.0151694267354034E-2</c:v>
                </c:pt>
                <c:pt idx="12">
                  <c:v>3.1278274774940926E-2</c:v>
                </c:pt>
                <c:pt idx="13">
                  <c:v>3.2623144271831599E-2</c:v>
                </c:pt>
                <c:pt idx="14">
                  <c:v>3.2081452766552027E-2</c:v>
                </c:pt>
                <c:pt idx="15">
                  <c:v>2.8476513020004538E-2</c:v>
                </c:pt>
                <c:pt idx="16">
                  <c:v>2.8897929262062423E-2</c:v>
                </c:pt>
                <c:pt idx="17">
                  <c:v>2.8572345272906727E-2</c:v>
                </c:pt>
                <c:pt idx="18">
                  <c:v>2.7582157287634194E-2</c:v>
                </c:pt>
                <c:pt idx="19">
                  <c:v>2.6684207925807661E-2</c:v>
                </c:pt>
                <c:pt idx="20">
                  <c:v>2.5074098168638374E-2</c:v>
                </c:pt>
                <c:pt idx="21">
                  <c:v>3.7053775555914395E-2</c:v>
                </c:pt>
                <c:pt idx="22">
                  <c:v>4.1201839145334811E-2</c:v>
                </c:pt>
                <c:pt idx="23">
                  <c:v>3.952108516249337E-2</c:v>
                </c:pt>
                <c:pt idx="24">
                  <c:v>3.301132678213544E-2</c:v>
                </c:pt>
                <c:pt idx="25">
                  <c:v>3.4672282379825628E-2</c:v>
                </c:pt>
                <c:pt idx="26">
                  <c:v>3.6478521099227869E-2</c:v>
                </c:pt>
                <c:pt idx="27">
                  <c:v>3.1719960612283417E-2</c:v>
                </c:pt>
                <c:pt idx="28">
                  <c:v>2.9844699099281863E-2</c:v>
                </c:pt>
                <c:pt idx="29">
                  <c:v>2.8247037929351546E-2</c:v>
                </c:pt>
                <c:pt idx="30">
                  <c:v>2.3926861689124793E-2</c:v>
                </c:pt>
                <c:pt idx="31">
                  <c:v>2.0770671408149036E-2</c:v>
                </c:pt>
                <c:pt idx="32">
                  <c:v>2.3460558709885785E-2</c:v>
                </c:pt>
                <c:pt idx="33">
                  <c:v>3.0427962862070307E-2</c:v>
                </c:pt>
                <c:pt idx="34">
                  <c:v>3.1037706913624008E-2</c:v>
                </c:pt>
                <c:pt idx="35">
                  <c:v>2.928997264422914E-2</c:v>
                </c:pt>
                <c:pt idx="36">
                  <c:v>2.9697936908540855E-2</c:v>
                </c:pt>
                <c:pt idx="37">
                  <c:v>3.0248130900335804E-2</c:v>
                </c:pt>
                <c:pt idx="38">
                  <c:v>3.5070387750061743E-2</c:v>
                </c:pt>
                <c:pt idx="39">
                  <c:v>3.1208337770205517E-2</c:v>
                </c:pt>
                <c:pt idx="40">
                  <c:v>2.6826790166755026E-2</c:v>
                </c:pt>
                <c:pt idx="41">
                  <c:v>2.4203784771293646E-2</c:v>
                </c:pt>
                <c:pt idx="42">
                  <c:v>2.4098053977022377E-2</c:v>
                </c:pt>
                <c:pt idx="43">
                  <c:v>2.4523754132153155E-2</c:v>
                </c:pt>
                <c:pt idx="44">
                  <c:v>2.2379504666963371E-2</c:v>
                </c:pt>
                <c:pt idx="45">
                  <c:v>2.104065524243157E-2</c:v>
                </c:pt>
                <c:pt idx="46">
                  <c:v>2.2028240128902143E-2</c:v>
                </c:pt>
                <c:pt idx="47">
                  <c:v>2.3321641522021073E-2</c:v>
                </c:pt>
                <c:pt idx="48">
                  <c:v>2.5721900660138006E-2</c:v>
                </c:pt>
                <c:pt idx="49">
                  <c:v>2.4967370312040958E-2</c:v>
                </c:pt>
                <c:pt idx="50">
                  <c:v>2.6033359791458374E-2</c:v>
                </c:pt>
                <c:pt idx="51">
                  <c:v>2.5702227757022279E-2</c:v>
                </c:pt>
              </c:numCache>
            </c:numRef>
          </c:yVal>
          <c:smooth val="0"/>
          <c:extLst>
            <c:ext xmlns:c16="http://schemas.microsoft.com/office/drawing/2014/chart" uri="{C3380CC4-5D6E-409C-BE32-E72D297353CC}">
              <c16:uniqueId val="{00000002-F32D-48B7-BC20-E66FC6253BAD}"/>
            </c:ext>
          </c:extLst>
        </c:ser>
        <c:ser>
          <c:idx val="2"/>
          <c:order val="2"/>
          <c:tx>
            <c:strRef>
              <c:f>Sheet1!$B$159</c:f>
              <c:strCache>
                <c:ptCount val="1"/>
                <c:pt idx="0">
                  <c:v>Custom Linep3yQ</c:v>
                </c:pt>
              </c:strCache>
            </c:strRef>
          </c:tx>
          <c:spPr>
            <a:ln w="19050" cap="rnd">
              <a:solidFill>
                <a:srgbClr val="C00000"/>
              </a:solidFill>
              <a:prstDash val="sysDot"/>
              <a:round/>
            </a:ln>
            <a:effectLst/>
          </c:spPr>
          <c:marker>
            <c:symbol val="none"/>
          </c:marker>
          <c:xVal>
            <c:numRef>
              <c:f>Sheet1!$A$160:$A$161</c:f>
              <c:numCache>
                <c:formatCode>General</c:formatCode>
                <c:ptCount val="2"/>
                <c:pt idx="0">
                  <c:v>0</c:v>
                </c:pt>
                <c:pt idx="1">
                  <c:v>0.27575744047645689</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3-F32D-48B7-BC20-E66FC6253BAD}"/>
            </c:ext>
          </c:extLst>
        </c:ser>
        <c:ser>
          <c:idx val="3"/>
          <c:order val="3"/>
          <c:tx>
            <c:strRef>
              <c:f>Sheet1!$B$16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0.27575744047645689</c:v>
                </c:pt>
                <c:pt idx="1">
                  <c:v>0.27575744047645689</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8:$A$169</c:f>
              <c:numCache>
                <c:formatCode>General</c:formatCode>
                <c:ptCount val="2"/>
                <c:pt idx="0">
                  <c:v>0</c:v>
                </c:pt>
                <c:pt idx="1">
                  <c:v>0.28987004975079905</c:v>
                </c:pt>
              </c:numCache>
            </c:numRef>
          </c:xVal>
          <c:yVal>
            <c:numRef>
              <c:f>Sheet1!$B$168:$B$169</c:f>
              <c:numCache>
                <c:formatCode>General</c:formatCode>
                <c:ptCount val="2"/>
                <c:pt idx="0">
                  <c:v>3.1101577984060606E-2</c:v>
                </c:pt>
                <c:pt idx="1">
                  <c:v>3.1101577984060606E-2</c:v>
                </c:pt>
              </c:numCache>
            </c:numRef>
          </c:yVal>
          <c:smooth val="0"/>
          <c:extLst>
            <c:ext xmlns:c16="http://schemas.microsoft.com/office/drawing/2014/chart" uri="{C3380CC4-5D6E-409C-BE32-E72D297353CC}">
              <c16:uniqueId val="{0000000A-F32D-48B7-BC20-E66FC6253BAD}"/>
            </c:ext>
          </c:extLst>
        </c:ser>
        <c:ser>
          <c:idx val="5"/>
          <c:order val="5"/>
          <c:tx>
            <c:strRef>
              <c:f>Sheet1!$B$17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0.28987004975079905</c:v>
                </c:pt>
                <c:pt idx="1">
                  <c:v>0.28987004975079905</c:v>
                </c:pt>
              </c:numCache>
            </c:numRef>
          </c:xVal>
          <c:yVal>
            <c:numRef>
              <c:f>Sheet1!$B$172:$B$173</c:f>
              <c:numCache>
                <c:formatCode>General</c:formatCode>
                <c:ptCount val="2"/>
                <c:pt idx="0">
                  <c:v>3.1101577984060606E-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6:$A$177</c:f>
              <c:numCache>
                <c:formatCode>General</c:formatCode>
                <c:ptCount val="2"/>
                <c:pt idx="0">
                  <c:v>0</c:v>
                </c:pt>
                <c:pt idx="1">
                  <c:v>0.32888493428125432</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1-F32D-48B7-BC20-E66FC6253BAD}"/>
            </c:ext>
          </c:extLst>
        </c:ser>
        <c:ser>
          <c:idx val="7"/>
          <c:order val="7"/>
          <c:tx>
            <c:strRef>
              <c:f>Sheet1!$B$17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0:$A$181</c:f>
              <c:numCache>
                <c:formatCode>General</c:formatCode>
                <c:ptCount val="2"/>
                <c:pt idx="0">
                  <c:v>0.32888493428125432</c:v>
                </c:pt>
                <c:pt idx="1">
                  <c:v>0.32888493428125432</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4:$A$238</c:f>
              <c:numCache>
                <c:formatCode>General</c:formatCode>
                <c:ptCount val="55"/>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pt idx="52">
                  <c:v>0.28987004975079905</c:v>
                </c:pt>
                <c:pt idx="53">
                  <c:v>0.27575744047645689</c:v>
                </c:pt>
                <c:pt idx="54">
                  <c:v>0.32888493428125432</c:v>
                </c:pt>
              </c:numCache>
            </c:numRef>
          </c:xVal>
          <c:yVal>
            <c:numRef>
              <c:f>Sheet1!$B$184:$B$238</c:f>
              <c:numCache>
                <c:formatCode>General</c:formatCode>
                <c:ptCount val="55"/>
                <c:pt idx="0">
                  <c:v>2.9413873016704839E-2</c:v>
                </c:pt>
                <c:pt idx="1">
                  <c:v>2.9896344890080709E-2</c:v>
                </c:pt>
                <c:pt idx="2">
                  <c:v>3.0155656486461964E-2</c:v>
                </c:pt>
                <c:pt idx="3">
                  <c:v>2.7109900331363727E-2</c:v>
                </c:pt>
                <c:pt idx="4">
                  <c:v>2.4371775225560388E-2</c:v>
                </c:pt>
                <c:pt idx="5">
                  <c:v>2.4094268404047922E-2</c:v>
                </c:pt>
                <c:pt idx="6">
                  <c:v>2.4322183284519114E-2</c:v>
                </c:pt>
                <c:pt idx="7">
                  <c:v>2.5263903460272262E-2</c:v>
                </c:pt>
                <c:pt idx="8">
                  <c:v>2.7533717749061021E-2</c:v>
                </c:pt>
                <c:pt idx="9">
                  <c:v>2.9136059572005948E-2</c:v>
                </c:pt>
                <c:pt idx="10">
                  <c:v>2.8439725189245424E-2</c:v>
                </c:pt>
                <c:pt idx="11">
                  <c:v>2.8481575446516888E-2</c:v>
                </c:pt>
                <c:pt idx="12">
                  <c:v>3.0108594349578348E-2</c:v>
                </c:pt>
                <c:pt idx="13">
                  <c:v>3.169054387055209E-2</c:v>
                </c:pt>
                <c:pt idx="14">
                  <c:v>3.1465934595702259E-2</c:v>
                </c:pt>
                <c:pt idx="15">
                  <c:v>3.1477667841337743E-2</c:v>
                </c:pt>
                <c:pt idx="16">
                  <c:v>3.1573121681829512E-2</c:v>
                </c:pt>
                <c:pt idx="17">
                  <c:v>3.1532924296196564E-2</c:v>
                </c:pt>
                <c:pt idx="18">
                  <c:v>3.0515660900336583E-2</c:v>
                </c:pt>
                <c:pt idx="19">
                  <c:v>3.0211789143868836E-2</c:v>
                </c:pt>
                <c:pt idx="20">
                  <c:v>2.8955614795748236E-2</c:v>
                </c:pt>
                <c:pt idx="21">
                  <c:v>3.2772131418724967E-2</c:v>
                </c:pt>
                <c:pt idx="22">
                  <c:v>3.3542665870490845E-2</c:v>
                </c:pt>
                <c:pt idx="23">
                  <c:v>3.3435184307609174E-2</c:v>
                </c:pt>
                <c:pt idx="24">
                  <c:v>3.268271460365052E-2</c:v>
                </c:pt>
                <c:pt idx="25">
                  <c:v>3.3870059534782497E-2</c:v>
                </c:pt>
                <c:pt idx="26">
                  <c:v>3.3073079926514877E-2</c:v>
                </c:pt>
                <c:pt idx="27">
                  <c:v>3.1808643842456727E-2</c:v>
                </c:pt>
                <c:pt idx="28">
                  <c:v>3.0502176751221188E-2</c:v>
                </c:pt>
                <c:pt idx="29">
                  <c:v>2.7906678470255915E-2</c:v>
                </c:pt>
                <c:pt idx="30">
                  <c:v>2.5033266393526828E-2</c:v>
                </c:pt>
                <c:pt idx="31">
                  <c:v>2.630903103630991E-2</c:v>
                </c:pt>
                <c:pt idx="32">
                  <c:v>2.8693045313762239E-2</c:v>
                </c:pt>
                <c:pt idx="33">
                  <c:v>3.2596808075387743E-2</c:v>
                </c:pt>
                <c:pt idx="34">
                  <c:v>3.3462836223474769E-2</c:v>
                </c:pt>
                <c:pt idx="35">
                  <c:v>3.1780988069129081E-2</c:v>
                </c:pt>
                <c:pt idx="36">
                  <c:v>3.2997078119396075E-2</c:v>
                </c:pt>
                <c:pt idx="37">
                  <c:v>3.4241810296995578E-2</c:v>
                </c:pt>
                <c:pt idx="38">
                  <c:v>3.5259393566231922E-2</c:v>
                </c:pt>
                <c:pt idx="39">
                  <c:v>3.2524924643797831E-2</c:v>
                </c:pt>
                <c:pt idx="40">
                  <c:v>2.8308242375685959E-2</c:v>
                </c:pt>
                <c:pt idx="41">
                  <c:v>2.54404048951909E-2</c:v>
                </c:pt>
                <c:pt idx="42">
                  <c:v>2.3287513921568817E-2</c:v>
                </c:pt>
                <c:pt idx="43">
                  <c:v>2.3365554652546534E-2</c:v>
                </c:pt>
                <c:pt idx="44">
                  <c:v>2.3054756675168077E-2</c:v>
                </c:pt>
                <c:pt idx="45">
                  <c:v>2.3566114628330095E-2</c:v>
                </c:pt>
                <c:pt idx="46">
                  <c:v>2.5888630394799238E-2</c:v>
                </c:pt>
                <c:pt idx="47">
                  <c:v>2.6265547596405793E-2</c:v>
                </c:pt>
                <c:pt idx="48">
                  <c:v>2.7412822111043234E-2</c:v>
                </c:pt>
                <c:pt idx="49">
                  <c:v>2.5962622488181153E-2</c:v>
                </c:pt>
                <c:pt idx="50">
                  <c:v>2.4525712064247307E-2</c:v>
                </c:pt>
                <c:pt idx="51">
                  <c:v>2.4473274634488791E-2</c:v>
                </c:pt>
                <c:pt idx="52">
                  <c:v>3.1101577984060602E-2</c:v>
                </c:pt>
                <c:pt idx="53">
                  <c:v>3.3390590546211449E-2</c:v>
                </c:pt>
                <c:pt idx="54">
                  <c:v>2.4773509299877497E-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40737801608579088"/>
          <c:min val="0.18705920295984374"/>
        </c:scaling>
        <c:delete val="0"/>
        <c:axPos val="b"/>
        <c:title>
          <c:tx>
            <c:rich>
              <a:bodyPr rot="0" spcFirstLastPara="1" vertOverflow="ellipsis" vert="horz" wrap="square" anchor="ctr" anchorCtr="1"/>
              <a:lstStyle/>
              <a:p>
                <a:pPr>
                  <a:defRPr sz="800" b="0">
                    <a:latin typeface="Nexa Bold"/>
                  </a:defRPr>
                </a:pPr>
                <a:r>
                  <a:rPr lang="en-US"/>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1291069944164441</c:v>
                </c:pt>
                <c:pt idx="1">
                  <c:v>0.13485892486555889</c:v>
                </c:pt>
                <c:pt idx="2">
                  <c:v>0.13361697278764331</c:v>
                </c:pt>
                <c:pt idx="3">
                  <c:v>0.13181455947245191</c:v>
                </c:pt>
                <c:pt idx="4">
                  <c:v>0.13079849733141291</c:v>
                </c:pt>
                <c:pt idx="5">
                  <c:v>0.12786527339341361</c:v>
                </c:pt>
                <c:pt idx="6">
                  <c:v>0.13389772495720559</c:v>
                </c:pt>
                <c:pt idx="7">
                  <c:v>0.1359519354250221</c:v>
                </c:pt>
                <c:pt idx="8">
                  <c:v>0.13408395448492219</c:v>
                </c:pt>
                <c:pt idx="9">
                  <c:v>0.1272173036352085</c:v>
                </c:pt>
                <c:pt idx="10">
                  <c:v>0.12580154817273331</c:v>
                </c:pt>
                <c:pt idx="11">
                  <c:v>0.1247833670603628</c:v>
                </c:pt>
                <c:pt idx="12">
                  <c:v>0.12616612542700109</c:v>
                </c:pt>
                <c:pt idx="13">
                  <c:v>0.13426073846412021</c:v>
                </c:pt>
                <c:pt idx="14">
                  <c:v>0.13040345544745011</c:v>
                </c:pt>
                <c:pt idx="15">
                  <c:v>0.12568196098787579</c:v>
                </c:pt>
                <c:pt idx="16">
                  <c:v>0.1284543866213313</c:v>
                </c:pt>
                <c:pt idx="17">
                  <c:v>0.13252000199740169</c:v>
                </c:pt>
                <c:pt idx="18">
                  <c:v>0.12612196270786419</c:v>
                </c:pt>
                <c:pt idx="19">
                  <c:v>0.13496886950214251</c:v>
                </c:pt>
                <c:pt idx="20">
                  <c:v>0.13064933940560819</c:v>
                </c:pt>
                <c:pt idx="21">
                  <c:v>0.12635635491031241</c:v>
                </c:pt>
                <c:pt idx="22">
                  <c:v>0.12863609693980929</c:v>
                </c:pt>
                <c:pt idx="23">
                  <c:v>0.13116494310893009</c:v>
                </c:pt>
                <c:pt idx="24">
                  <c:v>0.1278058186678292</c:v>
                </c:pt>
                <c:pt idx="25">
                  <c:v>0.1235932293079324</c:v>
                </c:pt>
                <c:pt idx="26">
                  <c:v>0.12290934252239009</c:v>
                </c:pt>
                <c:pt idx="27">
                  <c:v>0.12109503765009599</c:v>
                </c:pt>
                <c:pt idx="28">
                  <c:v>0.12207135397276341</c:v>
                </c:pt>
                <c:pt idx="29">
                  <c:v>0.1263122981136704</c:v>
                </c:pt>
                <c:pt idx="30">
                  <c:v>0.1263263635992006</c:v>
                </c:pt>
                <c:pt idx="31">
                  <c:v>0.12476889875077329</c:v>
                </c:pt>
                <c:pt idx="32">
                  <c:v>0.12674353123399981</c:v>
                </c:pt>
                <c:pt idx="33">
                  <c:v>0.12588695742723971</c:v>
                </c:pt>
                <c:pt idx="34">
                  <c:v>0.12390000002667199</c:v>
                </c:pt>
                <c:pt idx="35">
                  <c:v>0.12440850519118039</c:v>
                </c:pt>
                <c:pt idx="36">
                  <c:v>0.12336288941275771</c:v>
                </c:pt>
                <c:pt idx="37">
                  <c:v>0.1236579395008299</c:v>
                </c:pt>
                <c:pt idx="38">
                  <c:v>0.1244360084590832</c:v>
                </c:pt>
                <c:pt idx="39">
                  <c:v>0.12224083915887329</c:v>
                </c:pt>
                <c:pt idx="40">
                  <c:v>0.1219327444047168</c:v>
                </c:pt>
                <c:pt idx="41">
                  <c:v>0.1250560323566518</c:v>
                </c:pt>
                <c:pt idx="42">
                  <c:v>0.12745512740440279</c:v>
                </c:pt>
                <c:pt idx="43">
                  <c:v>0.1211984894858895</c:v>
                </c:pt>
                <c:pt idx="44">
                  <c:v>0.1258670226690102</c:v>
                </c:pt>
                <c:pt idx="45">
                  <c:v>0.1272339848348821</c:v>
                </c:pt>
                <c:pt idx="46">
                  <c:v>0.13490346412193621</c:v>
                </c:pt>
                <c:pt idx="47">
                  <c:v>0.1232399985423943</c:v>
                </c:pt>
                <c:pt idx="48">
                  <c:v>0.12311641114157899</c:v>
                </c:pt>
                <c:pt idx="49">
                  <c:v>0.1234350759255986</c:v>
                </c:pt>
                <c:pt idx="50">
                  <c:v>0.12419744604278141</c:v>
                </c:pt>
                <c:pt idx="51">
                  <c:v>0.13145508336915421</c:v>
                </c:pt>
                <c:pt idx="52">
                  <c:v>0.13109930113357529</c:v>
                </c:pt>
                <c:pt idx="53">
                  <c:v>0.13568928560863899</c:v>
                </c:pt>
                <c:pt idx="54">
                  <c:v>0.1285210371531505</c:v>
                </c:pt>
                <c:pt idx="55">
                  <c:v>0.1300753516373136</c:v>
                </c:pt>
                <c:pt idx="56">
                  <c:v>0.12489749950473671</c:v>
                </c:pt>
                <c:pt idx="57">
                  <c:v>0.10266521645136149</c:v>
                </c:pt>
                <c:pt idx="58">
                  <c:v>9.4621929093130358E-2</c:v>
                </c:pt>
                <c:pt idx="59">
                  <c:v>9.8212612965823731E-2</c:v>
                </c:pt>
                <c:pt idx="60">
                  <c:v>0.1102654339127445</c:v>
                </c:pt>
                <c:pt idx="61">
                  <c:v>0.1086326326560431</c:v>
                </c:pt>
                <c:pt idx="62">
                  <c:v>0.10273100071317991</c:v>
                </c:pt>
                <c:pt idx="63">
                  <c:v>0.1056131313298932</c:v>
                </c:pt>
                <c:pt idx="64">
                  <c:v>0.116037952360732</c:v>
                </c:pt>
                <c:pt idx="65">
                  <c:v>0.13065683342069531</c:v>
                </c:pt>
                <c:pt idx="66">
                  <c:v>0.132712182958446</c:v>
                </c:pt>
                <c:pt idx="67">
                  <c:v>0.12498087731066</c:v>
                </c:pt>
                <c:pt idx="68">
                  <c:v>0.1318623648264734</c:v>
                </c:pt>
                <c:pt idx="69">
                  <c:v>0.13405085209231629</c:v>
                </c:pt>
                <c:pt idx="70">
                  <c:v>0.12663942767242409</c:v>
                </c:pt>
                <c:pt idx="71">
                  <c:v>0.13715997078444109</c:v>
                </c:pt>
                <c:pt idx="72">
                  <c:v>0.1312699287114284</c:v>
                </c:pt>
                <c:pt idx="73">
                  <c:v>0.1290474255800157</c:v>
                </c:pt>
                <c:pt idx="74">
                  <c:v>0.12976627424972709</c:v>
                </c:pt>
                <c:pt idx="75">
                  <c:v>0.12686829869724861</c:v>
                </c:pt>
                <c:pt idx="76">
                  <c:v>0.1253623579280761</c:v>
                </c:pt>
                <c:pt idx="77">
                  <c:v>0.12968156222074531</c:v>
                </c:pt>
                <c:pt idx="78">
                  <c:v>0.12750329032649099</c:v>
                </c:pt>
                <c:pt idx="79">
                  <c:v>0.12461050546445129</c:v>
                </c:pt>
                <c:pt idx="80">
                  <c:v>0.12900335189603049</c:v>
                </c:pt>
                <c:pt idx="81">
                  <c:v>0.12741746962889991</c:v>
                </c:pt>
                <c:pt idx="82">
                  <c:v>0.1227246355993528</c:v>
                </c:pt>
                <c:pt idx="83">
                  <c:v>0.12325497363003669</c:v>
                </c:pt>
                <c:pt idx="84">
                  <c:v>0.1237777050026681</c:v>
                </c:pt>
                <c:pt idx="85">
                  <c:v>0.1227618684932686</c:v>
                </c:pt>
                <c:pt idx="86">
                  <c:v>0.12625273778634091</c:v>
                </c:pt>
                <c:pt idx="87">
                  <c:v>0.12848401925218161</c:v>
                </c:pt>
                <c:pt idx="88">
                  <c:v>0.12808991008793849</c:v>
                </c:pt>
                <c:pt idx="89">
                  <c:v>0.12669599383578639</c:v>
                </c:pt>
                <c:pt idx="90">
                  <c:v>0.128457244567205</c:v>
                </c:pt>
                <c:pt idx="91">
                  <c:v>0.1287495738807907</c:v>
                </c:pt>
                <c:pt idx="92">
                  <c:v>0.12753778198649329</c:v>
                </c:pt>
                <c:pt idx="93">
                  <c:v>0.12858384689357691</c:v>
                </c:pt>
                <c:pt idx="94">
                  <c:v>0.13053873342212541</c:v>
                </c:pt>
                <c:pt idx="95">
                  <c:v>0.1283681251237693</c:v>
                </c:pt>
                <c:pt idx="96">
                  <c:v>0.12712219330013799</c:v>
                </c:pt>
                <c:pt idx="97">
                  <c:v>0.12537888942730019</c:v>
                </c:pt>
                <c:pt idx="98">
                  <c:v>0.12745921704595151</c:v>
                </c:pt>
                <c:pt idx="99">
                  <c:v>0.1212266665697815</c:v>
                </c:pt>
                <c:pt idx="100">
                  <c:v>0.1141728668578047</c:v>
                </c:pt>
                <c:pt idx="101">
                  <c:v>0.115957494325048</c:v>
                </c:pt>
              </c:numCache>
            </c:numRef>
          </c:xVal>
          <c:yVal>
            <c:numRef>
              <c:f>Sheet1!$B$2:$B$103</c:f>
              <c:numCache>
                <c:formatCode>General</c:formatCode>
                <c:ptCount val="102"/>
                <c:pt idx="0">
                  <c:v>3.1549194168607013E-2</c:v>
                </c:pt>
                <c:pt idx="1">
                  <c:v>2.5925076493376501E-2</c:v>
                </c:pt>
                <c:pt idx="2">
                  <c:v>1.9457371147598559E-2</c:v>
                </c:pt>
                <c:pt idx="3">
                  <c:v>2.1005226955186751E-2</c:v>
                </c:pt>
                <c:pt idx="4">
                  <c:v>2.3683174888924512E-2</c:v>
                </c:pt>
                <c:pt idx="5">
                  <c:v>2.481491169212223E-2</c:v>
                </c:pt>
                <c:pt idx="6">
                  <c:v>2.2966901329024649E-2</c:v>
                </c:pt>
                <c:pt idx="7">
                  <c:v>2.1693356757167159E-2</c:v>
                </c:pt>
                <c:pt idx="8">
                  <c:v>2.508474647577718E-2</c:v>
                </c:pt>
                <c:pt idx="9">
                  <c:v>3.2219360006132687E-2</c:v>
                </c:pt>
                <c:pt idx="10">
                  <c:v>3.3455366889535383E-2</c:v>
                </c:pt>
                <c:pt idx="11">
                  <c:v>3.077420503855852E-2</c:v>
                </c:pt>
                <c:pt idx="12">
                  <c:v>3.166311843777065E-2</c:v>
                </c:pt>
                <c:pt idx="13">
                  <c:v>2.9573633835338661E-2</c:v>
                </c:pt>
                <c:pt idx="14">
                  <c:v>2.943829474961886E-2</c:v>
                </c:pt>
                <c:pt idx="15">
                  <c:v>3.2326555355538883E-2</c:v>
                </c:pt>
                <c:pt idx="16">
                  <c:v>3.045418321235838E-2</c:v>
                </c:pt>
                <c:pt idx="17">
                  <c:v>3.0177244147381321E-2</c:v>
                </c:pt>
                <c:pt idx="18">
                  <c:v>3.0949579617420529E-2</c:v>
                </c:pt>
                <c:pt idx="19">
                  <c:v>3.3044676701229417E-2</c:v>
                </c:pt>
                <c:pt idx="20">
                  <c:v>3.4502368865567047E-2</c:v>
                </c:pt>
                <c:pt idx="21">
                  <c:v>3.8171203781773647E-2</c:v>
                </c:pt>
                <c:pt idx="22">
                  <c:v>3.2633840746857157E-2</c:v>
                </c:pt>
                <c:pt idx="23">
                  <c:v>3.22851825867847E-2</c:v>
                </c:pt>
                <c:pt idx="24">
                  <c:v>3.4293774474369272E-2</c:v>
                </c:pt>
                <c:pt idx="25">
                  <c:v>3.3493331489235549E-2</c:v>
                </c:pt>
                <c:pt idx="26">
                  <c:v>3.2256296982208908E-2</c:v>
                </c:pt>
                <c:pt idx="27">
                  <c:v>3.256327154323236E-2</c:v>
                </c:pt>
                <c:pt idx="28">
                  <c:v>3.0215972855570969E-2</c:v>
                </c:pt>
                <c:pt idx="29">
                  <c:v>2.971323515475446E-2</c:v>
                </c:pt>
                <c:pt idx="30">
                  <c:v>2.9886044202056931E-2</c:v>
                </c:pt>
                <c:pt idx="31">
                  <c:v>3.0113049153545669E-2</c:v>
                </c:pt>
                <c:pt idx="32">
                  <c:v>3.0121682992946059E-2</c:v>
                </c:pt>
                <c:pt idx="33">
                  <c:v>2.8704102443482309E-2</c:v>
                </c:pt>
                <c:pt idx="34">
                  <c:v>3.0602403901330309E-2</c:v>
                </c:pt>
                <c:pt idx="35">
                  <c:v>3.1456536502498793E-2</c:v>
                </c:pt>
                <c:pt idx="36">
                  <c:v>3.1516667937295108E-2</c:v>
                </c:pt>
                <c:pt idx="37">
                  <c:v>3.3226585884057157E-2</c:v>
                </c:pt>
                <c:pt idx="38">
                  <c:v>3.3016326225624587E-2</c:v>
                </c:pt>
                <c:pt idx="39">
                  <c:v>3.0075909553288729E-2</c:v>
                </c:pt>
                <c:pt idx="40">
                  <c:v>3.030822714314705E-2</c:v>
                </c:pt>
                <c:pt idx="41">
                  <c:v>3.1273537834975489E-2</c:v>
                </c:pt>
                <c:pt idx="42">
                  <c:v>3.005901690014778E-2</c:v>
                </c:pt>
                <c:pt idx="43">
                  <c:v>3.0573863083611631E-2</c:v>
                </c:pt>
                <c:pt idx="44">
                  <c:v>3.254448153409624E-2</c:v>
                </c:pt>
                <c:pt idx="45">
                  <c:v>3.2420025270644671E-2</c:v>
                </c:pt>
                <c:pt idx="46">
                  <c:v>3.0841270586476861E-2</c:v>
                </c:pt>
                <c:pt idx="47">
                  <c:v>3.4545476528939613E-2</c:v>
                </c:pt>
                <c:pt idx="48">
                  <c:v>3.9378011399146942E-2</c:v>
                </c:pt>
                <c:pt idx="49">
                  <c:v>3.4585845792310457E-2</c:v>
                </c:pt>
                <c:pt idx="50">
                  <c:v>3.6889295123608737E-2</c:v>
                </c:pt>
                <c:pt idx="51">
                  <c:v>3.516974061970235E-2</c:v>
                </c:pt>
                <c:pt idx="52">
                  <c:v>3.3440411726256947E-2</c:v>
                </c:pt>
                <c:pt idx="53">
                  <c:v>3.0775515895011849E-2</c:v>
                </c:pt>
                <c:pt idx="54">
                  <c:v>2.856172806220978E-2</c:v>
                </c:pt>
                <c:pt idx="55">
                  <c:v>2.9260191711765832E-2</c:v>
                </c:pt>
                <c:pt idx="56">
                  <c:v>3.1178692703543051E-2</c:v>
                </c:pt>
                <c:pt idx="57">
                  <c:v>3.7031471681131703E-2</c:v>
                </c:pt>
                <c:pt idx="58">
                  <c:v>3.9909501581123753E-2</c:v>
                </c:pt>
                <c:pt idx="59">
                  <c:v>3.3090443177845791E-2</c:v>
                </c:pt>
                <c:pt idx="60">
                  <c:v>2.0429936026239701E-2</c:v>
                </c:pt>
                <c:pt idx="61">
                  <c:v>1.594233918003489E-2</c:v>
                </c:pt>
                <c:pt idx="62">
                  <c:v>2.6561543645322629E-2</c:v>
                </c:pt>
                <c:pt idx="63">
                  <c:v>3.5068893654044378E-2</c:v>
                </c:pt>
                <c:pt idx="64">
                  <c:v>3.0967228847484721E-2</c:v>
                </c:pt>
                <c:pt idx="65">
                  <c:v>2.602705616299417E-2</c:v>
                </c:pt>
                <c:pt idx="66">
                  <c:v>2.587150374122359E-2</c:v>
                </c:pt>
                <c:pt idx="67">
                  <c:v>2.691260699372984E-2</c:v>
                </c:pt>
                <c:pt idx="68">
                  <c:v>2.5874418970458959E-2</c:v>
                </c:pt>
                <c:pt idx="69">
                  <c:v>2.3193315376484971E-2</c:v>
                </c:pt>
                <c:pt idx="70">
                  <c:v>2.2686657383630061E-2</c:v>
                </c:pt>
                <c:pt idx="71">
                  <c:v>2.6189284143623481E-2</c:v>
                </c:pt>
                <c:pt idx="72">
                  <c:v>2.7336338114147821E-2</c:v>
                </c:pt>
                <c:pt idx="73">
                  <c:v>2.7740990571672709E-2</c:v>
                </c:pt>
                <c:pt idx="74">
                  <c:v>2.877527311984417E-2</c:v>
                </c:pt>
                <c:pt idx="75">
                  <c:v>2.8510329318482429E-2</c:v>
                </c:pt>
                <c:pt idx="76">
                  <c:v>2.7909474603405621E-2</c:v>
                </c:pt>
                <c:pt idx="77">
                  <c:v>2.354699792786898E-2</c:v>
                </c:pt>
                <c:pt idx="78">
                  <c:v>2.3516397046911521E-2</c:v>
                </c:pt>
                <c:pt idx="79">
                  <c:v>2.2115174941799771E-2</c:v>
                </c:pt>
                <c:pt idx="80">
                  <c:v>2.2268202762568419E-2</c:v>
                </c:pt>
                <c:pt idx="81">
                  <c:v>2.1244426266941788E-2</c:v>
                </c:pt>
                <c:pt idx="82">
                  <c:v>3.1177386289303839E-2</c:v>
                </c:pt>
                <c:pt idx="83">
                  <c:v>2.630647686699077E-2</c:v>
                </c:pt>
                <c:pt idx="84">
                  <c:v>2.5524833007679371E-2</c:v>
                </c:pt>
                <c:pt idx="85">
                  <c:v>2.6871534411513371E-2</c:v>
                </c:pt>
                <c:pt idx="86">
                  <c:v>2.6338851413823881E-2</c:v>
                </c:pt>
                <c:pt idx="87">
                  <c:v>2.464870108961555E-2</c:v>
                </c:pt>
                <c:pt idx="88">
                  <c:v>2.6238033764437702E-2</c:v>
                </c:pt>
                <c:pt idx="89">
                  <c:v>3.0191859532939729E-2</c:v>
                </c:pt>
                <c:pt idx="90">
                  <c:v>3.071685169632082E-2</c:v>
                </c:pt>
                <c:pt idx="91">
                  <c:v>3.1790352756617277E-2</c:v>
                </c:pt>
                <c:pt idx="92">
                  <c:v>2.9789485452214989E-2</c:v>
                </c:pt>
                <c:pt idx="93">
                  <c:v>2.7419432969366012E-2</c:v>
                </c:pt>
                <c:pt idx="94">
                  <c:v>2.5375304588112151E-2</c:v>
                </c:pt>
                <c:pt idx="95">
                  <c:v>2.727143524464504E-2</c:v>
                </c:pt>
                <c:pt idx="96">
                  <c:v>2.430072520573312E-2</c:v>
                </c:pt>
                <c:pt idx="97">
                  <c:v>2.5953063658202231E-2</c:v>
                </c:pt>
                <c:pt idx="98">
                  <c:v>2.870484051773789E-2</c:v>
                </c:pt>
                <c:pt idx="99">
                  <c:v>3.0161179689259059E-2</c:v>
                </c:pt>
                <c:pt idx="100">
                  <c:v>3.7558407981539428E-2</c:v>
                </c:pt>
                <c:pt idx="101">
                  <c:v>3.5796970668813113E-2</c:v>
                </c:pt>
              </c:numCache>
            </c:numRef>
          </c:yVal>
          <c:smooth val="0"/>
          <c:extLst>
            <c:ext xmlns:c16="http://schemas.microsoft.com/office/drawing/2014/chart" uri="{C3380CC4-5D6E-409C-BE32-E72D297353CC}">
              <c16:uniqueId val="{00000000-096C-4121-9522-6AB7243CCAAE}"/>
            </c:ext>
          </c:extLst>
        </c:ser>
        <c:ser>
          <c:idx val="1"/>
          <c:order val="1"/>
          <c:tx>
            <c:strRef>
              <c:f>Sheet1!$B$10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6:$A$157</c:f>
              <c:numCache>
                <c:formatCode>General</c:formatCode>
                <c:ptCount val="52"/>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numCache>
            </c:numRef>
          </c:xVal>
          <c:yVal>
            <c:numRef>
              <c:f>Sheet1!$B$106:$B$157</c:f>
              <c:numCache>
                <c:formatCode>General</c:formatCode>
                <c:ptCount val="52"/>
                <c:pt idx="0">
                  <c:v>3.3379430772150658E-2</c:v>
                </c:pt>
                <c:pt idx="1">
                  <c:v>3.5297770608354727E-2</c:v>
                </c:pt>
                <c:pt idx="2">
                  <c:v>3.603152077608085E-2</c:v>
                </c:pt>
                <c:pt idx="3">
                  <c:v>3.0978674639028671E-2</c:v>
                </c:pt>
                <c:pt idx="4">
                  <c:v>2.8133515753956471E-2</c:v>
                </c:pt>
                <c:pt idx="5">
                  <c:v>2.7512069607189622E-2</c:v>
                </c:pt>
                <c:pt idx="6">
                  <c:v>2.753590860107619E-2</c:v>
                </c:pt>
                <c:pt idx="7">
                  <c:v>2.7306049137985969E-2</c:v>
                </c:pt>
                <c:pt idx="8">
                  <c:v>2.683860754587173E-2</c:v>
                </c:pt>
                <c:pt idx="9">
                  <c:v>2.8577136215520639E-2</c:v>
                </c:pt>
                <c:pt idx="10">
                  <c:v>2.9045708307140341E-2</c:v>
                </c:pt>
                <c:pt idx="11">
                  <c:v>3.0151694267354031E-2</c:v>
                </c:pt>
                <c:pt idx="12">
                  <c:v>3.1278274774940933E-2</c:v>
                </c:pt>
                <c:pt idx="13">
                  <c:v>3.2623144271831599E-2</c:v>
                </c:pt>
                <c:pt idx="14">
                  <c:v>3.2081452766552027E-2</c:v>
                </c:pt>
                <c:pt idx="15">
                  <c:v>2.8476513020004542E-2</c:v>
                </c:pt>
                <c:pt idx="16">
                  <c:v>2.889792926206242E-2</c:v>
                </c:pt>
                <c:pt idx="17">
                  <c:v>2.8572345272906731E-2</c:v>
                </c:pt>
                <c:pt idx="18">
                  <c:v>2.758215728763419E-2</c:v>
                </c:pt>
                <c:pt idx="19">
                  <c:v>2.6684207925807661E-2</c:v>
                </c:pt>
                <c:pt idx="20">
                  <c:v>2.507409816863837E-2</c:v>
                </c:pt>
                <c:pt idx="21">
                  <c:v>3.7053775555914388E-2</c:v>
                </c:pt>
                <c:pt idx="22">
                  <c:v>4.1201839145334811E-2</c:v>
                </c:pt>
                <c:pt idx="23">
                  <c:v>3.952108516249337E-2</c:v>
                </c:pt>
                <c:pt idx="24">
                  <c:v>3.301132678213544E-2</c:v>
                </c:pt>
                <c:pt idx="25">
                  <c:v>3.4672282379825628E-2</c:v>
                </c:pt>
                <c:pt idx="26">
                  <c:v>3.6478521099227869E-2</c:v>
                </c:pt>
                <c:pt idx="27">
                  <c:v>3.1719960612283417E-2</c:v>
                </c:pt>
                <c:pt idx="28">
                  <c:v>2.9844699099281859E-2</c:v>
                </c:pt>
                <c:pt idx="29">
                  <c:v>2.824703792935155E-2</c:v>
                </c:pt>
                <c:pt idx="30">
                  <c:v>2.3926861689124789E-2</c:v>
                </c:pt>
                <c:pt idx="31">
                  <c:v>2.077067140814904E-2</c:v>
                </c:pt>
                <c:pt idx="32">
                  <c:v>2.3460558709885782E-2</c:v>
                </c:pt>
                <c:pt idx="33">
                  <c:v>3.042796286207031E-2</c:v>
                </c:pt>
                <c:pt idx="34">
                  <c:v>3.1037706913624011E-2</c:v>
                </c:pt>
                <c:pt idx="35">
                  <c:v>2.928997264422914E-2</c:v>
                </c:pt>
                <c:pt idx="36">
                  <c:v>2.9697936908540851E-2</c:v>
                </c:pt>
                <c:pt idx="37">
                  <c:v>3.0248130900335801E-2</c:v>
                </c:pt>
                <c:pt idx="38">
                  <c:v>3.5070387750061743E-2</c:v>
                </c:pt>
                <c:pt idx="39">
                  <c:v>3.120833777020552E-2</c:v>
                </c:pt>
                <c:pt idx="40">
                  <c:v>2.682679016675503E-2</c:v>
                </c:pt>
                <c:pt idx="41">
                  <c:v>2.4203784771293649E-2</c:v>
                </c:pt>
                <c:pt idx="42">
                  <c:v>2.4098053977022381E-2</c:v>
                </c:pt>
                <c:pt idx="43">
                  <c:v>2.4523754132153151E-2</c:v>
                </c:pt>
                <c:pt idx="44">
                  <c:v>2.2379504666963371E-2</c:v>
                </c:pt>
                <c:pt idx="45">
                  <c:v>2.104065524243157E-2</c:v>
                </c:pt>
                <c:pt idx="46">
                  <c:v>2.202824012890214E-2</c:v>
                </c:pt>
                <c:pt idx="47">
                  <c:v>2.3321641522021069E-2</c:v>
                </c:pt>
                <c:pt idx="48">
                  <c:v>2.5721900660138009E-2</c:v>
                </c:pt>
                <c:pt idx="49">
                  <c:v>2.4967370312040962E-2</c:v>
                </c:pt>
                <c:pt idx="50">
                  <c:v>2.603335979145837E-2</c:v>
                </c:pt>
                <c:pt idx="51">
                  <c:v>2.5702227757022279E-2</c:v>
                </c:pt>
              </c:numCache>
            </c:numRef>
          </c:yVal>
          <c:smooth val="0"/>
          <c:extLst>
            <c:ext xmlns:c16="http://schemas.microsoft.com/office/drawing/2014/chart" uri="{C3380CC4-5D6E-409C-BE32-E72D297353CC}">
              <c16:uniqueId val="{00000002-096C-4121-9522-6AB7243CCAAE}"/>
            </c:ext>
          </c:extLst>
        </c:ser>
        <c:ser>
          <c:idx val="2"/>
          <c:order val="2"/>
          <c:tx>
            <c:strRef>
              <c:f>Sheet1!$B$15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0:$A$161</c:f>
              <c:numCache>
                <c:formatCode>General</c:formatCode>
                <c:ptCount val="2"/>
                <c:pt idx="0">
                  <c:v>0</c:v>
                </c:pt>
                <c:pt idx="1">
                  <c:v>0.1108820277239114</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5-096C-4121-9522-6AB7243CCAAE}"/>
            </c:ext>
          </c:extLst>
        </c:ser>
        <c:ser>
          <c:idx val="3"/>
          <c:order val="3"/>
          <c:tx>
            <c:strRef>
              <c:f>Sheet1!$B$16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0.1108820277239114</c:v>
                </c:pt>
                <c:pt idx="1">
                  <c:v>0.1108820277239114</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8:$A$169</c:f>
              <c:numCache>
                <c:formatCode>General</c:formatCode>
                <c:ptCount val="2"/>
                <c:pt idx="0">
                  <c:v>0</c:v>
                </c:pt>
                <c:pt idx="1">
                  <c:v>0.11732114474802791</c:v>
                </c:pt>
              </c:numCache>
            </c:numRef>
          </c:xVal>
          <c:yVal>
            <c:numRef>
              <c:f>Sheet1!$B$168:$B$169</c:f>
              <c:numCache>
                <c:formatCode>General</c:formatCode>
                <c:ptCount val="2"/>
                <c:pt idx="0">
                  <c:v>3.1101577984060609E-2</c:v>
                </c:pt>
                <c:pt idx="1">
                  <c:v>3.1101577984060609E-2</c:v>
                </c:pt>
              </c:numCache>
            </c:numRef>
          </c:yVal>
          <c:smooth val="0"/>
          <c:extLst>
            <c:ext xmlns:c16="http://schemas.microsoft.com/office/drawing/2014/chart" uri="{C3380CC4-5D6E-409C-BE32-E72D297353CC}">
              <c16:uniqueId val="{0000000D-096C-4121-9522-6AB7243CCAAE}"/>
            </c:ext>
          </c:extLst>
        </c:ser>
        <c:ser>
          <c:idx val="5"/>
          <c:order val="5"/>
          <c:tx>
            <c:strRef>
              <c:f>Sheet1!$B$17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0.11732114474802791</c:v>
                </c:pt>
                <c:pt idx="1">
                  <c:v>0.11732114474802791</c:v>
                </c:pt>
              </c:numCache>
            </c:numRef>
          </c:xVal>
          <c:yVal>
            <c:numRef>
              <c:f>Sheet1!$B$172:$B$173</c:f>
              <c:numCache>
                <c:formatCode>General</c:formatCode>
                <c:ptCount val="2"/>
                <c:pt idx="0">
                  <c:v>3.1101577984060609E-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6:$A$177</c:f>
              <c:numCache>
                <c:formatCode>General</c:formatCode>
                <c:ptCount val="2"/>
                <c:pt idx="0">
                  <c:v>0</c:v>
                </c:pt>
                <c:pt idx="1">
                  <c:v>0.13512234665834599</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5-096C-4121-9522-6AB7243CCAAE}"/>
            </c:ext>
          </c:extLst>
        </c:ser>
        <c:ser>
          <c:idx val="7"/>
          <c:order val="7"/>
          <c:tx>
            <c:strRef>
              <c:f>Sheet1!$B$17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0:$A$181</c:f>
              <c:numCache>
                <c:formatCode>General</c:formatCode>
                <c:ptCount val="2"/>
                <c:pt idx="0">
                  <c:v>0.13512234665834599</c:v>
                </c:pt>
                <c:pt idx="1">
                  <c:v>0.13512234665834599</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4:$A$238</c:f>
              <c:numCache>
                <c:formatCode>General</c:formatCode>
                <c:ptCount val="55"/>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pt idx="52">
                  <c:v>0.11732114474802791</c:v>
                </c:pt>
                <c:pt idx="53">
                  <c:v>0.1108820277239114</c:v>
                </c:pt>
                <c:pt idx="54">
                  <c:v>0.13512234665834599</c:v>
                </c:pt>
              </c:numCache>
            </c:numRef>
          </c:xVal>
          <c:yVal>
            <c:numRef>
              <c:f>Sheet1!$B$184:$B$238</c:f>
              <c:numCache>
                <c:formatCode>General</c:formatCode>
                <c:ptCount val="55"/>
                <c:pt idx="0">
                  <c:v>3.1620668745252142E-2</c:v>
                </c:pt>
                <c:pt idx="1">
                  <c:v>3.1654790245678951E-2</c:v>
                </c:pt>
                <c:pt idx="2">
                  <c:v>3.2783325344754151E-2</c:v>
                </c:pt>
                <c:pt idx="3">
                  <c:v>3.022688607526958E-2</c:v>
                </c:pt>
                <c:pt idx="4">
                  <c:v>2.8540776744242852E-2</c:v>
                </c:pt>
                <c:pt idx="5">
                  <c:v>2.8198639317480349E-2</c:v>
                </c:pt>
                <c:pt idx="6">
                  <c:v>2.8149354774764782E-2</c:v>
                </c:pt>
                <c:pt idx="7">
                  <c:v>2.8199004366077019E-2</c:v>
                </c:pt>
                <c:pt idx="8">
                  <c:v>3.0157282303857849E-2</c:v>
                </c:pt>
                <c:pt idx="9">
                  <c:v>2.9717490317624731E-2</c:v>
                </c:pt>
                <c:pt idx="10">
                  <c:v>2.880162617160174E-2</c:v>
                </c:pt>
                <c:pt idx="11">
                  <c:v>3.0799476543192809E-2</c:v>
                </c:pt>
                <c:pt idx="12">
                  <c:v>2.8080121278043681E-2</c:v>
                </c:pt>
                <c:pt idx="13">
                  <c:v>2.8247092051713919E-2</c:v>
                </c:pt>
                <c:pt idx="14">
                  <c:v>2.639540124703324E-2</c:v>
                </c:pt>
                <c:pt idx="15">
                  <c:v>1.9220157910636009E-2</c:v>
                </c:pt>
                <c:pt idx="16">
                  <c:v>2.9292926757015069E-2</c:v>
                </c:pt>
                <c:pt idx="17">
                  <c:v>2.9541107656935999E-2</c:v>
                </c:pt>
                <c:pt idx="18">
                  <c:v>3.1154431279754719E-2</c:v>
                </c:pt>
                <c:pt idx="19">
                  <c:v>2.9461129531890291E-2</c:v>
                </c:pt>
                <c:pt idx="20">
                  <c:v>3.0313783713891131E-2</c:v>
                </c:pt>
                <c:pt idx="21">
                  <c:v>3.3508822667282862E-2</c:v>
                </c:pt>
                <c:pt idx="22">
                  <c:v>3.4739165058279807E-2</c:v>
                </c:pt>
                <c:pt idx="23">
                  <c:v>3.3561500120319547E-2</c:v>
                </c:pt>
                <c:pt idx="24">
                  <c:v>3.0961282548418428E-2</c:v>
                </c:pt>
                <c:pt idx="25">
                  <c:v>3.325613118609181E-2</c:v>
                </c:pt>
                <c:pt idx="26">
                  <c:v>3.230935798656305E-2</c:v>
                </c:pt>
                <c:pt idx="27">
                  <c:v>3.0186042242885399E-2</c:v>
                </c:pt>
                <c:pt idx="28">
                  <c:v>2.9826699740302571E-2</c:v>
                </c:pt>
                <c:pt idx="29">
                  <c:v>2.8461825588360749E-2</c:v>
                </c:pt>
                <c:pt idx="30">
                  <c:v>2.6667445839888119E-2</c:v>
                </c:pt>
                <c:pt idx="31">
                  <c:v>2.9333797528733729E-2</c:v>
                </c:pt>
                <c:pt idx="32">
                  <c:v>2.8469462201818171E-2</c:v>
                </c:pt>
                <c:pt idx="33">
                  <c:v>3.1278574864500211E-2</c:v>
                </c:pt>
                <c:pt idx="34">
                  <c:v>3.362517184260494E-2</c:v>
                </c:pt>
                <c:pt idx="35">
                  <c:v>3.1259339751075838E-2</c:v>
                </c:pt>
                <c:pt idx="36">
                  <c:v>3.2466678789921898E-2</c:v>
                </c:pt>
                <c:pt idx="37">
                  <c:v>3.336561461501103E-2</c:v>
                </c:pt>
                <c:pt idx="38">
                  <c:v>3.1897061212580187E-2</c:v>
                </c:pt>
                <c:pt idx="39">
                  <c:v>3.0591232179052279E-2</c:v>
                </c:pt>
                <c:pt idx="40">
                  <c:v>2.6490890509876141E-2</c:v>
                </c:pt>
                <c:pt idx="41">
                  <c:v>2.5005655171483909E-2</c:v>
                </c:pt>
                <c:pt idx="42">
                  <c:v>2.471524594195228E-2</c:v>
                </c:pt>
                <c:pt idx="43">
                  <c:v>2.5740688254943609E-2</c:v>
                </c:pt>
                <c:pt idx="44">
                  <c:v>2.534241769031121E-2</c:v>
                </c:pt>
                <c:pt idx="45">
                  <c:v>2.5785004878787769E-2</c:v>
                </c:pt>
                <c:pt idx="46">
                  <c:v>2.6712805427711591E-2</c:v>
                </c:pt>
                <c:pt idx="47">
                  <c:v>2.6016063432124481E-2</c:v>
                </c:pt>
                <c:pt idx="48">
                  <c:v>2.645901837190287E-2</c:v>
                </c:pt>
                <c:pt idx="49">
                  <c:v>2.253097533810856E-2</c:v>
                </c:pt>
                <c:pt idx="50">
                  <c:v>2.3407974477709061E-2</c:v>
                </c:pt>
                <c:pt idx="51">
                  <c:v>2.5267129597052979E-2</c:v>
                </c:pt>
                <c:pt idx="52">
                  <c:v>3.1101577984060599E-2</c:v>
                </c:pt>
                <c:pt idx="53">
                  <c:v>3.3390590546211449E-2</c:v>
                </c:pt>
                <c:pt idx="54">
                  <c:v>2.47735092998775E-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18089307194123574"/>
          <c:min val="7.5697543274504286E-2"/>
        </c:scaling>
        <c:delete val="0"/>
        <c:axPos val="b"/>
        <c:title>
          <c:tx>
            <c:rich>
              <a:bodyPr rot="0" spcFirstLastPara="1" vertOverflow="ellipsis" vert="horz" wrap="square" anchor="ctr" anchorCtr="1"/>
              <a:lstStyle/>
              <a:p>
                <a:pPr>
                  <a:defRPr sz="800" b="0">
                    <a:solidFill>
                      <a:srgbClr val="575555"/>
                    </a:solidFill>
                    <a:latin typeface="Nexa Bold"/>
                  </a:defRPr>
                </a:pPr>
                <a:r>
                  <a:rPr lang="en-US"/>
                  <a:t>Price Ix vs. Gillette Fusion5</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3084051742229012</c:v>
                </c:pt>
                <c:pt idx="1">
                  <c:v>0.31591786351078627</c:v>
                </c:pt>
                <c:pt idx="2">
                  <c:v>0.32058023334902946</c:v>
                </c:pt>
                <c:pt idx="3">
                  <c:v>0.31551466024025998</c:v>
                </c:pt>
                <c:pt idx="4">
                  <c:v>0.31248983133575575</c:v>
                </c:pt>
                <c:pt idx="5">
                  <c:v>0.31209899175068745</c:v>
                </c:pt>
                <c:pt idx="6">
                  <c:v>0.31243915630070307</c:v>
                </c:pt>
                <c:pt idx="7">
                  <c:v>0.3133619793471481</c:v>
                </c:pt>
                <c:pt idx="8">
                  <c:v>0.31671907756813417</c:v>
                </c:pt>
                <c:pt idx="9">
                  <c:v>0.31082322826247477</c:v>
                </c:pt>
                <c:pt idx="10">
                  <c:v>0.31047212859141043</c:v>
                </c:pt>
                <c:pt idx="11">
                  <c:v>0.30851195946449417</c:v>
                </c:pt>
                <c:pt idx="12">
                  <c:v>0.30743476600274672</c:v>
                </c:pt>
                <c:pt idx="13">
                  <c:v>0.30557876018361524</c:v>
                </c:pt>
                <c:pt idx="14">
                  <c:v>0.30608180521683359</c:v>
                </c:pt>
                <c:pt idx="15">
                  <c:v>0.30537959003209308</c:v>
                </c:pt>
                <c:pt idx="16">
                  <c:v>0.30479028449342177</c:v>
                </c:pt>
                <c:pt idx="17">
                  <c:v>0.30535697989231286</c:v>
                </c:pt>
                <c:pt idx="18">
                  <c:v>0.30758733419811496</c:v>
                </c:pt>
                <c:pt idx="19">
                  <c:v>0.30384356418742708</c:v>
                </c:pt>
                <c:pt idx="20">
                  <c:v>0.30255871389344829</c:v>
                </c:pt>
                <c:pt idx="21">
                  <c:v>0.30131492720175512</c:v>
                </c:pt>
                <c:pt idx="22">
                  <c:v>0.30402402402402401</c:v>
                </c:pt>
                <c:pt idx="23">
                  <c:v>0.3041818228723267</c:v>
                </c:pt>
                <c:pt idx="24">
                  <c:v>0.30380595989557657</c:v>
                </c:pt>
                <c:pt idx="25">
                  <c:v>0.30266464709715091</c:v>
                </c:pt>
                <c:pt idx="26">
                  <c:v>0.30198090992432275</c:v>
                </c:pt>
                <c:pt idx="27">
                  <c:v>0.30261018186645428</c:v>
                </c:pt>
                <c:pt idx="28">
                  <c:v>0.30379475941413642</c:v>
                </c:pt>
                <c:pt idx="29">
                  <c:v>0.30510575091808745</c:v>
                </c:pt>
                <c:pt idx="30">
                  <c:v>0.30547263681592041</c:v>
                </c:pt>
                <c:pt idx="31">
                  <c:v>0.30191808942530629</c:v>
                </c:pt>
                <c:pt idx="32">
                  <c:v>0.30004016835781272</c:v>
                </c:pt>
                <c:pt idx="33">
                  <c:v>0.30140260803244229</c:v>
                </c:pt>
                <c:pt idx="34">
                  <c:v>0.30315931183998879</c:v>
                </c:pt>
                <c:pt idx="35">
                  <c:v>0.30423707530585153</c:v>
                </c:pt>
                <c:pt idx="36">
                  <c:v>0.30339368848493503</c:v>
                </c:pt>
                <c:pt idx="37">
                  <c:v>0.30312142377964563</c:v>
                </c:pt>
                <c:pt idx="38">
                  <c:v>0.30421477922015827</c:v>
                </c:pt>
                <c:pt idx="39">
                  <c:v>0.30360700245050509</c:v>
                </c:pt>
                <c:pt idx="40">
                  <c:v>0.30482776067799466</c:v>
                </c:pt>
                <c:pt idx="41">
                  <c:v>0.30496561046396053</c:v>
                </c:pt>
                <c:pt idx="42">
                  <c:v>0.30474260101509459</c:v>
                </c:pt>
                <c:pt idx="43">
                  <c:v>0.30487658997567685</c:v>
                </c:pt>
                <c:pt idx="44">
                  <c:v>0.30417377406912238</c:v>
                </c:pt>
                <c:pt idx="45">
                  <c:v>0.30429474182711519</c:v>
                </c:pt>
                <c:pt idx="46">
                  <c:v>0.30416987037597953</c:v>
                </c:pt>
                <c:pt idx="47">
                  <c:v>0.30177142857142858</c:v>
                </c:pt>
                <c:pt idx="48">
                  <c:v>0.30034428178139644</c:v>
                </c:pt>
                <c:pt idx="49">
                  <c:v>0.30020553910468561</c:v>
                </c:pt>
                <c:pt idx="50">
                  <c:v>0.30020393921120919</c:v>
                </c:pt>
                <c:pt idx="51">
                  <c:v>0.30029572161037082</c:v>
                </c:pt>
                <c:pt idx="52">
                  <c:v>0.30085731375024921</c:v>
                </c:pt>
                <c:pt idx="53">
                  <c:v>0.30374794069192751</c:v>
                </c:pt>
                <c:pt idx="54">
                  <c:v>0.30475569923731716</c:v>
                </c:pt>
                <c:pt idx="55">
                  <c:v>0.30484411191281596</c:v>
                </c:pt>
                <c:pt idx="56">
                  <c:v>0.29666067320451317</c:v>
                </c:pt>
                <c:pt idx="57">
                  <c:v>0.25400835544515327</c:v>
                </c:pt>
                <c:pt idx="58">
                  <c:v>0.23382400369980466</c:v>
                </c:pt>
                <c:pt idx="59">
                  <c:v>0.23943026116791946</c:v>
                </c:pt>
                <c:pt idx="60">
                  <c:v>0.25369491863085675</c:v>
                </c:pt>
                <c:pt idx="61">
                  <c:v>0.26335839430757868</c:v>
                </c:pt>
                <c:pt idx="62">
                  <c:v>0.24811366501794199</c:v>
                </c:pt>
                <c:pt idx="63">
                  <c:v>0.25331883600138116</c:v>
                </c:pt>
                <c:pt idx="64">
                  <c:v>0.27606841827999473</c:v>
                </c:pt>
                <c:pt idx="65">
                  <c:v>0.28160478817918266</c:v>
                </c:pt>
                <c:pt idx="66">
                  <c:v>0.29229782021117312</c:v>
                </c:pt>
                <c:pt idx="67">
                  <c:v>0.30127414335954045</c:v>
                </c:pt>
                <c:pt idx="68">
                  <c:v>0.30305886879569066</c:v>
                </c:pt>
                <c:pt idx="69">
                  <c:v>0.30492991022208221</c:v>
                </c:pt>
                <c:pt idx="70">
                  <c:v>0.30628978911194849</c:v>
                </c:pt>
                <c:pt idx="71">
                  <c:v>0.30507690665654685</c:v>
                </c:pt>
                <c:pt idx="72">
                  <c:v>0.30607670596048481</c:v>
                </c:pt>
                <c:pt idx="73">
                  <c:v>0.3116373241246056</c:v>
                </c:pt>
                <c:pt idx="74">
                  <c:v>0.31424842998124136</c:v>
                </c:pt>
                <c:pt idx="75">
                  <c:v>0.31320176754871626</c:v>
                </c:pt>
                <c:pt idx="76">
                  <c:v>0.31380953870863448</c:v>
                </c:pt>
                <c:pt idx="77">
                  <c:v>0.32590348409435188</c:v>
                </c:pt>
                <c:pt idx="78">
                  <c:v>0.33061711871301291</c:v>
                </c:pt>
                <c:pt idx="79">
                  <c:v>0.33376024237416513</c:v>
                </c:pt>
                <c:pt idx="80">
                  <c:v>0.334863282523373</c:v>
                </c:pt>
                <c:pt idx="81">
                  <c:v>0.33732775797715603</c:v>
                </c:pt>
                <c:pt idx="82">
                  <c:v>0.3340239432262419</c:v>
                </c:pt>
                <c:pt idx="83">
                  <c:v>0.32813911724353323</c:v>
                </c:pt>
                <c:pt idx="84">
                  <c:v>0.32451377453380215</c:v>
                </c:pt>
                <c:pt idx="85">
                  <c:v>0.3242920313313794</c:v>
                </c:pt>
                <c:pt idx="86">
                  <c:v>0.32834757834757833</c:v>
                </c:pt>
                <c:pt idx="87">
                  <c:v>0.33024565689467972</c:v>
                </c:pt>
                <c:pt idx="88">
                  <c:v>0.33047076978575868</c:v>
                </c:pt>
                <c:pt idx="89">
                  <c:v>0.32960364974033468</c:v>
                </c:pt>
                <c:pt idx="90">
                  <c:v>0.32877782475231143</c:v>
                </c:pt>
                <c:pt idx="91">
                  <c:v>0.33265505668454848</c:v>
                </c:pt>
                <c:pt idx="92">
                  <c:v>0.33383080669232584</c:v>
                </c:pt>
                <c:pt idx="93">
                  <c:v>0.33445095599479496</c:v>
                </c:pt>
                <c:pt idx="94">
                  <c:v>0.33425385899470356</c:v>
                </c:pt>
                <c:pt idx="95">
                  <c:v>0.33302358553829059</c:v>
                </c:pt>
                <c:pt idx="96">
                  <c:v>0.3331230702831911</c:v>
                </c:pt>
                <c:pt idx="97">
                  <c:v>0.33248279672509923</c:v>
                </c:pt>
                <c:pt idx="98">
                  <c:v>0.33184443040565192</c:v>
                </c:pt>
                <c:pt idx="99">
                  <c:v>0.31234357273380736</c:v>
                </c:pt>
                <c:pt idx="100">
                  <c:v>0.30123106937136429</c:v>
                </c:pt>
                <c:pt idx="101">
                  <c:v>0.30056872662328632</c:v>
                </c:pt>
              </c:numCache>
            </c:numRef>
          </c:xVal>
          <c:yVal>
            <c:numRef>
              <c:f>Sheet1!$B$2:$B$103</c:f>
              <c:numCache>
                <c:formatCode>General</c:formatCode>
                <c:ptCount val="102"/>
                <c:pt idx="0">
                  <c:v>3.1549194168607006E-2</c:v>
                </c:pt>
                <c:pt idx="1">
                  <c:v>2.5925076493376501E-2</c:v>
                </c:pt>
                <c:pt idx="2">
                  <c:v>1.9457371147598559E-2</c:v>
                </c:pt>
                <c:pt idx="3">
                  <c:v>2.1005226955186754E-2</c:v>
                </c:pt>
                <c:pt idx="4">
                  <c:v>2.3683174888924508E-2</c:v>
                </c:pt>
                <c:pt idx="5">
                  <c:v>2.4814911692122233E-2</c:v>
                </c:pt>
                <c:pt idx="6">
                  <c:v>2.2966901329024649E-2</c:v>
                </c:pt>
                <c:pt idx="7">
                  <c:v>2.1693356757167159E-2</c:v>
                </c:pt>
                <c:pt idx="8">
                  <c:v>2.508474647577718E-2</c:v>
                </c:pt>
                <c:pt idx="9">
                  <c:v>3.2219360006132694E-2</c:v>
                </c:pt>
                <c:pt idx="10">
                  <c:v>3.3455366889535383E-2</c:v>
                </c:pt>
                <c:pt idx="11">
                  <c:v>3.0774205038558523E-2</c:v>
                </c:pt>
                <c:pt idx="12">
                  <c:v>3.166311843777065E-2</c:v>
                </c:pt>
                <c:pt idx="13">
                  <c:v>2.9573633835338665E-2</c:v>
                </c:pt>
                <c:pt idx="14">
                  <c:v>2.9438294749618857E-2</c:v>
                </c:pt>
                <c:pt idx="15">
                  <c:v>3.2326555355538883E-2</c:v>
                </c:pt>
                <c:pt idx="16">
                  <c:v>3.0454183212358377E-2</c:v>
                </c:pt>
                <c:pt idx="17">
                  <c:v>3.0177244147381318E-2</c:v>
                </c:pt>
                <c:pt idx="18">
                  <c:v>3.0949579617420526E-2</c:v>
                </c:pt>
                <c:pt idx="19">
                  <c:v>3.3044676701229417E-2</c:v>
                </c:pt>
                <c:pt idx="20">
                  <c:v>3.4502368865567047E-2</c:v>
                </c:pt>
                <c:pt idx="21">
                  <c:v>3.8171203781773647E-2</c:v>
                </c:pt>
                <c:pt idx="22">
                  <c:v>3.2633840746857157E-2</c:v>
                </c:pt>
                <c:pt idx="23">
                  <c:v>3.22851825867847E-2</c:v>
                </c:pt>
                <c:pt idx="24">
                  <c:v>3.4293774474369265E-2</c:v>
                </c:pt>
                <c:pt idx="25">
                  <c:v>3.3493331489235549E-2</c:v>
                </c:pt>
                <c:pt idx="26">
                  <c:v>3.2256296982208908E-2</c:v>
                </c:pt>
                <c:pt idx="27">
                  <c:v>3.256327154323236E-2</c:v>
                </c:pt>
                <c:pt idx="28">
                  <c:v>3.0215972855570965E-2</c:v>
                </c:pt>
                <c:pt idx="29">
                  <c:v>2.971323515475446E-2</c:v>
                </c:pt>
                <c:pt idx="30">
                  <c:v>2.9886044202056927E-2</c:v>
                </c:pt>
                <c:pt idx="31">
                  <c:v>3.0113049153545669E-2</c:v>
                </c:pt>
                <c:pt idx="32">
                  <c:v>3.0121682992946059E-2</c:v>
                </c:pt>
                <c:pt idx="33">
                  <c:v>2.8704102443482309E-2</c:v>
                </c:pt>
                <c:pt idx="34">
                  <c:v>3.0602403901330309E-2</c:v>
                </c:pt>
                <c:pt idx="35">
                  <c:v>3.1456536502498786E-2</c:v>
                </c:pt>
                <c:pt idx="36">
                  <c:v>3.1516667937295108E-2</c:v>
                </c:pt>
                <c:pt idx="37">
                  <c:v>3.3226585884057164E-2</c:v>
                </c:pt>
                <c:pt idx="38">
                  <c:v>3.3016326225624587E-2</c:v>
                </c:pt>
                <c:pt idx="39">
                  <c:v>3.0075909553288729E-2</c:v>
                </c:pt>
                <c:pt idx="40">
                  <c:v>3.0308227143147046E-2</c:v>
                </c:pt>
                <c:pt idx="41">
                  <c:v>3.1273537834975489E-2</c:v>
                </c:pt>
                <c:pt idx="42">
                  <c:v>3.0059016900147784E-2</c:v>
                </c:pt>
                <c:pt idx="43">
                  <c:v>3.0573863083611635E-2</c:v>
                </c:pt>
                <c:pt idx="44">
                  <c:v>3.254448153409624E-2</c:v>
                </c:pt>
                <c:pt idx="45">
                  <c:v>3.2420025270644671E-2</c:v>
                </c:pt>
                <c:pt idx="46">
                  <c:v>3.0841270586476857E-2</c:v>
                </c:pt>
                <c:pt idx="47">
                  <c:v>3.4545476528939606E-2</c:v>
                </c:pt>
                <c:pt idx="48">
                  <c:v>3.9378011399146942E-2</c:v>
                </c:pt>
                <c:pt idx="49">
                  <c:v>3.4585845792310457E-2</c:v>
                </c:pt>
                <c:pt idx="50">
                  <c:v>3.6889295123608744E-2</c:v>
                </c:pt>
                <c:pt idx="51">
                  <c:v>3.516974061970235E-2</c:v>
                </c:pt>
                <c:pt idx="52">
                  <c:v>3.3440411726256954E-2</c:v>
                </c:pt>
                <c:pt idx="53">
                  <c:v>3.0775515895011849E-2</c:v>
                </c:pt>
                <c:pt idx="54">
                  <c:v>2.856172806220978E-2</c:v>
                </c:pt>
                <c:pt idx="55">
                  <c:v>2.9260191711765828E-2</c:v>
                </c:pt>
                <c:pt idx="56">
                  <c:v>3.1178692703543048E-2</c:v>
                </c:pt>
                <c:pt idx="57">
                  <c:v>3.7031471681131703E-2</c:v>
                </c:pt>
                <c:pt idx="58">
                  <c:v>3.9909501581123753E-2</c:v>
                </c:pt>
                <c:pt idx="59">
                  <c:v>3.3090443177845791E-2</c:v>
                </c:pt>
                <c:pt idx="60">
                  <c:v>2.0429936026239697E-2</c:v>
                </c:pt>
                <c:pt idx="61">
                  <c:v>1.5942339180034886E-2</c:v>
                </c:pt>
                <c:pt idx="62">
                  <c:v>2.6561543645322632E-2</c:v>
                </c:pt>
                <c:pt idx="63">
                  <c:v>3.5068893654044385E-2</c:v>
                </c:pt>
                <c:pt idx="64">
                  <c:v>3.0967228847484717E-2</c:v>
                </c:pt>
                <c:pt idx="65">
                  <c:v>2.6027056162994167E-2</c:v>
                </c:pt>
                <c:pt idx="66">
                  <c:v>2.5871503741223587E-2</c:v>
                </c:pt>
                <c:pt idx="67">
                  <c:v>2.691260699372984E-2</c:v>
                </c:pt>
                <c:pt idx="68">
                  <c:v>2.5874418970458959E-2</c:v>
                </c:pt>
                <c:pt idx="69">
                  <c:v>2.3193315376484971E-2</c:v>
                </c:pt>
                <c:pt idx="70">
                  <c:v>2.2686657383630057E-2</c:v>
                </c:pt>
                <c:pt idx="71">
                  <c:v>2.6189284143623485E-2</c:v>
                </c:pt>
                <c:pt idx="72">
                  <c:v>2.7336338114147821E-2</c:v>
                </c:pt>
                <c:pt idx="73">
                  <c:v>2.7740990571672709E-2</c:v>
                </c:pt>
                <c:pt idx="74">
                  <c:v>2.8775273119844166E-2</c:v>
                </c:pt>
                <c:pt idx="75">
                  <c:v>2.8510329318482425E-2</c:v>
                </c:pt>
                <c:pt idx="76">
                  <c:v>2.7909474603405617E-2</c:v>
                </c:pt>
                <c:pt idx="77">
                  <c:v>2.354699792786898E-2</c:v>
                </c:pt>
                <c:pt idx="78">
                  <c:v>2.3516397046911525E-2</c:v>
                </c:pt>
                <c:pt idx="79">
                  <c:v>2.2115174941799768E-2</c:v>
                </c:pt>
                <c:pt idx="80">
                  <c:v>2.2268202762568419E-2</c:v>
                </c:pt>
                <c:pt idx="81">
                  <c:v>2.1244426266941792E-2</c:v>
                </c:pt>
                <c:pt idx="82">
                  <c:v>3.1177386289303839E-2</c:v>
                </c:pt>
                <c:pt idx="83">
                  <c:v>2.6306476866990773E-2</c:v>
                </c:pt>
                <c:pt idx="84">
                  <c:v>2.5524833007679375E-2</c:v>
                </c:pt>
                <c:pt idx="85">
                  <c:v>2.6871534411513368E-2</c:v>
                </c:pt>
                <c:pt idx="86">
                  <c:v>2.6338851413823878E-2</c:v>
                </c:pt>
                <c:pt idx="87">
                  <c:v>2.4648701089615546E-2</c:v>
                </c:pt>
                <c:pt idx="88">
                  <c:v>2.6238033764437702E-2</c:v>
                </c:pt>
                <c:pt idx="89">
                  <c:v>3.0191859532939729E-2</c:v>
                </c:pt>
                <c:pt idx="90">
                  <c:v>3.0716851696320817E-2</c:v>
                </c:pt>
                <c:pt idx="91">
                  <c:v>3.1790352756617284E-2</c:v>
                </c:pt>
                <c:pt idx="92">
                  <c:v>2.9789485452214992E-2</c:v>
                </c:pt>
                <c:pt idx="93">
                  <c:v>2.7419432969366012E-2</c:v>
                </c:pt>
                <c:pt idx="94">
                  <c:v>2.5375304588112154E-2</c:v>
                </c:pt>
                <c:pt idx="95">
                  <c:v>2.7271435244645044E-2</c:v>
                </c:pt>
                <c:pt idx="96">
                  <c:v>2.4300725205733124E-2</c:v>
                </c:pt>
                <c:pt idx="97">
                  <c:v>2.5953063658202231E-2</c:v>
                </c:pt>
                <c:pt idx="98">
                  <c:v>2.870484051773789E-2</c:v>
                </c:pt>
                <c:pt idx="99">
                  <c:v>3.0161179689259059E-2</c:v>
                </c:pt>
                <c:pt idx="100">
                  <c:v>3.7558407981539428E-2</c:v>
                </c:pt>
                <c:pt idx="101">
                  <c:v>3.5796970668813106E-2</c:v>
                </c:pt>
              </c:numCache>
            </c:numRef>
          </c:yVal>
          <c:smooth val="0"/>
          <c:extLst>
            <c:ext xmlns:c16="http://schemas.microsoft.com/office/drawing/2014/chart" uri="{C3380CC4-5D6E-409C-BE32-E72D297353CC}">
              <c16:uniqueId val="{00000000-F32D-48B7-BC20-E66FC6253BAD}"/>
            </c:ext>
          </c:extLst>
        </c:ser>
        <c:ser>
          <c:idx val="1"/>
          <c:order val="1"/>
          <c:tx>
            <c:strRef>
              <c:f>Sheet1!$B$10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6:$A$157</c:f>
              <c:numCache>
                <c:formatCode>General</c:formatCode>
                <c:ptCount val="52"/>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numCache>
            </c:numRef>
          </c:xVal>
          <c:yVal>
            <c:numRef>
              <c:f>Sheet1!$B$106:$B$157</c:f>
              <c:numCache>
                <c:formatCode>General</c:formatCode>
                <c:ptCount val="52"/>
                <c:pt idx="0">
                  <c:v>3.3379430772150658E-2</c:v>
                </c:pt>
                <c:pt idx="1">
                  <c:v>3.5297770608354727E-2</c:v>
                </c:pt>
                <c:pt idx="2">
                  <c:v>3.603152077608085E-2</c:v>
                </c:pt>
                <c:pt idx="3">
                  <c:v>3.0978674639028675E-2</c:v>
                </c:pt>
                <c:pt idx="4">
                  <c:v>2.8133515753956471E-2</c:v>
                </c:pt>
                <c:pt idx="5">
                  <c:v>2.7512069607189618E-2</c:v>
                </c:pt>
                <c:pt idx="6">
                  <c:v>2.7535908601076187E-2</c:v>
                </c:pt>
                <c:pt idx="7">
                  <c:v>2.7306049137985969E-2</c:v>
                </c:pt>
                <c:pt idx="8">
                  <c:v>2.6838607545871734E-2</c:v>
                </c:pt>
                <c:pt idx="9">
                  <c:v>2.8577136215520643E-2</c:v>
                </c:pt>
                <c:pt idx="10">
                  <c:v>2.9045708307140341E-2</c:v>
                </c:pt>
                <c:pt idx="11">
                  <c:v>3.0151694267354034E-2</c:v>
                </c:pt>
                <c:pt idx="12">
                  <c:v>3.1278274774940926E-2</c:v>
                </c:pt>
                <c:pt idx="13">
                  <c:v>3.2623144271831599E-2</c:v>
                </c:pt>
                <c:pt idx="14">
                  <c:v>3.2081452766552027E-2</c:v>
                </c:pt>
                <c:pt idx="15">
                  <c:v>2.8476513020004538E-2</c:v>
                </c:pt>
                <c:pt idx="16">
                  <c:v>2.8897929262062423E-2</c:v>
                </c:pt>
                <c:pt idx="17">
                  <c:v>2.8572345272906727E-2</c:v>
                </c:pt>
                <c:pt idx="18">
                  <c:v>2.7582157287634194E-2</c:v>
                </c:pt>
                <c:pt idx="19">
                  <c:v>2.6684207925807661E-2</c:v>
                </c:pt>
                <c:pt idx="20">
                  <c:v>2.5074098168638374E-2</c:v>
                </c:pt>
                <c:pt idx="21">
                  <c:v>3.7053775555914395E-2</c:v>
                </c:pt>
                <c:pt idx="22">
                  <c:v>4.1201839145334811E-2</c:v>
                </c:pt>
                <c:pt idx="23">
                  <c:v>3.952108516249337E-2</c:v>
                </c:pt>
                <c:pt idx="24">
                  <c:v>3.301132678213544E-2</c:v>
                </c:pt>
                <c:pt idx="25">
                  <c:v>3.4672282379825628E-2</c:v>
                </c:pt>
                <c:pt idx="26">
                  <c:v>3.6478521099227869E-2</c:v>
                </c:pt>
                <c:pt idx="27">
                  <c:v>3.1719960612283417E-2</c:v>
                </c:pt>
                <c:pt idx="28">
                  <c:v>2.9844699099281863E-2</c:v>
                </c:pt>
                <c:pt idx="29">
                  <c:v>2.8247037929351546E-2</c:v>
                </c:pt>
                <c:pt idx="30">
                  <c:v>2.3926861689124793E-2</c:v>
                </c:pt>
                <c:pt idx="31">
                  <c:v>2.0770671408149036E-2</c:v>
                </c:pt>
                <c:pt idx="32">
                  <c:v>2.3460558709885785E-2</c:v>
                </c:pt>
                <c:pt idx="33">
                  <c:v>3.0427962862070307E-2</c:v>
                </c:pt>
                <c:pt idx="34">
                  <c:v>3.1037706913624008E-2</c:v>
                </c:pt>
                <c:pt idx="35">
                  <c:v>2.928997264422914E-2</c:v>
                </c:pt>
                <c:pt idx="36">
                  <c:v>2.9697936908540855E-2</c:v>
                </c:pt>
                <c:pt idx="37">
                  <c:v>3.0248130900335804E-2</c:v>
                </c:pt>
                <c:pt idx="38">
                  <c:v>3.5070387750061743E-2</c:v>
                </c:pt>
                <c:pt idx="39">
                  <c:v>3.1208337770205517E-2</c:v>
                </c:pt>
                <c:pt idx="40">
                  <c:v>2.6826790166755026E-2</c:v>
                </c:pt>
                <c:pt idx="41">
                  <c:v>2.4203784771293646E-2</c:v>
                </c:pt>
                <c:pt idx="42">
                  <c:v>2.4098053977022377E-2</c:v>
                </c:pt>
                <c:pt idx="43">
                  <c:v>2.4523754132153155E-2</c:v>
                </c:pt>
                <c:pt idx="44">
                  <c:v>2.2379504666963371E-2</c:v>
                </c:pt>
                <c:pt idx="45">
                  <c:v>2.104065524243157E-2</c:v>
                </c:pt>
                <c:pt idx="46">
                  <c:v>2.2028240128902143E-2</c:v>
                </c:pt>
                <c:pt idx="47">
                  <c:v>2.3321641522021073E-2</c:v>
                </c:pt>
                <c:pt idx="48">
                  <c:v>2.5721900660138006E-2</c:v>
                </c:pt>
                <c:pt idx="49">
                  <c:v>2.4967370312040958E-2</c:v>
                </c:pt>
                <c:pt idx="50">
                  <c:v>2.6033359791458374E-2</c:v>
                </c:pt>
                <c:pt idx="51">
                  <c:v>2.5702227757022279E-2</c:v>
                </c:pt>
              </c:numCache>
            </c:numRef>
          </c:yVal>
          <c:smooth val="0"/>
          <c:extLst>
            <c:ext xmlns:c16="http://schemas.microsoft.com/office/drawing/2014/chart" uri="{C3380CC4-5D6E-409C-BE32-E72D297353CC}">
              <c16:uniqueId val="{00000002-F32D-48B7-BC20-E66FC6253BAD}"/>
            </c:ext>
          </c:extLst>
        </c:ser>
        <c:ser>
          <c:idx val="2"/>
          <c:order val="2"/>
          <c:tx>
            <c:strRef>
              <c:f>Sheet1!$B$159</c:f>
              <c:strCache>
                <c:ptCount val="1"/>
                <c:pt idx="0">
                  <c:v>Custom Linep3yQ</c:v>
                </c:pt>
              </c:strCache>
            </c:strRef>
          </c:tx>
          <c:spPr>
            <a:ln w="19050" cap="rnd">
              <a:solidFill>
                <a:srgbClr val="C00000"/>
              </a:solidFill>
              <a:prstDash val="sysDot"/>
              <a:round/>
            </a:ln>
            <a:effectLst/>
          </c:spPr>
          <c:marker>
            <c:symbol val="none"/>
          </c:marker>
          <c:xVal>
            <c:numRef>
              <c:f>Sheet1!$A$160:$A$161</c:f>
              <c:numCache>
                <c:formatCode>General</c:formatCode>
                <c:ptCount val="2"/>
                <c:pt idx="0">
                  <c:v>0</c:v>
                </c:pt>
                <c:pt idx="1">
                  <c:v>0.27575744047645689</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3-F32D-48B7-BC20-E66FC6253BAD}"/>
            </c:ext>
          </c:extLst>
        </c:ser>
        <c:ser>
          <c:idx val="3"/>
          <c:order val="3"/>
          <c:tx>
            <c:strRef>
              <c:f>Sheet1!$B$16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0.27575744047645689</c:v>
                </c:pt>
                <c:pt idx="1">
                  <c:v>0.27575744047645689</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8:$A$169</c:f>
              <c:numCache>
                <c:formatCode>General</c:formatCode>
                <c:ptCount val="2"/>
                <c:pt idx="0">
                  <c:v>0</c:v>
                </c:pt>
                <c:pt idx="1">
                  <c:v>0.28987004975079905</c:v>
                </c:pt>
              </c:numCache>
            </c:numRef>
          </c:xVal>
          <c:yVal>
            <c:numRef>
              <c:f>Sheet1!$B$168:$B$169</c:f>
              <c:numCache>
                <c:formatCode>General</c:formatCode>
                <c:ptCount val="2"/>
                <c:pt idx="0">
                  <c:v>3.1101577984060606E-2</c:v>
                </c:pt>
                <c:pt idx="1">
                  <c:v>3.1101577984060606E-2</c:v>
                </c:pt>
              </c:numCache>
            </c:numRef>
          </c:yVal>
          <c:smooth val="0"/>
          <c:extLst>
            <c:ext xmlns:c16="http://schemas.microsoft.com/office/drawing/2014/chart" uri="{C3380CC4-5D6E-409C-BE32-E72D297353CC}">
              <c16:uniqueId val="{0000000A-F32D-48B7-BC20-E66FC6253BAD}"/>
            </c:ext>
          </c:extLst>
        </c:ser>
        <c:ser>
          <c:idx val="5"/>
          <c:order val="5"/>
          <c:tx>
            <c:strRef>
              <c:f>Sheet1!$B$17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0.28987004975079905</c:v>
                </c:pt>
                <c:pt idx="1">
                  <c:v>0.28987004975079905</c:v>
                </c:pt>
              </c:numCache>
            </c:numRef>
          </c:xVal>
          <c:yVal>
            <c:numRef>
              <c:f>Sheet1!$B$172:$B$173</c:f>
              <c:numCache>
                <c:formatCode>General</c:formatCode>
                <c:ptCount val="2"/>
                <c:pt idx="0">
                  <c:v>3.1101577984060606E-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6:$A$177</c:f>
              <c:numCache>
                <c:formatCode>General</c:formatCode>
                <c:ptCount val="2"/>
                <c:pt idx="0">
                  <c:v>0</c:v>
                </c:pt>
                <c:pt idx="1">
                  <c:v>0.32888493428125432</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1-F32D-48B7-BC20-E66FC6253BAD}"/>
            </c:ext>
          </c:extLst>
        </c:ser>
        <c:ser>
          <c:idx val="7"/>
          <c:order val="7"/>
          <c:tx>
            <c:strRef>
              <c:f>Sheet1!$B$17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0:$A$181</c:f>
              <c:numCache>
                <c:formatCode>General</c:formatCode>
                <c:ptCount val="2"/>
                <c:pt idx="0">
                  <c:v>0.32888493428125432</c:v>
                </c:pt>
                <c:pt idx="1">
                  <c:v>0.32888493428125432</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4:$A$238</c:f>
              <c:numCache>
                <c:formatCode>General</c:formatCode>
                <c:ptCount val="55"/>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pt idx="52">
                  <c:v>0.28987004975079905</c:v>
                </c:pt>
                <c:pt idx="53">
                  <c:v>0.27575744047645689</c:v>
                </c:pt>
                <c:pt idx="54">
                  <c:v>0.32888493428125432</c:v>
                </c:pt>
              </c:numCache>
            </c:numRef>
          </c:xVal>
          <c:yVal>
            <c:numRef>
              <c:f>Sheet1!$B$184:$B$238</c:f>
              <c:numCache>
                <c:formatCode>General</c:formatCode>
                <c:ptCount val="55"/>
                <c:pt idx="0">
                  <c:v>2.9413873016704839E-2</c:v>
                </c:pt>
                <c:pt idx="1">
                  <c:v>2.9896344890080709E-2</c:v>
                </c:pt>
                <c:pt idx="2">
                  <c:v>3.0155656486461964E-2</c:v>
                </c:pt>
                <c:pt idx="3">
                  <c:v>2.7109900331363727E-2</c:v>
                </c:pt>
                <c:pt idx="4">
                  <c:v>2.4371775225560388E-2</c:v>
                </c:pt>
                <c:pt idx="5">
                  <c:v>2.4094268404047922E-2</c:v>
                </c:pt>
                <c:pt idx="6">
                  <c:v>2.4322183284519114E-2</c:v>
                </c:pt>
                <c:pt idx="7">
                  <c:v>2.5263903460272262E-2</c:v>
                </c:pt>
                <c:pt idx="8">
                  <c:v>2.7533717749061021E-2</c:v>
                </c:pt>
                <c:pt idx="9">
                  <c:v>2.9136059572005948E-2</c:v>
                </c:pt>
                <c:pt idx="10">
                  <c:v>2.8439725189245424E-2</c:v>
                </c:pt>
                <c:pt idx="11">
                  <c:v>2.8481575446516888E-2</c:v>
                </c:pt>
                <c:pt idx="12">
                  <c:v>3.0108594349578348E-2</c:v>
                </c:pt>
                <c:pt idx="13">
                  <c:v>3.169054387055209E-2</c:v>
                </c:pt>
                <c:pt idx="14">
                  <c:v>3.1465934595702259E-2</c:v>
                </c:pt>
                <c:pt idx="15">
                  <c:v>3.1477667841337743E-2</c:v>
                </c:pt>
                <c:pt idx="16">
                  <c:v>3.1573121681829512E-2</c:v>
                </c:pt>
                <c:pt idx="17">
                  <c:v>3.1532924296196564E-2</c:v>
                </c:pt>
                <c:pt idx="18">
                  <c:v>3.0515660900336583E-2</c:v>
                </c:pt>
                <c:pt idx="19">
                  <c:v>3.0211789143868836E-2</c:v>
                </c:pt>
                <c:pt idx="20">
                  <c:v>2.8955614795748236E-2</c:v>
                </c:pt>
                <c:pt idx="21">
                  <c:v>3.2772131418724967E-2</c:v>
                </c:pt>
                <c:pt idx="22">
                  <c:v>3.3542665870490845E-2</c:v>
                </c:pt>
                <c:pt idx="23">
                  <c:v>3.3435184307609174E-2</c:v>
                </c:pt>
                <c:pt idx="24">
                  <c:v>3.268271460365052E-2</c:v>
                </c:pt>
                <c:pt idx="25">
                  <c:v>3.3870059534782497E-2</c:v>
                </c:pt>
                <c:pt idx="26">
                  <c:v>3.3073079926514877E-2</c:v>
                </c:pt>
                <c:pt idx="27">
                  <c:v>3.1808643842456727E-2</c:v>
                </c:pt>
                <c:pt idx="28">
                  <c:v>3.0502176751221188E-2</c:v>
                </c:pt>
                <c:pt idx="29">
                  <c:v>2.7906678470255915E-2</c:v>
                </c:pt>
                <c:pt idx="30">
                  <c:v>2.5033266393526828E-2</c:v>
                </c:pt>
                <c:pt idx="31">
                  <c:v>2.630903103630991E-2</c:v>
                </c:pt>
                <c:pt idx="32">
                  <c:v>2.8693045313762239E-2</c:v>
                </c:pt>
                <c:pt idx="33">
                  <c:v>3.2596808075387743E-2</c:v>
                </c:pt>
                <c:pt idx="34">
                  <c:v>3.3462836223474769E-2</c:v>
                </c:pt>
                <c:pt idx="35">
                  <c:v>3.1780988069129081E-2</c:v>
                </c:pt>
                <c:pt idx="36">
                  <c:v>3.2997078119396075E-2</c:v>
                </c:pt>
                <c:pt idx="37">
                  <c:v>3.4241810296995578E-2</c:v>
                </c:pt>
                <c:pt idx="38">
                  <c:v>3.5259393566231922E-2</c:v>
                </c:pt>
                <c:pt idx="39">
                  <c:v>3.2524924643797831E-2</c:v>
                </c:pt>
                <c:pt idx="40">
                  <c:v>2.8308242375685959E-2</c:v>
                </c:pt>
                <c:pt idx="41">
                  <c:v>2.54404048951909E-2</c:v>
                </c:pt>
                <c:pt idx="42">
                  <c:v>2.3287513921568817E-2</c:v>
                </c:pt>
                <c:pt idx="43">
                  <c:v>2.3365554652546534E-2</c:v>
                </c:pt>
                <c:pt idx="44">
                  <c:v>2.3054756675168077E-2</c:v>
                </c:pt>
                <c:pt idx="45">
                  <c:v>2.3566114628330095E-2</c:v>
                </c:pt>
                <c:pt idx="46">
                  <c:v>2.5888630394799238E-2</c:v>
                </c:pt>
                <c:pt idx="47">
                  <c:v>2.6265547596405793E-2</c:v>
                </c:pt>
                <c:pt idx="48">
                  <c:v>2.7412822111043234E-2</c:v>
                </c:pt>
                <c:pt idx="49">
                  <c:v>2.5962622488181153E-2</c:v>
                </c:pt>
                <c:pt idx="50">
                  <c:v>2.4525712064247307E-2</c:v>
                </c:pt>
                <c:pt idx="51">
                  <c:v>2.4473274634488791E-2</c:v>
                </c:pt>
                <c:pt idx="52">
                  <c:v>3.1101577984060602E-2</c:v>
                </c:pt>
                <c:pt idx="53">
                  <c:v>3.3390590546211449E-2</c:v>
                </c:pt>
                <c:pt idx="54">
                  <c:v>2.4773509299877497E-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40737801608579088"/>
          <c:min val="0.18705920295984374"/>
        </c:scaling>
        <c:delete val="0"/>
        <c:axPos val="b"/>
        <c:title>
          <c:tx>
            <c:rich>
              <a:bodyPr rot="0" spcFirstLastPara="1" vertOverflow="ellipsis" vert="horz" wrap="square" anchor="ctr" anchorCtr="1"/>
              <a:lstStyle/>
              <a:p>
                <a:pPr>
                  <a:defRPr sz="800" b="0">
                    <a:latin typeface="Nexa Bold"/>
                  </a:defRPr>
                </a:pPr>
                <a:r>
                  <a:rPr lang="en-US"/>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1291069944164441</c:v>
                </c:pt>
                <c:pt idx="1">
                  <c:v>0.13485892486555889</c:v>
                </c:pt>
                <c:pt idx="2">
                  <c:v>0.13361697278764331</c:v>
                </c:pt>
                <c:pt idx="3">
                  <c:v>0.13181455947245191</c:v>
                </c:pt>
                <c:pt idx="4">
                  <c:v>0.13079849733141291</c:v>
                </c:pt>
                <c:pt idx="5">
                  <c:v>0.12786527339341361</c:v>
                </c:pt>
                <c:pt idx="6">
                  <c:v>0.13389772495720559</c:v>
                </c:pt>
                <c:pt idx="7">
                  <c:v>0.1359519354250221</c:v>
                </c:pt>
                <c:pt idx="8">
                  <c:v>0.13408395448492219</c:v>
                </c:pt>
                <c:pt idx="9">
                  <c:v>0.1272173036352085</c:v>
                </c:pt>
                <c:pt idx="10">
                  <c:v>0.12580154817273331</c:v>
                </c:pt>
                <c:pt idx="11">
                  <c:v>0.1247833670603628</c:v>
                </c:pt>
                <c:pt idx="12">
                  <c:v>0.12616612542700109</c:v>
                </c:pt>
                <c:pt idx="13">
                  <c:v>0.13426073846412021</c:v>
                </c:pt>
                <c:pt idx="14">
                  <c:v>0.13040345544745011</c:v>
                </c:pt>
                <c:pt idx="15">
                  <c:v>0.12568196098787579</c:v>
                </c:pt>
                <c:pt idx="16">
                  <c:v>0.1284543866213313</c:v>
                </c:pt>
                <c:pt idx="17">
                  <c:v>0.13252000199740169</c:v>
                </c:pt>
                <c:pt idx="18">
                  <c:v>0.12612196270786419</c:v>
                </c:pt>
                <c:pt idx="19">
                  <c:v>0.13496886950214251</c:v>
                </c:pt>
                <c:pt idx="20">
                  <c:v>0.13064933940560819</c:v>
                </c:pt>
                <c:pt idx="21">
                  <c:v>0.12635635491031241</c:v>
                </c:pt>
                <c:pt idx="22">
                  <c:v>0.12863609693980929</c:v>
                </c:pt>
                <c:pt idx="23">
                  <c:v>0.13116494310893009</c:v>
                </c:pt>
                <c:pt idx="24">
                  <c:v>0.1278058186678292</c:v>
                </c:pt>
                <c:pt idx="25">
                  <c:v>0.1235932293079324</c:v>
                </c:pt>
                <c:pt idx="26">
                  <c:v>0.12290934252239009</c:v>
                </c:pt>
                <c:pt idx="27">
                  <c:v>0.12109503765009599</c:v>
                </c:pt>
                <c:pt idx="28">
                  <c:v>0.12207135397276341</c:v>
                </c:pt>
                <c:pt idx="29">
                  <c:v>0.1263122981136704</c:v>
                </c:pt>
                <c:pt idx="30">
                  <c:v>0.1263263635992006</c:v>
                </c:pt>
                <c:pt idx="31">
                  <c:v>0.12476889875077329</c:v>
                </c:pt>
                <c:pt idx="32">
                  <c:v>0.12674353123399981</c:v>
                </c:pt>
                <c:pt idx="33">
                  <c:v>0.12588695742723971</c:v>
                </c:pt>
                <c:pt idx="34">
                  <c:v>0.12390000002667199</c:v>
                </c:pt>
                <c:pt idx="35">
                  <c:v>0.12440850519118039</c:v>
                </c:pt>
                <c:pt idx="36">
                  <c:v>0.12336288941275771</c:v>
                </c:pt>
                <c:pt idx="37">
                  <c:v>0.1236579395008299</c:v>
                </c:pt>
                <c:pt idx="38">
                  <c:v>0.1244360084590832</c:v>
                </c:pt>
                <c:pt idx="39">
                  <c:v>0.12224083915887329</c:v>
                </c:pt>
                <c:pt idx="40">
                  <c:v>0.1219327444047168</c:v>
                </c:pt>
                <c:pt idx="41">
                  <c:v>0.1250560323566518</c:v>
                </c:pt>
                <c:pt idx="42">
                  <c:v>0.12745512740440279</c:v>
                </c:pt>
                <c:pt idx="43">
                  <c:v>0.1211984894858895</c:v>
                </c:pt>
                <c:pt idx="44">
                  <c:v>0.1258670226690102</c:v>
                </c:pt>
                <c:pt idx="45">
                  <c:v>0.1272339848348821</c:v>
                </c:pt>
                <c:pt idx="46">
                  <c:v>0.13490346412193621</c:v>
                </c:pt>
                <c:pt idx="47">
                  <c:v>0.1232399985423943</c:v>
                </c:pt>
                <c:pt idx="48">
                  <c:v>0.12311641114157899</c:v>
                </c:pt>
                <c:pt idx="49">
                  <c:v>0.1234350759255986</c:v>
                </c:pt>
                <c:pt idx="50">
                  <c:v>0.12419744604278141</c:v>
                </c:pt>
                <c:pt idx="51">
                  <c:v>0.13145508336915421</c:v>
                </c:pt>
                <c:pt idx="52">
                  <c:v>0.13109930113357529</c:v>
                </c:pt>
                <c:pt idx="53">
                  <c:v>0.13568928560863899</c:v>
                </c:pt>
                <c:pt idx="54">
                  <c:v>0.1285210371531505</c:v>
                </c:pt>
                <c:pt idx="55">
                  <c:v>0.1300753516373136</c:v>
                </c:pt>
                <c:pt idx="56">
                  <c:v>0.12489749950473671</c:v>
                </c:pt>
                <c:pt idx="57">
                  <c:v>0.10266521645136149</c:v>
                </c:pt>
                <c:pt idx="58">
                  <c:v>9.4621929093130358E-2</c:v>
                </c:pt>
                <c:pt idx="59">
                  <c:v>9.8212612965823731E-2</c:v>
                </c:pt>
                <c:pt idx="60">
                  <c:v>0.1102654339127445</c:v>
                </c:pt>
                <c:pt idx="61">
                  <c:v>0.1086326326560431</c:v>
                </c:pt>
                <c:pt idx="62">
                  <c:v>0.10273100071317991</c:v>
                </c:pt>
                <c:pt idx="63">
                  <c:v>0.1056131313298932</c:v>
                </c:pt>
                <c:pt idx="64">
                  <c:v>0.116037952360732</c:v>
                </c:pt>
                <c:pt idx="65">
                  <c:v>0.13065683342069531</c:v>
                </c:pt>
                <c:pt idx="66">
                  <c:v>0.132712182958446</c:v>
                </c:pt>
                <c:pt idx="67">
                  <c:v>0.12498087731066</c:v>
                </c:pt>
                <c:pt idx="68">
                  <c:v>0.1318623648264734</c:v>
                </c:pt>
                <c:pt idx="69">
                  <c:v>0.13405085209231629</c:v>
                </c:pt>
                <c:pt idx="70">
                  <c:v>0.12663942767242409</c:v>
                </c:pt>
                <c:pt idx="71">
                  <c:v>0.13715997078444109</c:v>
                </c:pt>
                <c:pt idx="72">
                  <c:v>0.1312699287114284</c:v>
                </c:pt>
                <c:pt idx="73">
                  <c:v>0.1290474255800157</c:v>
                </c:pt>
                <c:pt idx="74">
                  <c:v>0.12976627424972709</c:v>
                </c:pt>
                <c:pt idx="75">
                  <c:v>0.12686829869724861</c:v>
                </c:pt>
                <c:pt idx="76">
                  <c:v>0.1253623579280761</c:v>
                </c:pt>
                <c:pt idx="77">
                  <c:v>0.12968156222074531</c:v>
                </c:pt>
                <c:pt idx="78">
                  <c:v>0.12750329032649099</c:v>
                </c:pt>
                <c:pt idx="79">
                  <c:v>0.12461050546445129</c:v>
                </c:pt>
                <c:pt idx="80">
                  <c:v>0.12900335189603049</c:v>
                </c:pt>
                <c:pt idx="81">
                  <c:v>0.12741746962889991</c:v>
                </c:pt>
                <c:pt idx="82">
                  <c:v>0.1227246355993528</c:v>
                </c:pt>
                <c:pt idx="83">
                  <c:v>0.12325497363003669</c:v>
                </c:pt>
                <c:pt idx="84">
                  <c:v>0.1237777050026681</c:v>
                </c:pt>
                <c:pt idx="85">
                  <c:v>0.1227618684932686</c:v>
                </c:pt>
                <c:pt idx="86">
                  <c:v>0.12625273778634091</c:v>
                </c:pt>
                <c:pt idx="87">
                  <c:v>0.12848401925218161</c:v>
                </c:pt>
                <c:pt idx="88">
                  <c:v>0.12808991008793849</c:v>
                </c:pt>
                <c:pt idx="89">
                  <c:v>0.12669599383578639</c:v>
                </c:pt>
                <c:pt idx="90">
                  <c:v>0.128457244567205</c:v>
                </c:pt>
                <c:pt idx="91">
                  <c:v>0.1287495738807907</c:v>
                </c:pt>
                <c:pt idx="92">
                  <c:v>0.12753778198649329</c:v>
                </c:pt>
                <c:pt idx="93">
                  <c:v>0.12858384689357691</c:v>
                </c:pt>
                <c:pt idx="94">
                  <c:v>0.13053873342212541</c:v>
                </c:pt>
                <c:pt idx="95">
                  <c:v>0.1283681251237693</c:v>
                </c:pt>
                <c:pt idx="96">
                  <c:v>0.12712219330013799</c:v>
                </c:pt>
                <c:pt idx="97">
                  <c:v>0.12537888942730019</c:v>
                </c:pt>
                <c:pt idx="98">
                  <c:v>0.12745921704595151</c:v>
                </c:pt>
                <c:pt idx="99">
                  <c:v>0.1212266665697815</c:v>
                </c:pt>
                <c:pt idx="100">
                  <c:v>0.1141728668578047</c:v>
                </c:pt>
                <c:pt idx="101">
                  <c:v>0.115957494325048</c:v>
                </c:pt>
              </c:numCache>
            </c:numRef>
          </c:xVal>
          <c:yVal>
            <c:numRef>
              <c:f>Sheet1!$B$2:$B$103</c:f>
              <c:numCache>
                <c:formatCode>General</c:formatCode>
                <c:ptCount val="102"/>
                <c:pt idx="0">
                  <c:v>3.1549194168607013E-2</c:v>
                </c:pt>
                <c:pt idx="1">
                  <c:v>2.5925076493376501E-2</c:v>
                </c:pt>
                <c:pt idx="2">
                  <c:v>1.9457371147598559E-2</c:v>
                </c:pt>
                <c:pt idx="3">
                  <c:v>2.1005226955186751E-2</c:v>
                </c:pt>
                <c:pt idx="4">
                  <c:v>2.3683174888924512E-2</c:v>
                </c:pt>
                <c:pt idx="5">
                  <c:v>2.481491169212223E-2</c:v>
                </c:pt>
                <c:pt idx="6">
                  <c:v>2.2966901329024649E-2</c:v>
                </c:pt>
                <c:pt idx="7">
                  <c:v>2.1693356757167159E-2</c:v>
                </c:pt>
                <c:pt idx="8">
                  <c:v>2.508474647577718E-2</c:v>
                </c:pt>
                <c:pt idx="9">
                  <c:v>3.2219360006132687E-2</c:v>
                </c:pt>
                <c:pt idx="10">
                  <c:v>3.3455366889535383E-2</c:v>
                </c:pt>
                <c:pt idx="11">
                  <c:v>3.077420503855852E-2</c:v>
                </c:pt>
                <c:pt idx="12">
                  <c:v>3.166311843777065E-2</c:v>
                </c:pt>
                <c:pt idx="13">
                  <c:v>2.9573633835338661E-2</c:v>
                </c:pt>
                <c:pt idx="14">
                  <c:v>2.943829474961886E-2</c:v>
                </c:pt>
                <c:pt idx="15">
                  <c:v>3.2326555355538883E-2</c:v>
                </c:pt>
                <c:pt idx="16">
                  <c:v>3.045418321235838E-2</c:v>
                </c:pt>
                <c:pt idx="17">
                  <c:v>3.0177244147381321E-2</c:v>
                </c:pt>
                <c:pt idx="18">
                  <c:v>3.0949579617420529E-2</c:v>
                </c:pt>
                <c:pt idx="19">
                  <c:v>3.3044676701229417E-2</c:v>
                </c:pt>
                <c:pt idx="20">
                  <c:v>3.4502368865567047E-2</c:v>
                </c:pt>
                <c:pt idx="21">
                  <c:v>3.8171203781773647E-2</c:v>
                </c:pt>
                <c:pt idx="22">
                  <c:v>3.2633840746857157E-2</c:v>
                </c:pt>
                <c:pt idx="23">
                  <c:v>3.22851825867847E-2</c:v>
                </c:pt>
                <c:pt idx="24">
                  <c:v>3.4293774474369272E-2</c:v>
                </c:pt>
                <c:pt idx="25">
                  <c:v>3.3493331489235549E-2</c:v>
                </c:pt>
                <c:pt idx="26">
                  <c:v>3.2256296982208908E-2</c:v>
                </c:pt>
                <c:pt idx="27">
                  <c:v>3.256327154323236E-2</c:v>
                </c:pt>
                <c:pt idx="28">
                  <c:v>3.0215972855570969E-2</c:v>
                </c:pt>
                <c:pt idx="29">
                  <c:v>2.971323515475446E-2</c:v>
                </c:pt>
                <c:pt idx="30">
                  <c:v>2.9886044202056931E-2</c:v>
                </c:pt>
                <c:pt idx="31">
                  <c:v>3.0113049153545669E-2</c:v>
                </c:pt>
                <c:pt idx="32">
                  <c:v>3.0121682992946059E-2</c:v>
                </c:pt>
                <c:pt idx="33">
                  <c:v>2.8704102443482309E-2</c:v>
                </c:pt>
                <c:pt idx="34">
                  <c:v>3.0602403901330309E-2</c:v>
                </c:pt>
                <c:pt idx="35">
                  <c:v>3.1456536502498793E-2</c:v>
                </c:pt>
                <c:pt idx="36">
                  <c:v>3.1516667937295108E-2</c:v>
                </c:pt>
                <c:pt idx="37">
                  <c:v>3.3226585884057157E-2</c:v>
                </c:pt>
                <c:pt idx="38">
                  <c:v>3.3016326225624587E-2</c:v>
                </c:pt>
                <c:pt idx="39">
                  <c:v>3.0075909553288729E-2</c:v>
                </c:pt>
                <c:pt idx="40">
                  <c:v>3.030822714314705E-2</c:v>
                </c:pt>
                <c:pt idx="41">
                  <c:v>3.1273537834975489E-2</c:v>
                </c:pt>
                <c:pt idx="42">
                  <c:v>3.005901690014778E-2</c:v>
                </c:pt>
                <c:pt idx="43">
                  <c:v>3.0573863083611631E-2</c:v>
                </c:pt>
                <c:pt idx="44">
                  <c:v>3.254448153409624E-2</c:v>
                </c:pt>
                <c:pt idx="45">
                  <c:v>3.2420025270644671E-2</c:v>
                </c:pt>
                <c:pt idx="46">
                  <c:v>3.0841270586476861E-2</c:v>
                </c:pt>
                <c:pt idx="47">
                  <c:v>3.4545476528939613E-2</c:v>
                </c:pt>
                <c:pt idx="48">
                  <c:v>3.9378011399146942E-2</c:v>
                </c:pt>
                <c:pt idx="49">
                  <c:v>3.4585845792310457E-2</c:v>
                </c:pt>
                <c:pt idx="50">
                  <c:v>3.6889295123608737E-2</c:v>
                </c:pt>
                <c:pt idx="51">
                  <c:v>3.516974061970235E-2</c:v>
                </c:pt>
                <c:pt idx="52">
                  <c:v>3.3440411726256947E-2</c:v>
                </c:pt>
                <c:pt idx="53">
                  <c:v>3.0775515895011849E-2</c:v>
                </c:pt>
                <c:pt idx="54">
                  <c:v>2.856172806220978E-2</c:v>
                </c:pt>
                <c:pt idx="55">
                  <c:v>2.9260191711765832E-2</c:v>
                </c:pt>
                <c:pt idx="56">
                  <c:v>3.1178692703543051E-2</c:v>
                </c:pt>
                <c:pt idx="57">
                  <c:v>3.7031471681131703E-2</c:v>
                </c:pt>
                <c:pt idx="58">
                  <c:v>3.9909501581123753E-2</c:v>
                </c:pt>
                <c:pt idx="59">
                  <c:v>3.3090443177845791E-2</c:v>
                </c:pt>
                <c:pt idx="60">
                  <c:v>2.0429936026239701E-2</c:v>
                </c:pt>
                <c:pt idx="61">
                  <c:v>1.594233918003489E-2</c:v>
                </c:pt>
                <c:pt idx="62">
                  <c:v>2.6561543645322629E-2</c:v>
                </c:pt>
                <c:pt idx="63">
                  <c:v>3.5068893654044378E-2</c:v>
                </c:pt>
                <c:pt idx="64">
                  <c:v>3.0967228847484721E-2</c:v>
                </c:pt>
                <c:pt idx="65">
                  <c:v>2.602705616299417E-2</c:v>
                </c:pt>
                <c:pt idx="66">
                  <c:v>2.587150374122359E-2</c:v>
                </c:pt>
                <c:pt idx="67">
                  <c:v>2.691260699372984E-2</c:v>
                </c:pt>
                <c:pt idx="68">
                  <c:v>2.5874418970458959E-2</c:v>
                </c:pt>
                <c:pt idx="69">
                  <c:v>2.3193315376484971E-2</c:v>
                </c:pt>
                <c:pt idx="70">
                  <c:v>2.2686657383630061E-2</c:v>
                </c:pt>
                <c:pt idx="71">
                  <c:v>2.6189284143623481E-2</c:v>
                </c:pt>
                <c:pt idx="72">
                  <c:v>2.7336338114147821E-2</c:v>
                </c:pt>
                <c:pt idx="73">
                  <c:v>2.7740990571672709E-2</c:v>
                </c:pt>
                <c:pt idx="74">
                  <c:v>2.877527311984417E-2</c:v>
                </c:pt>
                <c:pt idx="75">
                  <c:v>2.8510329318482429E-2</c:v>
                </c:pt>
                <c:pt idx="76">
                  <c:v>2.7909474603405621E-2</c:v>
                </c:pt>
                <c:pt idx="77">
                  <c:v>2.354699792786898E-2</c:v>
                </c:pt>
                <c:pt idx="78">
                  <c:v>2.3516397046911521E-2</c:v>
                </c:pt>
                <c:pt idx="79">
                  <c:v>2.2115174941799771E-2</c:v>
                </c:pt>
                <c:pt idx="80">
                  <c:v>2.2268202762568419E-2</c:v>
                </c:pt>
                <c:pt idx="81">
                  <c:v>2.1244426266941788E-2</c:v>
                </c:pt>
                <c:pt idx="82">
                  <c:v>3.1177386289303839E-2</c:v>
                </c:pt>
                <c:pt idx="83">
                  <c:v>2.630647686699077E-2</c:v>
                </c:pt>
                <c:pt idx="84">
                  <c:v>2.5524833007679371E-2</c:v>
                </c:pt>
                <c:pt idx="85">
                  <c:v>2.6871534411513371E-2</c:v>
                </c:pt>
                <c:pt idx="86">
                  <c:v>2.6338851413823881E-2</c:v>
                </c:pt>
                <c:pt idx="87">
                  <c:v>2.464870108961555E-2</c:v>
                </c:pt>
                <c:pt idx="88">
                  <c:v>2.6238033764437702E-2</c:v>
                </c:pt>
                <c:pt idx="89">
                  <c:v>3.0191859532939729E-2</c:v>
                </c:pt>
                <c:pt idx="90">
                  <c:v>3.071685169632082E-2</c:v>
                </c:pt>
                <c:pt idx="91">
                  <c:v>3.1790352756617277E-2</c:v>
                </c:pt>
                <c:pt idx="92">
                  <c:v>2.9789485452214989E-2</c:v>
                </c:pt>
                <c:pt idx="93">
                  <c:v>2.7419432969366012E-2</c:v>
                </c:pt>
                <c:pt idx="94">
                  <c:v>2.5375304588112151E-2</c:v>
                </c:pt>
                <c:pt idx="95">
                  <c:v>2.727143524464504E-2</c:v>
                </c:pt>
                <c:pt idx="96">
                  <c:v>2.430072520573312E-2</c:v>
                </c:pt>
                <c:pt idx="97">
                  <c:v>2.5953063658202231E-2</c:v>
                </c:pt>
                <c:pt idx="98">
                  <c:v>2.870484051773789E-2</c:v>
                </c:pt>
                <c:pt idx="99">
                  <c:v>3.0161179689259059E-2</c:v>
                </c:pt>
                <c:pt idx="100">
                  <c:v>3.7558407981539428E-2</c:v>
                </c:pt>
                <c:pt idx="101">
                  <c:v>3.5796970668813113E-2</c:v>
                </c:pt>
              </c:numCache>
            </c:numRef>
          </c:yVal>
          <c:smooth val="0"/>
          <c:extLst>
            <c:ext xmlns:c16="http://schemas.microsoft.com/office/drawing/2014/chart" uri="{C3380CC4-5D6E-409C-BE32-E72D297353CC}">
              <c16:uniqueId val="{00000000-096C-4121-9522-6AB7243CCAAE}"/>
            </c:ext>
          </c:extLst>
        </c:ser>
        <c:ser>
          <c:idx val="1"/>
          <c:order val="1"/>
          <c:tx>
            <c:strRef>
              <c:f>Sheet1!$B$10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6:$A$157</c:f>
              <c:numCache>
                <c:formatCode>General</c:formatCode>
                <c:ptCount val="52"/>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numCache>
            </c:numRef>
          </c:xVal>
          <c:yVal>
            <c:numRef>
              <c:f>Sheet1!$B$106:$B$157</c:f>
              <c:numCache>
                <c:formatCode>General</c:formatCode>
                <c:ptCount val="52"/>
                <c:pt idx="0">
                  <c:v>3.3379430772150658E-2</c:v>
                </c:pt>
                <c:pt idx="1">
                  <c:v>3.5297770608354727E-2</c:v>
                </c:pt>
                <c:pt idx="2">
                  <c:v>3.603152077608085E-2</c:v>
                </c:pt>
                <c:pt idx="3">
                  <c:v>3.0978674639028671E-2</c:v>
                </c:pt>
                <c:pt idx="4">
                  <c:v>2.8133515753956471E-2</c:v>
                </c:pt>
                <c:pt idx="5">
                  <c:v>2.7512069607189622E-2</c:v>
                </c:pt>
                <c:pt idx="6">
                  <c:v>2.753590860107619E-2</c:v>
                </c:pt>
                <c:pt idx="7">
                  <c:v>2.7306049137985969E-2</c:v>
                </c:pt>
                <c:pt idx="8">
                  <c:v>2.683860754587173E-2</c:v>
                </c:pt>
                <c:pt idx="9">
                  <c:v>2.8577136215520639E-2</c:v>
                </c:pt>
                <c:pt idx="10">
                  <c:v>2.9045708307140341E-2</c:v>
                </c:pt>
                <c:pt idx="11">
                  <c:v>3.0151694267354031E-2</c:v>
                </c:pt>
                <c:pt idx="12">
                  <c:v>3.1278274774940933E-2</c:v>
                </c:pt>
                <c:pt idx="13">
                  <c:v>3.2623144271831599E-2</c:v>
                </c:pt>
                <c:pt idx="14">
                  <c:v>3.2081452766552027E-2</c:v>
                </c:pt>
                <c:pt idx="15">
                  <c:v>2.8476513020004542E-2</c:v>
                </c:pt>
                <c:pt idx="16">
                  <c:v>2.889792926206242E-2</c:v>
                </c:pt>
                <c:pt idx="17">
                  <c:v>2.8572345272906731E-2</c:v>
                </c:pt>
                <c:pt idx="18">
                  <c:v>2.758215728763419E-2</c:v>
                </c:pt>
                <c:pt idx="19">
                  <c:v>2.6684207925807661E-2</c:v>
                </c:pt>
                <c:pt idx="20">
                  <c:v>2.507409816863837E-2</c:v>
                </c:pt>
                <c:pt idx="21">
                  <c:v>3.7053775555914388E-2</c:v>
                </c:pt>
                <c:pt idx="22">
                  <c:v>4.1201839145334811E-2</c:v>
                </c:pt>
                <c:pt idx="23">
                  <c:v>3.952108516249337E-2</c:v>
                </c:pt>
                <c:pt idx="24">
                  <c:v>3.301132678213544E-2</c:v>
                </c:pt>
                <c:pt idx="25">
                  <c:v>3.4672282379825628E-2</c:v>
                </c:pt>
                <c:pt idx="26">
                  <c:v>3.6478521099227869E-2</c:v>
                </c:pt>
                <c:pt idx="27">
                  <c:v>3.1719960612283417E-2</c:v>
                </c:pt>
                <c:pt idx="28">
                  <c:v>2.9844699099281859E-2</c:v>
                </c:pt>
                <c:pt idx="29">
                  <c:v>2.824703792935155E-2</c:v>
                </c:pt>
                <c:pt idx="30">
                  <c:v>2.3926861689124789E-2</c:v>
                </c:pt>
                <c:pt idx="31">
                  <c:v>2.077067140814904E-2</c:v>
                </c:pt>
                <c:pt idx="32">
                  <c:v>2.3460558709885782E-2</c:v>
                </c:pt>
                <c:pt idx="33">
                  <c:v>3.042796286207031E-2</c:v>
                </c:pt>
                <c:pt idx="34">
                  <c:v>3.1037706913624011E-2</c:v>
                </c:pt>
                <c:pt idx="35">
                  <c:v>2.928997264422914E-2</c:v>
                </c:pt>
                <c:pt idx="36">
                  <c:v>2.9697936908540851E-2</c:v>
                </c:pt>
                <c:pt idx="37">
                  <c:v>3.0248130900335801E-2</c:v>
                </c:pt>
                <c:pt idx="38">
                  <c:v>3.5070387750061743E-2</c:v>
                </c:pt>
                <c:pt idx="39">
                  <c:v>3.120833777020552E-2</c:v>
                </c:pt>
                <c:pt idx="40">
                  <c:v>2.682679016675503E-2</c:v>
                </c:pt>
                <c:pt idx="41">
                  <c:v>2.4203784771293649E-2</c:v>
                </c:pt>
                <c:pt idx="42">
                  <c:v>2.4098053977022381E-2</c:v>
                </c:pt>
                <c:pt idx="43">
                  <c:v>2.4523754132153151E-2</c:v>
                </c:pt>
                <c:pt idx="44">
                  <c:v>2.2379504666963371E-2</c:v>
                </c:pt>
                <c:pt idx="45">
                  <c:v>2.104065524243157E-2</c:v>
                </c:pt>
                <c:pt idx="46">
                  <c:v>2.202824012890214E-2</c:v>
                </c:pt>
                <c:pt idx="47">
                  <c:v>2.3321641522021069E-2</c:v>
                </c:pt>
                <c:pt idx="48">
                  <c:v>2.5721900660138009E-2</c:v>
                </c:pt>
                <c:pt idx="49">
                  <c:v>2.4967370312040962E-2</c:v>
                </c:pt>
                <c:pt idx="50">
                  <c:v>2.603335979145837E-2</c:v>
                </c:pt>
                <c:pt idx="51">
                  <c:v>2.5702227757022279E-2</c:v>
                </c:pt>
              </c:numCache>
            </c:numRef>
          </c:yVal>
          <c:smooth val="0"/>
          <c:extLst>
            <c:ext xmlns:c16="http://schemas.microsoft.com/office/drawing/2014/chart" uri="{C3380CC4-5D6E-409C-BE32-E72D297353CC}">
              <c16:uniqueId val="{00000002-096C-4121-9522-6AB7243CCAAE}"/>
            </c:ext>
          </c:extLst>
        </c:ser>
        <c:ser>
          <c:idx val="2"/>
          <c:order val="2"/>
          <c:tx>
            <c:strRef>
              <c:f>Sheet1!$B$15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0:$A$161</c:f>
              <c:numCache>
                <c:formatCode>General</c:formatCode>
                <c:ptCount val="2"/>
                <c:pt idx="0">
                  <c:v>0</c:v>
                </c:pt>
                <c:pt idx="1">
                  <c:v>0.1108820277239114</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5-096C-4121-9522-6AB7243CCAAE}"/>
            </c:ext>
          </c:extLst>
        </c:ser>
        <c:ser>
          <c:idx val="3"/>
          <c:order val="3"/>
          <c:tx>
            <c:strRef>
              <c:f>Sheet1!$B$16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0.1108820277239114</c:v>
                </c:pt>
                <c:pt idx="1">
                  <c:v>0.1108820277239114</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8:$A$169</c:f>
              <c:numCache>
                <c:formatCode>General</c:formatCode>
                <c:ptCount val="2"/>
                <c:pt idx="0">
                  <c:v>0</c:v>
                </c:pt>
                <c:pt idx="1">
                  <c:v>0.11732114474802791</c:v>
                </c:pt>
              </c:numCache>
            </c:numRef>
          </c:xVal>
          <c:yVal>
            <c:numRef>
              <c:f>Sheet1!$B$168:$B$169</c:f>
              <c:numCache>
                <c:formatCode>General</c:formatCode>
                <c:ptCount val="2"/>
                <c:pt idx="0">
                  <c:v>3.1101577984060609E-2</c:v>
                </c:pt>
                <c:pt idx="1">
                  <c:v>3.1101577984060609E-2</c:v>
                </c:pt>
              </c:numCache>
            </c:numRef>
          </c:yVal>
          <c:smooth val="0"/>
          <c:extLst>
            <c:ext xmlns:c16="http://schemas.microsoft.com/office/drawing/2014/chart" uri="{C3380CC4-5D6E-409C-BE32-E72D297353CC}">
              <c16:uniqueId val="{0000000D-096C-4121-9522-6AB7243CCAAE}"/>
            </c:ext>
          </c:extLst>
        </c:ser>
        <c:ser>
          <c:idx val="5"/>
          <c:order val="5"/>
          <c:tx>
            <c:strRef>
              <c:f>Sheet1!$B$17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0.11732114474802791</c:v>
                </c:pt>
                <c:pt idx="1">
                  <c:v>0.11732114474802791</c:v>
                </c:pt>
              </c:numCache>
            </c:numRef>
          </c:xVal>
          <c:yVal>
            <c:numRef>
              <c:f>Sheet1!$B$172:$B$173</c:f>
              <c:numCache>
                <c:formatCode>General</c:formatCode>
                <c:ptCount val="2"/>
                <c:pt idx="0">
                  <c:v>3.1101577984060609E-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6:$A$177</c:f>
              <c:numCache>
                <c:formatCode>General</c:formatCode>
                <c:ptCount val="2"/>
                <c:pt idx="0">
                  <c:v>0</c:v>
                </c:pt>
                <c:pt idx="1">
                  <c:v>0.13512234665834599</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5-096C-4121-9522-6AB7243CCAAE}"/>
            </c:ext>
          </c:extLst>
        </c:ser>
        <c:ser>
          <c:idx val="7"/>
          <c:order val="7"/>
          <c:tx>
            <c:strRef>
              <c:f>Sheet1!$B$17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0:$A$181</c:f>
              <c:numCache>
                <c:formatCode>General</c:formatCode>
                <c:ptCount val="2"/>
                <c:pt idx="0">
                  <c:v>0.13512234665834599</c:v>
                </c:pt>
                <c:pt idx="1">
                  <c:v>0.13512234665834599</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4:$A$238</c:f>
              <c:numCache>
                <c:formatCode>General</c:formatCode>
                <c:ptCount val="55"/>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pt idx="52">
                  <c:v>0.11732114474802791</c:v>
                </c:pt>
                <c:pt idx="53">
                  <c:v>0.1108820277239114</c:v>
                </c:pt>
                <c:pt idx="54">
                  <c:v>0.13512234665834599</c:v>
                </c:pt>
              </c:numCache>
            </c:numRef>
          </c:xVal>
          <c:yVal>
            <c:numRef>
              <c:f>Sheet1!$B$184:$B$238</c:f>
              <c:numCache>
                <c:formatCode>General</c:formatCode>
                <c:ptCount val="55"/>
                <c:pt idx="0">
                  <c:v>3.1620668745252142E-2</c:v>
                </c:pt>
                <c:pt idx="1">
                  <c:v>3.1654790245678951E-2</c:v>
                </c:pt>
                <c:pt idx="2">
                  <c:v>3.2783325344754151E-2</c:v>
                </c:pt>
                <c:pt idx="3">
                  <c:v>3.022688607526958E-2</c:v>
                </c:pt>
                <c:pt idx="4">
                  <c:v>2.8540776744242852E-2</c:v>
                </c:pt>
                <c:pt idx="5">
                  <c:v>2.8198639317480349E-2</c:v>
                </c:pt>
                <c:pt idx="6">
                  <c:v>2.8149354774764782E-2</c:v>
                </c:pt>
                <c:pt idx="7">
                  <c:v>2.8199004366077019E-2</c:v>
                </c:pt>
                <c:pt idx="8">
                  <c:v>3.0157282303857849E-2</c:v>
                </c:pt>
                <c:pt idx="9">
                  <c:v>2.9717490317624731E-2</c:v>
                </c:pt>
                <c:pt idx="10">
                  <c:v>2.880162617160174E-2</c:v>
                </c:pt>
                <c:pt idx="11">
                  <c:v>3.0799476543192809E-2</c:v>
                </c:pt>
                <c:pt idx="12">
                  <c:v>2.8080121278043681E-2</c:v>
                </c:pt>
                <c:pt idx="13">
                  <c:v>2.8247092051713919E-2</c:v>
                </c:pt>
                <c:pt idx="14">
                  <c:v>2.639540124703324E-2</c:v>
                </c:pt>
                <c:pt idx="15">
                  <c:v>1.9220157910636009E-2</c:v>
                </c:pt>
                <c:pt idx="16">
                  <c:v>2.9292926757015069E-2</c:v>
                </c:pt>
                <c:pt idx="17">
                  <c:v>2.9541107656935999E-2</c:v>
                </c:pt>
                <c:pt idx="18">
                  <c:v>3.1154431279754719E-2</c:v>
                </c:pt>
                <c:pt idx="19">
                  <c:v>2.9461129531890291E-2</c:v>
                </c:pt>
                <c:pt idx="20">
                  <c:v>3.0313783713891131E-2</c:v>
                </c:pt>
                <c:pt idx="21">
                  <c:v>3.3508822667282862E-2</c:v>
                </c:pt>
                <c:pt idx="22">
                  <c:v>3.4739165058279807E-2</c:v>
                </c:pt>
                <c:pt idx="23">
                  <c:v>3.3561500120319547E-2</c:v>
                </c:pt>
                <c:pt idx="24">
                  <c:v>3.0961282548418428E-2</c:v>
                </c:pt>
                <c:pt idx="25">
                  <c:v>3.325613118609181E-2</c:v>
                </c:pt>
                <c:pt idx="26">
                  <c:v>3.230935798656305E-2</c:v>
                </c:pt>
                <c:pt idx="27">
                  <c:v>3.0186042242885399E-2</c:v>
                </c:pt>
                <c:pt idx="28">
                  <c:v>2.9826699740302571E-2</c:v>
                </c:pt>
                <c:pt idx="29">
                  <c:v>2.8461825588360749E-2</c:v>
                </c:pt>
                <c:pt idx="30">
                  <c:v>2.6667445839888119E-2</c:v>
                </c:pt>
                <c:pt idx="31">
                  <c:v>2.9333797528733729E-2</c:v>
                </c:pt>
                <c:pt idx="32">
                  <c:v>2.8469462201818171E-2</c:v>
                </c:pt>
                <c:pt idx="33">
                  <c:v>3.1278574864500211E-2</c:v>
                </c:pt>
                <c:pt idx="34">
                  <c:v>3.362517184260494E-2</c:v>
                </c:pt>
                <c:pt idx="35">
                  <c:v>3.1259339751075838E-2</c:v>
                </c:pt>
                <c:pt idx="36">
                  <c:v>3.2466678789921898E-2</c:v>
                </c:pt>
                <c:pt idx="37">
                  <c:v>3.336561461501103E-2</c:v>
                </c:pt>
                <c:pt idx="38">
                  <c:v>3.1897061212580187E-2</c:v>
                </c:pt>
                <c:pt idx="39">
                  <c:v>3.0591232179052279E-2</c:v>
                </c:pt>
                <c:pt idx="40">
                  <c:v>2.6490890509876141E-2</c:v>
                </c:pt>
                <c:pt idx="41">
                  <c:v>2.5005655171483909E-2</c:v>
                </c:pt>
                <c:pt idx="42">
                  <c:v>2.471524594195228E-2</c:v>
                </c:pt>
                <c:pt idx="43">
                  <c:v>2.5740688254943609E-2</c:v>
                </c:pt>
                <c:pt idx="44">
                  <c:v>2.534241769031121E-2</c:v>
                </c:pt>
                <c:pt idx="45">
                  <c:v>2.5785004878787769E-2</c:v>
                </c:pt>
                <c:pt idx="46">
                  <c:v>2.6712805427711591E-2</c:v>
                </c:pt>
                <c:pt idx="47">
                  <c:v>2.6016063432124481E-2</c:v>
                </c:pt>
                <c:pt idx="48">
                  <c:v>2.645901837190287E-2</c:v>
                </c:pt>
                <c:pt idx="49">
                  <c:v>2.253097533810856E-2</c:v>
                </c:pt>
                <c:pt idx="50">
                  <c:v>2.3407974477709061E-2</c:v>
                </c:pt>
                <c:pt idx="51">
                  <c:v>2.5267129597052979E-2</c:v>
                </c:pt>
                <c:pt idx="52">
                  <c:v>3.1101577984060599E-2</c:v>
                </c:pt>
                <c:pt idx="53">
                  <c:v>3.3390590546211449E-2</c:v>
                </c:pt>
                <c:pt idx="54">
                  <c:v>2.47735092998775E-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18089307194123574"/>
          <c:min val="7.5697543274504286E-2"/>
        </c:scaling>
        <c:delete val="0"/>
        <c:axPos val="b"/>
        <c:title>
          <c:tx>
            <c:rich>
              <a:bodyPr rot="0" spcFirstLastPara="1" vertOverflow="ellipsis" vert="horz" wrap="square" anchor="ctr" anchorCtr="1"/>
              <a:lstStyle/>
              <a:p>
                <a:pPr>
                  <a:defRPr sz="800" b="0">
                    <a:solidFill>
                      <a:srgbClr val="575555"/>
                    </a:solidFill>
                    <a:latin typeface="Nexa Bold"/>
                  </a:defRPr>
                </a:pPr>
                <a:r>
                  <a:rPr lang="en-US"/>
                  <a:t>Price Ix vs. Gillette Fusion5</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3084051742229012</c:v>
                </c:pt>
                <c:pt idx="1">
                  <c:v>0.31591786351078627</c:v>
                </c:pt>
                <c:pt idx="2">
                  <c:v>0.32058023334902946</c:v>
                </c:pt>
                <c:pt idx="3">
                  <c:v>0.31551466024025998</c:v>
                </c:pt>
                <c:pt idx="4">
                  <c:v>0.31248983133575575</c:v>
                </c:pt>
                <c:pt idx="5">
                  <c:v>0.31209899175068745</c:v>
                </c:pt>
                <c:pt idx="6">
                  <c:v>0.31243915630070307</c:v>
                </c:pt>
                <c:pt idx="7">
                  <c:v>0.3133619793471481</c:v>
                </c:pt>
                <c:pt idx="8">
                  <c:v>0.31671907756813417</c:v>
                </c:pt>
                <c:pt idx="9">
                  <c:v>0.31082322826247477</c:v>
                </c:pt>
                <c:pt idx="10">
                  <c:v>0.31047212859141043</c:v>
                </c:pt>
                <c:pt idx="11">
                  <c:v>0.30851195946449417</c:v>
                </c:pt>
                <c:pt idx="12">
                  <c:v>0.30743476600274672</c:v>
                </c:pt>
                <c:pt idx="13">
                  <c:v>0.30557876018361524</c:v>
                </c:pt>
                <c:pt idx="14">
                  <c:v>0.30608180521683359</c:v>
                </c:pt>
                <c:pt idx="15">
                  <c:v>0.30537959003209308</c:v>
                </c:pt>
                <c:pt idx="16">
                  <c:v>0.30479028449342177</c:v>
                </c:pt>
                <c:pt idx="17">
                  <c:v>0.30535697989231286</c:v>
                </c:pt>
                <c:pt idx="18">
                  <c:v>0.30758733419811496</c:v>
                </c:pt>
                <c:pt idx="19">
                  <c:v>0.30384356418742708</c:v>
                </c:pt>
                <c:pt idx="20">
                  <c:v>0.30255871389344829</c:v>
                </c:pt>
                <c:pt idx="21">
                  <c:v>0.30131492720175512</c:v>
                </c:pt>
                <c:pt idx="22">
                  <c:v>0.30402402402402401</c:v>
                </c:pt>
                <c:pt idx="23">
                  <c:v>0.3041818228723267</c:v>
                </c:pt>
                <c:pt idx="24">
                  <c:v>0.30380595989557657</c:v>
                </c:pt>
                <c:pt idx="25">
                  <c:v>0.30266464709715091</c:v>
                </c:pt>
                <c:pt idx="26">
                  <c:v>0.30198090992432275</c:v>
                </c:pt>
                <c:pt idx="27">
                  <c:v>0.30261018186645428</c:v>
                </c:pt>
                <c:pt idx="28">
                  <c:v>0.30379475941413642</c:v>
                </c:pt>
                <c:pt idx="29">
                  <c:v>0.30510575091808745</c:v>
                </c:pt>
                <c:pt idx="30">
                  <c:v>0.30547263681592041</c:v>
                </c:pt>
                <c:pt idx="31">
                  <c:v>0.30191808942530629</c:v>
                </c:pt>
                <c:pt idx="32">
                  <c:v>0.30004016835781272</c:v>
                </c:pt>
                <c:pt idx="33">
                  <c:v>0.30140260803244229</c:v>
                </c:pt>
                <c:pt idx="34">
                  <c:v>0.30315931183998879</c:v>
                </c:pt>
                <c:pt idx="35">
                  <c:v>0.30423707530585153</c:v>
                </c:pt>
                <c:pt idx="36">
                  <c:v>0.30339368848493503</c:v>
                </c:pt>
                <c:pt idx="37">
                  <c:v>0.30312142377964563</c:v>
                </c:pt>
                <c:pt idx="38">
                  <c:v>0.30421477922015827</c:v>
                </c:pt>
                <c:pt idx="39">
                  <c:v>0.30360700245050509</c:v>
                </c:pt>
                <c:pt idx="40">
                  <c:v>0.30482776067799466</c:v>
                </c:pt>
                <c:pt idx="41">
                  <c:v>0.30496561046396053</c:v>
                </c:pt>
                <c:pt idx="42">
                  <c:v>0.30474260101509459</c:v>
                </c:pt>
                <c:pt idx="43">
                  <c:v>0.30487658997567685</c:v>
                </c:pt>
                <c:pt idx="44">
                  <c:v>0.30417377406912238</c:v>
                </c:pt>
                <c:pt idx="45">
                  <c:v>0.30429474182711519</c:v>
                </c:pt>
                <c:pt idx="46">
                  <c:v>0.30416987037597953</c:v>
                </c:pt>
                <c:pt idx="47">
                  <c:v>0.30177142857142858</c:v>
                </c:pt>
                <c:pt idx="48">
                  <c:v>0.30034428178139644</c:v>
                </c:pt>
                <c:pt idx="49">
                  <c:v>0.30020553910468561</c:v>
                </c:pt>
                <c:pt idx="50">
                  <c:v>0.30020393921120919</c:v>
                </c:pt>
                <c:pt idx="51">
                  <c:v>0.30029572161037082</c:v>
                </c:pt>
                <c:pt idx="52">
                  <c:v>0.30085731375024921</c:v>
                </c:pt>
                <c:pt idx="53">
                  <c:v>0.30374794069192751</c:v>
                </c:pt>
                <c:pt idx="54">
                  <c:v>0.30475569923731716</c:v>
                </c:pt>
                <c:pt idx="55">
                  <c:v>0.30484411191281596</c:v>
                </c:pt>
                <c:pt idx="56">
                  <c:v>0.29666067320451317</c:v>
                </c:pt>
                <c:pt idx="57">
                  <c:v>0.25400835544515327</c:v>
                </c:pt>
                <c:pt idx="58">
                  <c:v>0.23382400369980466</c:v>
                </c:pt>
                <c:pt idx="59">
                  <c:v>0.23943026116791946</c:v>
                </c:pt>
                <c:pt idx="60">
                  <c:v>0.25369491863085675</c:v>
                </c:pt>
                <c:pt idx="61">
                  <c:v>0.26335839430757868</c:v>
                </c:pt>
                <c:pt idx="62">
                  <c:v>0.24811366501794199</c:v>
                </c:pt>
                <c:pt idx="63">
                  <c:v>0.25331883600138116</c:v>
                </c:pt>
                <c:pt idx="64">
                  <c:v>0.27606841827999473</c:v>
                </c:pt>
                <c:pt idx="65">
                  <c:v>0.28160478817918266</c:v>
                </c:pt>
                <c:pt idx="66">
                  <c:v>0.29229782021117312</c:v>
                </c:pt>
                <c:pt idx="67">
                  <c:v>0.30127414335954045</c:v>
                </c:pt>
                <c:pt idx="68">
                  <c:v>0.30305886879569066</c:v>
                </c:pt>
                <c:pt idx="69">
                  <c:v>0.30492991022208221</c:v>
                </c:pt>
                <c:pt idx="70">
                  <c:v>0.30628978911194849</c:v>
                </c:pt>
                <c:pt idx="71">
                  <c:v>0.30507690665654685</c:v>
                </c:pt>
                <c:pt idx="72">
                  <c:v>0.30607670596048481</c:v>
                </c:pt>
                <c:pt idx="73">
                  <c:v>0.3116373241246056</c:v>
                </c:pt>
                <c:pt idx="74">
                  <c:v>0.31424842998124136</c:v>
                </c:pt>
                <c:pt idx="75">
                  <c:v>0.31320176754871626</c:v>
                </c:pt>
                <c:pt idx="76">
                  <c:v>0.31380953870863448</c:v>
                </c:pt>
                <c:pt idx="77">
                  <c:v>0.32590348409435188</c:v>
                </c:pt>
                <c:pt idx="78">
                  <c:v>0.33061711871301291</c:v>
                </c:pt>
                <c:pt idx="79">
                  <c:v>0.33376024237416513</c:v>
                </c:pt>
                <c:pt idx="80">
                  <c:v>0.334863282523373</c:v>
                </c:pt>
                <c:pt idx="81">
                  <c:v>0.33732775797715603</c:v>
                </c:pt>
                <c:pt idx="82">
                  <c:v>0.3340239432262419</c:v>
                </c:pt>
                <c:pt idx="83">
                  <c:v>0.32813911724353323</c:v>
                </c:pt>
                <c:pt idx="84">
                  <c:v>0.32451377453380215</c:v>
                </c:pt>
                <c:pt idx="85">
                  <c:v>0.3242920313313794</c:v>
                </c:pt>
                <c:pt idx="86">
                  <c:v>0.32834757834757833</c:v>
                </c:pt>
                <c:pt idx="87">
                  <c:v>0.33024565689467972</c:v>
                </c:pt>
                <c:pt idx="88">
                  <c:v>0.33047076978575868</c:v>
                </c:pt>
                <c:pt idx="89">
                  <c:v>0.32960364974033468</c:v>
                </c:pt>
                <c:pt idx="90">
                  <c:v>0.32877782475231143</c:v>
                </c:pt>
                <c:pt idx="91">
                  <c:v>0.33265505668454848</c:v>
                </c:pt>
                <c:pt idx="92">
                  <c:v>0.33383080669232584</c:v>
                </c:pt>
                <c:pt idx="93">
                  <c:v>0.33445095599479496</c:v>
                </c:pt>
                <c:pt idx="94">
                  <c:v>0.33425385899470356</c:v>
                </c:pt>
                <c:pt idx="95">
                  <c:v>0.33302358553829059</c:v>
                </c:pt>
                <c:pt idx="96">
                  <c:v>0.3331230702831911</c:v>
                </c:pt>
                <c:pt idx="97">
                  <c:v>0.33248279672509923</c:v>
                </c:pt>
                <c:pt idx="98">
                  <c:v>0.33184443040565192</c:v>
                </c:pt>
                <c:pt idx="99">
                  <c:v>0.31234357273380736</c:v>
                </c:pt>
                <c:pt idx="100">
                  <c:v>0.30123106937136429</c:v>
                </c:pt>
                <c:pt idx="101">
                  <c:v>0.30056872662328632</c:v>
                </c:pt>
              </c:numCache>
            </c:numRef>
          </c:xVal>
          <c:yVal>
            <c:numRef>
              <c:f>Sheet1!$B$2:$B$103</c:f>
              <c:numCache>
                <c:formatCode>General</c:formatCode>
                <c:ptCount val="102"/>
                <c:pt idx="0">
                  <c:v>3.1549194168607006E-2</c:v>
                </c:pt>
                <c:pt idx="1">
                  <c:v>2.5925076493376501E-2</c:v>
                </c:pt>
                <c:pt idx="2">
                  <c:v>1.9457371147598559E-2</c:v>
                </c:pt>
                <c:pt idx="3">
                  <c:v>2.1005226955186754E-2</c:v>
                </c:pt>
                <c:pt idx="4">
                  <c:v>2.3683174888924508E-2</c:v>
                </c:pt>
                <c:pt idx="5">
                  <c:v>2.4814911692122233E-2</c:v>
                </c:pt>
                <c:pt idx="6">
                  <c:v>2.2966901329024649E-2</c:v>
                </c:pt>
                <c:pt idx="7">
                  <c:v>2.1693356757167159E-2</c:v>
                </c:pt>
                <c:pt idx="8">
                  <c:v>2.508474647577718E-2</c:v>
                </c:pt>
                <c:pt idx="9">
                  <c:v>3.2219360006132694E-2</c:v>
                </c:pt>
                <c:pt idx="10">
                  <c:v>3.3455366889535383E-2</c:v>
                </c:pt>
                <c:pt idx="11">
                  <c:v>3.0774205038558523E-2</c:v>
                </c:pt>
                <c:pt idx="12">
                  <c:v>3.166311843777065E-2</c:v>
                </c:pt>
                <c:pt idx="13">
                  <c:v>2.9573633835338665E-2</c:v>
                </c:pt>
                <c:pt idx="14">
                  <c:v>2.9438294749618857E-2</c:v>
                </c:pt>
                <c:pt idx="15">
                  <c:v>3.2326555355538883E-2</c:v>
                </c:pt>
                <c:pt idx="16">
                  <c:v>3.0454183212358377E-2</c:v>
                </c:pt>
                <c:pt idx="17">
                  <c:v>3.0177244147381318E-2</c:v>
                </c:pt>
                <c:pt idx="18">
                  <c:v>3.0949579617420526E-2</c:v>
                </c:pt>
                <c:pt idx="19">
                  <c:v>3.3044676701229417E-2</c:v>
                </c:pt>
                <c:pt idx="20">
                  <c:v>3.4502368865567047E-2</c:v>
                </c:pt>
                <c:pt idx="21">
                  <c:v>3.8171203781773647E-2</c:v>
                </c:pt>
                <c:pt idx="22">
                  <c:v>3.2633840746857157E-2</c:v>
                </c:pt>
                <c:pt idx="23">
                  <c:v>3.22851825867847E-2</c:v>
                </c:pt>
                <c:pt idx="24">
                  <c:v>3.4293774474369265E-2</c:v>
                </c:pt>
                <c:pt idx="25">
                  <c:v>3.3493331489235549E-2</c:v>
                </c:pt>
                <c:pt idx="26">
                  <c:v>3.2256296982208908E-2</c:v>
                </c:pt>
                <c:pt idx="27">
                  <c:v>3.256327154323236E-2</c:v>
                </c:pt>
                <c:pt idx="28">
                  <c:v>3.0215972855570965E-2</c:v>
                </c:pt>
                <c:pt idx="29">
                  <c:v>2.971323515475446E-2</c:v>
                </c:pt>
                <c:pt idx="30">
                  <c:v>2.9886044202056927E-2</c:v>
                </c:pt>
                <c:pt idx="31">
                  <c:v>3.0113049153545669E-2</c:v>
                </c:pt>
                <c:pt idx="32">
                  <c:v>3.0121682992946059E-2</c:v>
                </c:pt>
                <c:pt idx="33">
                  <c:v>2.8704102443482309E-2</c:v>
                </c:pt>
                <c:pt idx="34">
                  <c:v>3.0602403901330309E-2</c:v>
                </c:pt>
                <c:pt idx="35">
                  <c:v>3.1456536502498786E-2</c:v>
                </c:pt>
                <c:pt idx="36">
                  <c:v>3.1516667937295108E-2</c:v>
                </c:pt>
                <c:pt idx="37">
                  <c:v>3.3226585884057164E-2</c:v>
                </c:pt>
                <c:pt idx="38">
                  <c:v>3.3016326225624587E-2</c:v>
                </c:pt>
                <c:pt idx="39">
                  <c:v>3.0075909553288729E-2</c:v>
                </c:pt>
                <c:pt idx="40">
                  <c:v>3.0308227143147046E-2</c:v>
                </c:pt>
                <c:pt idx="41">
                  <c:v>3.1273537834975489E-2</c:v>
                </c:pt>
                <c:pt idx="42">
                  <c:v>3.0059016900147784E-2</c:v>
                </c:pt>
                <c:pt idx="43">
                  <c:v>3.0573863083611635E-2</c:v>
                </c:pt>
                <c:pt idx="44">
                  <c:v>3.254448153409624E-2</c:v>
                </c:pt>
                <c:pt idx="45">
                  <c:v>3.2420025270644671E-2</c:v>
                </c:pt>
                <c:pt idx="46">
                  <c:v>3.0841270586476857E-2</c:v>
                </c:pt>
                <c:pt idx="47">
                  <c:v>3.4545476528939606E-2</c:v>
                </c:pt>
                <c:pt idx="48">
                  <c:v>3.9378011399146942E-2</c:v>
                </c:pt>
                <c:pt idx="49">
                  <c:v>3.4585845792310457E-2</c:v>
                </c:pt>
                <c:pt idx="50">
                  <c:v>3.6889295123608744E-2</c:v>
                </c:pt>
                <c:pt idx="51">
                  <c:v>3.516974061970235E-2</c:v>
                </c:pt>
                <c:pt idx="52">
                  <c:v>3.3440411726256954E-2</c:v>
                </c:pt>
                <c:pt idx="53">
                  <c:v>3.0775515895011849E-2</c:v>
                </c:pt>
                <c:pt idx="54">
                  <c:v>2.856172806220978E-2</c:v>
                </c:pt>
                <c:pt idx="55">
                  <c:v>2.9260191711765828E-2</c:v>
                </c:pt>
                <c:pt idx="56">
                  <c:v>3.1178692703543048E-2</c:v>
                </c:pt>
                <c:pt idx="57">
                  <c:v>3.7031471681131703E-2</c:v>
                </c:pt>
                <c:pt idx="58">
                  <c:v>3.9909501581123753E-2</c:v>
                </c:pt>
                <c:pt idx="59">
                  <c:v>3.3090443177845791E-2</c:v>
                </c:pt>
                <c:pt idx="60">
                  <c:v>2.0429936026239697E-2</c:v>
                </c:pt>
                <c:pt idx="61">
                  <c:v>1.5942339180034886E-2</c:v>
                </c:pt>
                <c:pt idx="62">
                  <c:v>2.6561543645322632E-2</c:v>
                </c:pt>
                <c:pt idx="63">
                  <c:v>3.5068893654044385E-2</c:v>
                </c:pt>
                <c:pt idx="64">
                  <c:v>3.0967228847484717E-2</c:v>
                </c:pt>
                <c:pt idx="65">
                  <c:v>2.6027056162994167E-2</c:v>
                </c:pt>
                <c:pt idx="66">
                  <c:v>2.5871503741223587E-2</c:v>
                </c:pt>
                <c:pt idx="67">
                  <c:v>2.691260699372984E-2</c:v>
                </c:pt>
                <c:pt idx="68">
                  <c:v>2.5874418970458959E-2</c:v>
                </c:pt>
                <c:pt idx="69">
                  <c:v>2.3193315376484971E-2</c:v>
                </c:pt>
                <c:pt idx="70">
                  <c:v>2.2686657383630057E-2</c:v>
                </c:pt>
                <c:pt idx="71">
                  <c:v>2.6189284143623485E-2</c:v>
                </c:pt>
                <c:pt idx="72">
                  <c:v>2.7336338114147821E-2</c:v>
                </c:pt>
                <c:pt idx="73">
                  <c:v>2.7740990571672709E-2</c:v>
                </c:pt>
                <c:pt idx="74">
                  <c:v>2.8775273119844166E-2</c:v>
                </c:pt>
                <c:pt idx="75">
                  <c:v>2.8510329318482425E-2</c:v>
                </c:pt>
                <c:pt idx="76">
                  <c:v>2.7909474603405617E-2</c:v>
                </c:pt>
                <c:pt idx="77">
                  <c:v>2.354699792786898E-2</c:v>
                </c:pt>
                <c:pt idx="78">
                  <c:v>2.3516397046911525E-2</c:v>
                </c:pt>
                <c:pt idx="79">
                  <c:v>2.2115174941799768E-2</c:v>
                </c:pt>
                <c:pt idx="80">
                  <c:v>2.2268202762568419E-2</c:v>
                </c:pt>
                <c:pt idx="81">
                  <c:v>2.1244426266941792E-2</c:v>
                </c:pt>
                <c:pt idx="82">
                  <c:v>3.1177386289303839E-2</c:v>
                </c:pt>
                <c:pt idx="83">
                  <c:v>2.6306476866990773E-2</c:v>
                </c:pt>
                <c:pt idx="84">
                  <c:v>2.5524833007679375E-2</c:v>
                </c:pt>
                <c:pt idx="85">
                  <c:v>2.6871534411513368E-2</c:v>
                </c:pt>
                <c:pt idx="86">
                  <c:v>2.6338851413823878E-2</c:v>
                </c:pt>
                <c:pt idx="87">
                  <c:v>2.4648701089615546E-2</c:v>
                </c:pt>
                <c:pt idx="88">
                  <c:v>2.6238033764437702E-2</c:v>
                </c:pt>
                <c:pt idx="89">
                  <c:v>3.0191859532939729E-2</c:v>
                </c:pt>
                <c:pt idx="90">
                  <c:v>3.0716851696320817E-2</c:v>
                </c:pt>
                <c:pt idx="91">
                  <c:v>3.1790352756617284E-2</c:v>
                </c:pt>
                <c:pt idx="92">
                  <c:v>2.9789485452214992E-2</c:v>
                </c:pt>
                <c:pt idx="93">
                  <c:v>2.7419432969366012E-2</c:v>
                </c:pt>
                <c:pt idx="94">
                  <c:v>2.5375304588112154E-2</c:v>
                </c:pt>
                <c:pt idx="95">
                  <c:v>2.7271435244645044E-2</c:v>
                </c:pt>
                <c:pt idx="96">
                  <c:v>2.4300725205733124E-2</c:v>
                </c:pt>
                <c:pt idx="97">
                  <c:v>2.5953063658202231E-2</c:v>
                </c:pt>
                <c:pt idx="98">
                  <c:v>2.870484051773789E-2</c:v>
                </c:pt>
                <c:pt idx="99">
                  <c:v>3.0161179689259059E-2</c:v>
                </c:pt>
                <c:pt idx="100">
                  <c:v>3.7558407981539428E-2</c:v>
                </c:pt>
                <c:pt idx="101">
                  <c:v>3.5796970668813106E-2</c:v>
                </c:pt>
              </c:numCache>
            </c:numRef>
          </c:yVal>
          <c:smooth val="0"/>
          <c:extLst>
            <c:ext xmlns:c16="http://schemas.microsoft.com/office/drawing/2014/chart" uri="{C3380CC4-5D6E-409C-BE32-E72D297353CC}">
              <c16:uniqueId val="{00000000-F32D-48B7-BC20-E66FC6253BAD}"/>
            </c:ext>
          </c:extLst>
        </c:ser>
        <c:ser>
          <c:idx val="1"/>
          <c:order val="1"/>
          <c:tx>
            <c:strRef>
              <c:f>Sheet1!$B$10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6:$A$157</c:f>
              <c:numCache>
                <c:formatCode>General</c:formatCode>
                <c:ptCount val="52"/>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numCache>
            </c:numRef>
          </c:xVal>
          <c:yVal>
            <c:numRef>
              <c:f>Sheet1!$B$106:$B$157</c:f>
              <c:numCache>
                <c:formatCode>General</c:formatCode>
                <c:ptCount val="52"/>
                <c:pt idx="0">
                  <c:v>3.3379430772150658E-2</c:v>
                </c:pt>
                <c:pt idx="1">
                  <c:v>3.5297770608354727E-2</c:v>
                </c:pt>
                <c:pt idx="2">
                  <c:v>3.603152077608085E-2</c:v>
                </c:pt>
                <c:pt idx="3">
                  <c:v>3.0978674639028675E-2</c:v>
                </c:pt>
                <c:pt idx="4">
                  <c:v>2.8133515753956471E-2</c:v>
                </c:pt>
                <c:pt idx="5">
                  <c:v>2.7512069607189618E-2</c:v>
                </c:pt>
                <c:pt idx="6">
                  <c:v>2.7535908601076187E-2</c:v>
                </c:pt>
                <c:pt idx="7">
                  <c:v>2.7306049137985969E-2</c:v>
                </c:pt>
                <c:pt idx="8">
                  <c:v>2.6838607545871734E-2</c:v>
                </c:pt>
                <c:pt idx="9">
                  <c:v>2.8577136215520643E-2</c:v>
                </c:pt>
                <c:pt idx="10">
                  <c:v>2.9045708307140341E-2</c:v>
                </c:pt>
                <c:pt idx="11">
                  <c:v>3.0151694267354034E-2</c:v>
                </c:pt>
                <c:pt idx="12">
                  <c:v>3.1278274774940926E-2</c:v>
                </c:pt>
                <c:pt idx="13">
                  <c:v>3.2623144271831599E-2</c:v>
                </c:pt>
                <c:pt idx="14">
                  <c:v>3.2081452766552027E-2</c:v>
                </c:pt>
                <c:pt idx="15">
                  <c:v>2.8476513020004538E-2</c:v>
                </c:pt>
                <c:pt idx="16">
                  <c:v>2.8897929262062423E-2</c:v>
                </c:pt>
                <c:pt idx="17">
                  <c:v>2.8572345272906727E-2</c:v>
                </c:pt>
                <c:pt idx="18">
                  <c:v>2.7582157287634194E-2</c:v>
                </c:pt>
                <c:pt idx="19">
                  <c:v>2.6684207925807661E-2</c:v>
                </c:pt>
                <c:pt idx="20">
                  <c:v>2.5074098168638374E-2</c:v>
                </c:pt>
                <c:pt idx="21">
                  <c:v>3.7053775555914395E-2</c:v>
                </c:pt>
                <c:pt idx="22">
                  <c:v>4.1201839145334811E-2</c:v>
                </c:pt>
                <c:pt idx="23">
                  <c:v>3.952108516249337E-2</c:v>
                </c:pt>
                <c:pt idx="24">
                  <c:v>3.301132678213544E-2</c:v>
                </c:pt>
                <c:pt idx="25">
                  <c:v>3.4672282379825628E-2</c:v>
                </c:pt>
                <c:pt idx="26">
                  <c:v>3.6478521099227869E-2</c:v>
                </c:pt>
                <c:pt idx="27">
                  <c:v>3.1719960612283417E-2</c:v>
                </c:pt>
                <c:pt idx="28">
                  <c:v>2.9844699099281863E-2</c:v>
                </c:pt>
                <c:pt idx="29">
                  <c:v>2.8247037929351546E-2</c:v>
                </c:pt>
                <c:pt idx="30">
                  <c:v>2.3926861689124793E-2</c:v>
                </c:pt>
                <c:pt idx="31">
                  <c:v>2.0770671408149036E-2</c:v>
                </c:pt>
                <c:pt idx="32">
                  <c:v>2.3460558709885785E-2</c:v>
                </c:pt>
                <c:pt idx="33">
                  <c:v>3.0427962862070307E-2</c:v>
                </c:pt>
                <c:pt idx="34">
                  <c:v>3.1037706913624008E-2</c:v>
                </c:pt>
                <c:pt idx="35">
                  <c:v>2.928997264422914E-2</c:v>
                </c:pt>
                <c:pt idx="36">
                  <c:v>2.9697936908540855E-2</c:v>
                </c:pt>
                <c:pt idx="37">
                  <c:v>3.0248130900335804E-2</c:v>
                </c:pt>
                <c:pt idx="38">
                  <c:v>3.5070387750061743E-2</c:v>
                </c:pt>
                <c:pt idx="39">
                  <c:v>3.1208337770205517E-2</c:v>
                </c:pt>
                <c:pt idx="40">
                  <c:v>2.6826790166755026E-2</c:v>
                </c:pt>
                <c:pt idx="41">
                  <c:v>2.4203784771293646E-2</c:v>
                </c:pt>
                <c:pt idx="42">
                  <c:v>2.4098053977022377E-2</c:v>
                </c:pt>
                <c:pt idx="43">
                  <c:v>2.4523754132153155E-2</c:v>
                </c:pt>
                <c:pt idx="44">
                  <c:v>2.2379504666963371E-2</c:v>
                </c:pt>
                <c:pt idx="45">
                  <c:v>2.104065524243157E-2</c:v>
                </c:pt>
                <c:pt idx="46">
                  <c:v>2.2028240128902143E-2</c:v>
                </c:pt>
                <c:pt idx="47">
                  <c:v>2.3321641522021073E-2</c:v>
                </c:pt>
                <c:pt idx="48">
                  <c:v>2.5721900660138006E-2</c:v>
                </c:pt>
                <c:pt idx="49">
                  <c:v>2.4967370312040958E-2</c:v>
                </c:pt>
                <c:pt idx="50">
                  <c:v>2.6033359791458374E-2</c:v>
                </c:pt>
                <c:pt idx="51">
                  <c:v>2.5702227757022279E-2</c:v>
                </c:pt>
              </c:numCache>
            </c:numRef>
          </c:yVal>
          <c:smooth val="0"/>
          <c:extLst>
            <c:ext xmlns:c16="http://schemas.microsoft.com/office/drawing/2014/chart" uri="{C3380CC4-5D6E-409C-BE32-E72D297353CC}">
              <c16:uniqueId val="{00000002-F32D-48B7-BC20-E66FC6253BAD}"/>
            </c:ext>
          </c:extLst>
        </c:ser>
        <c:ser>
          <c:idx val="2"/>
          <c:order val="2"/>
          <c:tx>
            <c:strRef>
              <c:f>Sheet1!$B$159</c:f>
              <c:strCache>
                <c:ptCount val="1"/>
                <c:pt idx="0">
                  <c:v>Custom Linep3yQ</c:v>
                </c:pt>
              </c:strCache>
            </c:strRef>
          </c:tx>
          <c:spPr>
            <a:ln w="19050" cap="rnd">
              <a:solidFill>
                <a:srgbClr val="C00000"/>
              </a:solidFill>
              <a:prstDash val="sysDot"/>
              <a:round/>
            </a:ln>
            <a:effectLst/>
          </c:spPr>
          <c:marker>
            <c:symbol val="none"/>
          </c:marker>
          <c:xVal>
            <c:numRef>
              <c:f>Sheet1!$A$160:$A$161</c:f>
              <c:numCache>
                <c:formatCode>General</c:formatCode>
                <c:ptCount val="2"/>
                <c:pt idx="0">
                  <c:v>0</c:v>
                </c:pt>
                <c:pt idx="1">
                  <c:v>0.27575744047645689</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3-F32D-48B7-BC20-E66FC6253BAD}"/>
            </c:ext>
          </c:extLst>
        </c:ser>
        <c:ser>
          <c:idx val="3"/>
          <c:order val="3"/>
          <c:tx>
            <c:strRef>
              <c:f>Sheet1!$B$16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0.27575744047645689</c:v>
                </c:pt>
                <c:pt idx="1">
                  <c:v>0.27575744047645689</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8:$A$169</c:f>
              <c:numCache>
                <c:formatCode>General</c:formatCode>
                <c:ptCount val="2"/>
                <c:pt idx="0">
                  <c:v>0</c:v>
                </c:pt>
                <c:pt idx="1">
                  <c:v>0.28987004975079905</c:v>
                </c:pt>
              </c:numCache>
            </c:numRef>
          </c:xVal>
          <c:yVal>
            <c:numRef>
              <c:f>Sheet1!$B$168:$B$169</c:f>
              <c:numCache>
                <c:formatCode>General</c:formatCode>
                <c:ptCount val="2"/>
                <c:pt idx="0">
                  <c:v>3.1101577984060606E-2</c:v>
                </c:pt>
                <c:pt idx="1">
                  <c:v>3.1101577984060606E-2</c:v>
                </c:pt>
              </c:numCache>
            </c:numRef>
          </c:yVal>
          <c:smooth val="0"/>
          <c:extLst>
            <c:ext xmlns:c16="http://schemas.microsoft.com/office/drawing/2014/chart" uri="{C3380CC4-5D6E-409C-BE32-E72D297353CC}">
              <c16:uniqueId val="{0000000A-F32D-48B7-BC20-E66FC6253BAD}"/>
            </c:ext>
          </c:extLst>
        </c:ser>
        <c:ser>
          <c:idx val="5"/>
          <c:order val="5"/>
          <c:tx>
            <c:strRef>
              <c:f>Sheet1!$B$17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0.28987004975079905</c:v>
                </c:pt>
                <c:pt idx="1">
                  <c:v>0.28987004975079905</c:v>
                </c:pt>
              </c:numCache>
            </c:numRef>
          </c:xVal>
          <c:yVal>
            <c:numRef>
              <c:f>Sheet1!$B$172:$B$173</c:f>
              <c:numCache>
                <c:formatCode>General</c:formatCode>
                <c:ptCount val="2"/>
                <c:pt idx="0">
                  <c:v>3.1101577984060606E-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6:$A$177</c:f>
              <c:numCache>
                <c:formatCode>General</c:formatCode>
                <c:ptCount val="2"/>
                <c:pt idx="0">
                  <c:v>0</c:v>
                </c:pt>
                <c:pt idx="1">
                  <c:v>0.32888493428125432</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1-F32D-48B7-BC20-E66FC6253BAD}"/>
            </c:ext>
          </c:extLst>
        </c:ser>
        <c:ser>
          <c:idx val="7"/>
          <c:order val="7"/>
          <c:tx>
            <c:strRef>
              <c:f>Sheet1!$B$17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0:$A$181</c:f>
              <c:numCache>
                <c:formatCode>General</c:formatCode>
                <c:ptCount val="2"/>
                <c:pt idx="0">
                  <c:v>0.32888493428125432</c:v>
                </c:pt>
                <c:pt idx="1">
                  <c:v>0.32888493428125432</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4:$A$238</c:f>
              <c:numCache>
                <c:formatCode>General</c:formatCode>
                <c:ptCount val="55"/>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pt idx="52">
                  <c:v>0.28987004975079905</c:v>
                </c:pt>
                <c:pt idx="53">
                  <c:v>0.27575744047645689</c:v>
                </c:pt>
                <c:pt idx="54">
                  <c:v>0.32888493428125432</c:v>
                </c:pt>
              </c:numCache>
            </c:numRef>
          </c:xVal>
          <c:yVal>
            <c:numRef>
              <c:f>Sheet1!$B$184:$B$238</c:f>
              <c:numCache>
                <c:formatCode>General</c:formatCode>
                <c:ptCount val="55"/>
                <c:pt idx="0">
                  <c:v>2.9413873016704839E-2</c:v>
                </c:pt>
                <c:pt idx="1">
                  <c:v>2.9896344890080709E-2</c:v>
                </c:pt>
                <c:pt idx="2">
                  <c:v>3.0155656486461964E-2</c:v>
                </c:pt>
                <c:pt idx="3">
                  <c:v>2.7109900331363727E-2</c:v>
                </c:pt>
                <c:pt idx="4">
                  <c:v>2.4371775225560388E-2</c:v>
                </c:pt>
                <c:pt idx="5">
                  <c:v>2.4094268404047922E-2</c:v>
                </c:pt>
                <c:pt idx="6">
                  <c:v>2.4322183284519114E-2</c:v>
                </c:pt>
                <c:pt idx="7">
                  <c:v>2.5263903460272262E-2</c:v>
                </c:pt>
                <c:pt idx="8">
                  <c:v>2.7533717749061021E-2</c:v>
                </c:pt>
                <c:pt idx="9">
                  <c:v>2.9136059572005948E-2</c:v>
                </c:pt>
                <c:pt idx="10">
                  <c:v>2.8439725189245424E-2</c:v>
                </c:pt>
                <c:pt idx="11">
                  <c:v>2.8481575446516888E-2</c:v>
                </c:pt>
                <c:pt idx="12">
                  <c:v>3.0108594349578348E-2</c:v>
                </c:pt>
                <c:pt idx="13">
                  <c:v>3.169054387055209E-2</c:v>
                </c:pt>
                <c:pt idx="14">
                  <c:v>3.1465934595702259E-2</c:v>
                </c:pt>
                <c:pt idx="15">
                  <c:v>3.1477667841337743E-2</c:v>
                </c:pt>
                <c:pt idx="16">
                  <c:v>3.1573121681829512E-2</c:v>
                </c:pt>
                <c:pt idx="17">
                  <c:v>3.1532924296196564E-2</c:v>
                </c:pt>
                <c:pt idx="18">
                  <c:v>3.0515660900336583E-2</c:v>
                </c:pt>
                <c:pt idx="19">
                  <c:v>3.0211789143868836E-2</c:v>
                </c:pt>
                <c:pt idx="20">
                  <c:v>2.8955614795748236E-2</c:v>
                </c:pt>
                <c:pt idx="21">
                  <c:v>3.2772131418724967E-2</c:v>
                </c:pt>
                <c:pt idx="22">
                  <c:v>3.3542665870490845E-2</c:v>
                </c:pt>
                <c:pt idx="23">
                  <c:v>3.3435184307609174E-2</c:v>
                </c:pt>
                <c:pt idx="24">
                  <c:v>3.268271460365052E-2</c:v>
                </c:pt>
                <c:pt idx="25">
                  <c:v>3.3870059534782497E-2</c:v>
                </c:pt>
                <c:pt idx="26">
                  <c:v>3.3073079926514877E-2</c:v>
                </c:pt>
                <c:pt idx="27">
                  <c:v>3.1808643842456727E-2</c:v>
                </c:pt>
                <c:pt idx="28">
                  <c:v>3.0502176751221188E-2</c:v>
                </c:pt>
                <c:pt idx="29">
                  <c:v>2.7906678470255915E-2</c:v>
                </c:pt>
                <c:pt idx="30">
                  <c:v>2.5033266393526828E-2</c:v>
                </c:pt>
                <c:pt idx="31">
                  <c:v>2.630903103630991E-2</c:v>
                </c:pt>
                <c:pt idx="32">
                  <c:v>2.8693045313762239E-2</c:v>
                </c:pt>
                <c:pt idx="33">
                  <c:v>3.2596808075387743E-2</c:v>
                </c:pt>
                <c:pt idx="34">
                  <c:v>3.3462836223474769E-2</c:v>
                </c:pt>
                <c:pt idx="35">
                  <c:v>3.1780988069129081E-2</c:v>
                </c:pt>
                <c:pt idx="36">
                  <c:v>3.2997078119396075E-2</c:v>
                </c:pt>
                <c:pt idx="37">
                  <c:v>3.4241810296995578E-2</c:v>
                </c:pt>
                <c:pt idx="38">
                  <c:v>3.5259393566231922E-2</c:v>
                </c:pt>
                <c:pt idx="39">
                  <c:v>3.2524924643797831E-2</c:v>
                </c:pt>
                <c:pt idx="40">
                  <c:v>2.8308242375685959E-2</c:v>
                </c:pt>
                <c:pt idx="41">
                  <c:v>2.54404048951909E-2</c:v>
                </c:pt>
                <c:pt idx="42">
                  <c:v>2.3287513921568817E-2</c:v>
                </c:pt>
                <c:pt idx="43">
                  <c:v>2.3365554652546534E-2</c:v>
                </c:pt>
                <c:pt idx="44">
                  <c:v>2.3054756675168077E-2</c:v>
                </c:pt>
                <c:pt idx="45">
                  <c:v>2.3566114628330095E-2</c:v>
                </c:pt>
                <c:pt idx="46">
                  <c:v>2.5888630394799238E-2</c:v>
                </c:pt>
                <c:pt idx="47">
                  <c:v>2.6265547596405793E-2</c:v>
                </c:pt>
                <c:pt idx="48">
                  <c:v>2.7412822111043234E-2</c:v>
                </c:pt>
                <c:pt idx="49">
                  <c:v>2.5962622488181153E-2</c:v>
                </c:pt>
                <c:pt idx="50">
                  <c:v>2.4525712064247307E-2</c:v>
                </c:pt>
                <c:pt idx="51">
                  <c:v>2.4473274634488791E-2</c:v>
                </c:pt>
                <c:pt idx="52">
                  <c:v>3.1101577984060602E-2</c:v>
                </c:pt>
                <c:pt idx="53">
                  <c:v>3.3390590546211449E-2</c:v>
                </c:pt>
                <c:pt idx="54">
                  <c:v>2.4773509299877497E-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40737801608579088"/>
          <c:min val="0.18705920295984374"/>
        </c:scaling>
        <c:delete val="0"/>
        <c:axPos val="b"/>
        <c:title>
          <c:tx>
            <c:rich>
              <a:bodyPr rot="0" spcFirstLastPara="1" vertOverflow="ellipsis" vert="horz" wrap="square" anchor="ctr" anchorCtr="1"/>
              <a:lstStyle/>
              <a:p>
                <a:pPr>
                  <a:defRPr sz="800" b="0">
                    <a:latin typeface="Nexa Bold"/>
                  </a:defRPr>
                </a:pPr>
                <a:r>
                  <a:rPr lang="en-US"/>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1291069944164441</c:v>
                </c:pt>
                <c:pt idx="1">
                  <c:v>0.13485892486555889</c:v>
                </c:pt>
                <c:pt idx="2">
                  <c:v>0.13361697278764331</c:v>
                </c:pt>
                <c:pt idx="3">
                  <c:v>0.13181455947245191</c:v>
                </c:pt>
                <c:pt idx="4">
                  <c:v>0.13079849733141291</c:v>
                </c:pt>
                <c:pt idx="5">
                  <c:v>0.12786527339341361</c:v>
                </c:pt>
                <c:pt idx="6">
                  <c:v>0.13389772495720559</c:v>
                </c:pt>
                <c:pt idx="7">
                  <c:v>0.1359519354250221</c:v>
                </c:pt>
                <c:pt idx="8">
                  <c:v>0.13408395448492219</c:v>
                </c:pt>
                <c:pt idx="9">
                  <c:v>0.1272173036352085</c:v>
                </c:pt>
                <c:pt idx="10">
                  <c:v>0.12580154817273331</c:v>
                </c:pt>
                <c:pt idx="11">
                  <c:v>0.1247833670603628</c:v>
                </c:pt>
                <c:pt idx="12">
                  <c:v>0.12616612542700109</c:v>
                </c:pt>
                <c:pt idx="13">
                  <c:v>0.13426073846412021</c:v>
                </c:pt>
                <c:pt idx="14">
                  <c:v>0.13040345544745011</c:v>
                </c:pt>
                <c:pt idx="15">
                  <c:v>0.12568196098787579</c:v>
                </c:pt>
                <c:pt idx="16">
                  <c:v>0.1284543866213313</c:v>
                </c:pt>
                <c:pt idx="17">
                  <c:v>0.13252000199740169</c:v>
                </c:pt>
                <c:pt idx="18">
                  <c:v>0.12612196270786419</c:v>
                </c:pt>
                <c:pt idx="19">
                  <c:v>0.13496886950214251</c:v>
                </c:pt>
                <c:pt idx="20">
                  <c:v>0.13064933940560819</c:v>
                </c:pt>
                <c:pt idx="21">
                  <c:v>0.12635635491031241</c:v>
                </c:pt>
                <c:pt idx="22">
                  <c:v>0.12863609693980929</c:v>
                </c:pt>
                <c:pt idx="23">
                  <c:v>0.13116494310893009</c:v>
                </c:pt>
                <c:pt idx="24">
                  <c:v>0.1278058186678292</c:v>
                </c:pt>
                <c:pt idx="25">
                  <c:v>0.1235932293079324</c:v>
                </c:pt>
                <c:pt idx="26">
                  <c:v>0.12290934252239009</c:v>
                </c:pt>
                <c:pt idx="27">
                  <c:v>0.12109503765009599</c:v>
                </c:pt>
                <c:pt idx="28">
                  <c:v>0.12207135397276341</c:v>
                </c:pt>
                <c:pt idx="29">
                  <c:v>0.1263122981136704</c:v>
                </c:pt>
                <c:pt idx="30">
                  <c:v>0.1263263635992006</c:v>
                </c:pt>
                <c:pt idx="31">
                  <c:v>0.12476889875077329</c:v>
                </c:pt>
                <c:pt idx="32">
                  <c:v>0.12674353123399981</c:v>
                </c:pt>
                <c:pt idx="33">
                  <c:v>0.12588695742723971</c:v>
                </c:pt>
                <c:pt idx="34">
                  <c:v>0.12390000002667199</c:v>
                </c:pt>
                <c:pt idx="35">
                  <c:v>0.12440850519118039</c:v>
                </c:pt>
                <c:pt idx="36">
                  <c:v>0.12336288941275771</c:v>
                </c:pt>
                <c:pt idx="37">
                  <c:v>0.1236579395008299</c:v>
                </c:pt>
                <c:pt idx="38">
                  <c:v>0.1244360084590832</c:v>
                </c:pt>
                <c:pt idx="39">
                  <c:v>0.12224083915887329</c:v>
                </c:pt>
                <c:pt idx="40">
                  <c:v>0.1219327444047168</c:v>
                </c:pt>
                <c:pt idx="41">
                  <c:v>0.1250560323566518</c:v>
                </c:pt>
                <c:pt idx="42">
                  <c:v>0.12745512740440279</c:v>
                </c:pt>
                <c:pt idx="43">
                  <c:v>0.1211984894858895</c:v>
                </c:pt>
                <c:pt idx="44">
                  <c:v>0.1258670226690102</c:v>
                </c:pt>
                <c:pt idx="45">
                  <c:v>0.1272339848348821</c:v>
                </c:pt>
                <c:pt idx="46">
                  <c:v>0.13490346412193621</c:v>
                </c:pt>
                <c:pt idx="47">
                  <c:v>0.1232399985423943</c:v>
                </c:pt>
                <c:pt idx="48">
                  <c:v>0.12311641114157899</c:v>
                </c:pt>
                <c:pt idx="49">
                  <c:v>0.1234350759255986</c:v>
                </c:pt>
                <c:pt idx="50">
                  <c:v>0.12419744604278141</c:v>
                </c:pt>
                <c:pt idx="51">
                  <c:v>0.13145508336915421</c:v>
                </c:pt>
                <c:pt idx="52">
                  <c:v>0.13109930113357529</c:v>
                </c:pt>
                <c:pt idx="53">
                  <c:v>0.13568928560863899</c:v>
                </c:pt>
                <c:pt idx="54">
                  <c:v>0.1285210371531505</c:v>
                </c:pt>
                <c:pt idx="55">
                  <c:v>0.1300753516373136</c:v>
                </c:pt>
                <c:pt idx="56">
                  <c:v>0.12489749950473671</c:v>
                </c:pt>
                <c:pt idx="57">
                  <c:v>0.10266521645136149</c:v>
                </c:pt>
                <c:pt idx="58">
                  <c:v>9.4621929093130358E-2</c:v>
                </c:pt>
                <c:pt idx="59">
                  <c:v>9.8212612965823731E-2</c:v>
                </c:pt>
                <c:pt idx="60">
                  <c:v>0.1102654339127445</c:v>
                </c:pt>
                <c:pt idx="61">
                  <c:v>0.1086326326560431</c:v>
                </c:pt>
                <c:pt idx="62">
                  <c:v>0.10273100071317991</c:v>
                </c:pt>
                <c:pt idx="63">
                  <c:v>0.1056131313298932</c:v>
                </c:pt>
                <c:pt idx="64">
                  <c:v>0.116037952360732</c:v>
                </c:pt>
                <c:pt idx="65">
                  <c:v>0.13065683342069531</c:v>
                </c:pt>
                <c:pt idx="66">
                  <c:v>0.132712182958446</c:v>
                </c:pt>
                <c:pt idx="67">
                  <c:v>0.12498087731066</c:v>
                </c:pt>
                <c:pt idx="68">
                  <c:v>0.1318623648264734</c:v>
                </c:pt>
                <c:pt idx="69">
                  <c:v>0.13405085209231629</c:v>
                </c:pt>
                <c:pt idx="70">
                  <c:v>0.12663942767242409</c:v>
                </c:pt>
                <c:pt idx="71">
                  <c:v>0.13715997078444109</c:v>
                </c:pt>
                <c:pt idx="72">
                  <c:v>0.1312699287114284</c:v>
                </c:pt>
                <c:pt idx="73">
                  <c:v>0.1290474255800157</c:v>
                </c:pt>
                <c:pt idx="74">
                  <c:v>0.12976627424972709</c:v>
                </c:pt>
                <c:pt idx="75">
                  <c:v>0.12686829869724861</c:v>
                </c:pt>
                <c:pt idx="76">
                  <c:v>0.1253623579280761</c:v>
                </c:pt>
                <c:pt idx="77">
                  <c:v>0.12968156222074531</c:v>
                </c:pt>
                <c:pt idx="78">
                  <c:v>0.12750329032649099</c:v>
                </c:pt>
                <c:pt idx="79">
                  <c:v>0.12461050546445129</c:v>
                </c:pt>
                <c:pt idx="80">
                  <c:v>0.12900335189603049</c:v>
                </c:pt>
                <c:pt idx="81">
                  <c:v>0.12741746962889991</c:v>
                </c:pt>
                <c:pt idx="82">
                  <c:v>0.1227246355993528</c:v>
                </c:pt>
                <c:pt idx="83">
                  <c:v>0.12325497363003669</c:v>
                </c:pt>
                <c:pt idx="84">
                  <c:v>0.1237777050026681</c:v>
                </c:pt>
                <c:pt idx="85">
                  <c:v>0.1227618684932686</c:v>
                </c:pt>
                <c:pt idx="86">
                  <c:v>0.12625273778634091</c:v>
                </c:pt>
                <c:pt idx="87">
                  <c:v>0.12848401925218161</c:v>
                </c:pt>
                <c:pt idx="88">
                  <c:v>0.12808991008793849</c:v>
                </c:pt>
                <c:pt idx="89">
                  <c:v>0.12669599383578639</c:v>
                </c:pt>
                <c:pt idx="90">
                  <c:v>0.128457244567205</c:v>
                </c:pt>
                <c:pt idx="91">
                  <c:v>0.1287495738807907</c:v>
                </c:pt>
                <c:pt idx="92">
                  <c:v>0.12753778198649329</c:v>
                </c:pt>
                <c:pt idx="93">
                  <c:v>0.12858384689357691</c:v>
                </c:pt>
                <c:pt idx="94">
                  <c:v>0.13053873342212541</c:v>
                </c:pt>
                <c:pt idx="95">
                  <c:v>0.1283681251237693</c:v>
                </c:pt>
                <c:pt idx="96">
                  <c:v>0.12712219330013799</c:v>
                </c:pt>
                <c:pt idx="97">
                  <c:v>0.12537888942730019</c:v>
                </c:pt>
                <c:pt idx="98">
                  <c:v>0.12745921704595151</c:v>
                </c:pt>
                <c:pt idx="99">
                  <c:v>0.1212266665697815</c:v>
                </c:pt>
                <c:pt idx="100">
                  <c:v>0.1141728668578047</c:v>
                </c:pt>
                <c:pt idx="101">
                  <c:v>0.115957494325048</c:v>
                </c:pt>
              </c:numCache>
            </c:numRef>
          </c:xVal>
          <c:yVal>
            <c:numRef>
              <c:f>Sheet1!$B$2:$B$103</c:f>
              <c:numCache>
                <c:formatCode>General</c:formatCode>
                <c:ptCount val="102"/>
                <c:pt idx="0">
                  <c:v>3.1549194168607013E-2</c:v>
                </c:pt>
                <c:pt idx="1">
                  <c:v>2.5925076493376501E-2</c:v>
                </c:pt>
                <c:pt idx="2">
                  <c:v>1.9457371147598559E-2</c:v>
                </c:pt>
                <c:pt idx="3">
                  <c:v>2.1005226955186751E-2</c:v>
                </c:pt>
                <c:pt idx="4">
                  <c:v>2.3683174888924512E-2</c:v>
                </c:pt>
                <c:pt idx="5">
                  <c:v>2.481491169212223E-2</c:v>
                </c:pt>
                <c:pt idx="6">
                  <c:v>2.2966901329024649E-2</c:v>
                </c:pt>
                <c:pt idx="7">
                  <c:v>2.1693356757167159E-2</c:v>
                </c:pt>
                <c:pt idx="8">
                  <c:v>2.508474647577718E-2</c:v>
                </c:pt>
                <c:pt idx="9">
                  <c:v>3.2219360006132687E-2</c:v>
                </c:pt>
                <c:pt idx="10">
                  <c:v>3.3455366889535383E-2</c:v>
                </c:pt>
                <c:pt idx="11">
                  <c:v>3.077420503855852E-2</c:v>
                </c:pt>
                <c:pt idx="12">
                  <c:v>3.166311843777065E-2</c:v>
                </c:pt>
                <c:pt idx="13">
                  <c:v>2.9573633835338661E-2</c:v>
                </c:pt>
                <c:pt idx="14">
                  <c:v>2.943829474961886E-2</c:v>
                </c:pt>
                <c:pt idx="15">
                  <c:v>3.2326555355538883E-2</c:v>
                </c:pt>
                <c:pt idx="16">
                  <c:v>3.045418321235838E-2</c:v>
                </c:pt>
                <c:pt idx="17">
                  <c:v>3.0177244147381321E-2</c:v>
                </c:pt>
                <c:pt idx="18">
                  <c:v>3.0949579617420529E-2</c:v>
                </c:pt>
                <c:pt idx="19">
                  <c:v>3.3044676701229417E-2</c:v>
                </c:pt>
                <c:pt idx="20">
                  <c:v>3.4502368865567047E-2</c:v>
                </c:pt>
                <c:pt idx="21">
                  <c:v>3.8171203781773647E-2</c:v>
                </c:pt>
                <c:pt idx="22">
                  <c:v>3.2633840746857157E-2</c:v>
                </c:pt>
                <c:pt idx="23">
                  <c:v>3.22851825867847E-2</c:v>
                </c:pt>
                <c:pt idx="24">
                  <c:v>3.4293774474369272E-2</c:v>
                </c:pt>
                <c:pt idx="25">
                  <c:v>3.3493331489235549E-2</c:v>
                </c:pt>
                <c:pt idx="26">
                  <c:v>3.2256296982208908E-2</c:v>
                </c:pt>
                <c:pt idx="27">
                  <c:v>3.256327154323236E-2</c:v>
                </c:pt>
                <c:pt idx="28">
                  <c:v>3.0215972855570969E-2</c:v>
                </c:pt>
                <c:pt idx="29">
                  <c:v>2.971323515475446E-2</c:v>
                </c:pt>
                <c:pt idx="30">
                  <c:v>2.9886044202056931E-2</c:v>
                </c:pt>
                <c:pt idx="31">
                  <c:v>3.0113049153545669E-2</c:v>
                </c:pt>
                <c:pt idx="32">
                  <c:v>3.0121682992946059E-2</c:v>
                </c:pt>
                <c:pt idx="33">
                  <c:v>2.8704102443482309E-2</c:v>
                </c:pt>
                <c:pt idx="34">
                  <c:v>3.0602403901330309E-2</c:v>
                </c:pt>
                <c:pt idx="35">
                  <c:v>3.1456536502498793E-2</c:v>
                </c:pt>
                <c:pt idx="36">
                  <c:v>3.1516667937295108E-2</c:v>
                </c:pt>
                <c:pt idx="37">
                  <c:v>3.3226585884057157E-2</c:v>
                </c:pt>
                <c:pt idx="38">
                  <c:v>3.3016326225624587E-2</c:v>
                </c:pt>
                <c:pt idx="39">
                  <c:v>3.0075909553288729E-2</c:v>
                </c:pt>
                <c:pt idx="40">
                  <c:v>3.030822714314705E-2</c:v>
                </c:pt>
                <c:pt idx="41">
                  <c:v>3.1273537834975489E-2</c:v>
                </c:pt>
                <c:pt idx="42">
                  <c:v>3.005901690014778E-2</c:v>
                </c:pt>
                <c:pt idx="43">
                  <c:v>3.0573863083611631E-2</c:v>
                </c:pt>
                <c:pt idx="44">
                  <c:v>3.254448153409624E-2</c:v>
                </c:pt>
                <c:pt idx="45">
                  <c:v>3.2420025270644671E-2</c:v>
                </c:pt>
                <c:pt idx="46">
                  <c:v>3.0841270586476861E-2</c:v>
                </c:pt>
                <c:pt idx="47">
                  <c:v>3.4545476528939613E-2</c:v>
                </c:pt>
                <c:pt idx="48">
                  <c:v>3.9378011399146942E-2</c:v>
                </c:pt>
                <c:pt idx="49">
                  <c:v>3.4585845792310457E-2</c:v>
                </c:pt>
                <c:pt idx="50">
                  <c:v>3.6889295123608737E-2</c:v>
                </c:pt>
                <c:pt idx="51">
                  <c:v>3.516974061970235E-2</c:v>
                </c:pt>
                <c:pt idx="52">
                  <c:v>3.3440411726256947E-2</c:v>
                </c:pt>
                <c:pt idx="53">
                  <c:v>3.0775515895011849E-2</c:v>
                </c:pt>
                <c:pt idx="54">
                  <c:v>2.856172806220978E-2</c:v>
                </c:pt>
                <c:pt idx="55">
                  <c:v>2.9260191711765832E-2</c:v>
                </c:pt>
                <c:pt idx="56">
                  <c:v>3.1178692703543051E-2</c:v>
                </c:pt>
                <c:pt idx="57">
                  <c:v>3.7031471681131703E-2</c:v>
                </c:pt>
                <c:pt idx="58">
                  <c:v>3.9909501581123753E-2</c:v>
                </c:pt>
                <c:pt idx="59">
                  <c:v>3.3090443177845791E-2</c:v>
                </c:pt>
                <c:pt idx="60">
                  <c:v>2.0429936026239701E-2</c:v>
                </c:pt>
                <c:pt idx="61">
                  <c:v>1.594233918003489E-2</c:v>
                </c:pt>
                <c:pt idx="62">
                  <c:v>2.6561543645322629E-2</c:v>
                </c:pt>
                <c:pt idx="63">
                  <c:v>3.5068893654044378E-2</c:v>
                </c:pt>
                <c:pt idx="64">
                  <c:v>3.0967228847484721E-2</c:v>
                </c:pt>
                <c:pt idx="65">
                  <c:v>2.602705616299417E-2</c:v>
                </c:pt>
                <c:pt idx="66">
                  <c:v>2.587150374122359E-2</c:v>
                </c:pt>
                <c:pt idx="67">
                  <c:v>2.691260699372984E-2</c:v>
                </c:pt>
                <c:pt idx="68">
                  <c:v>2.5874418970458959E-2</c:v>
                </c:pt>
                <c:pt idx="69">
                  <c:v>2.3193315376484971E-2</c:v>
                </c:pt>
                <c:pt idx="70">
                  <c:v>2.2686657383630061E-2</c:v>
                </c:pt>
                <c:pt idx="71">
                  <c:v>2.6189284143623481E-2</c:v>
                </c:pt>
                <c:pt idx="72">
                  <c:v>2.7336338114147821E-2</c:v>
                </c:pt>
                <c:pt idx="73">
                  <c:v>2.7740990571672709E-2</c:v>
                </c:pt>
                <c:pt idx="74">
                  <c:v>2.877527311984417E-2</c:v>
                </c:pt>
                <c:pt idx="75">
                  <c:v>2.8510329318482429E-2</c:v>
                </c:pt>
                <c:pt idx="76">
                  <c:v>2.7909474603405621E-2</c:v>
                </c:pt>
                <c:pt idx="77">
                  <c:v>2.354699792786898E-2</c:v>
                </c:pt>
                <c:pt idx="78">
                  <c:v>2.3516397046911521E-2</c:v>
                </c:pt>
                <c:pt idx="79">
                  <c:v>2.2115174941799771E-2</c:v>
                </c:pt>
                <c:pt idx="80">
                  <c:v>2.2268202762568419E-2</c:v>
                </c:pt>
                <c:pt idx="81">
                  <c:v>2.1244426266941788E-2</c:v>
                </c:pt>
                <c:pt idx="82">
                  <c:v>3.1177386289303839E-2</c:v>
                </c:pt>
                <c:pt idx="83">
                  <c:v>2.630647686699077E-2</c:v>
                </c:pt>
                <c:pt idx="84">
                  <c:v>2.5524833007679371E-2</c:v>
                </c:pt>
                <c:pt idx="85">
                  <c:v>2.6871534411513371E-2</c:v>
                </c:pt>
                <c:pt idx="86">
                  <c:v>2.6338851413823881E-2</c:v>
                </c:pt>
                <c:pt idx="87">
                  <c:v>2.464870108961555E-2</c:v>
                </c:pt>
                <c:pt idx="88">
                  <c:v>2.6238033764437702E-2</c:v>
                </c:pt>
                <c:pt idx="89">
                  <c:v>3.0191859532939729E-2</c:v>
                </c:pt>
                <c:pt idx="90">
                  <c:v>3.071685169632082E-2</c:v>
                </c:pt>
                <c:pt idx="91">
                  <c:v>3.1790352756617277E-2</c:v>
                </c:pt>
                <c:pt idx="92">
                  <c:v>2.9789485452214989E-2</c:v>
                </c:pt>
                <c:pt idx="93">
                  <c:v>2.7419432969366012E-2</c:v>
                </c:pt>
                <c:pt idx="94">
                  <c:v>2.5375304588112151E-2</c:v>
                </c:pt>
                <c:pt idx="95">
                  <c:v>2.727143524464504E-2</c:v>
                </c:pt>
                <c:pt idx="96">
                  <c:v>2.430072520573312E-2</c:v>
                </c:pt>
                <c:pt idx="97">
                  <c:v>2.5953063658202231E-2</c:v>
                </c:pt>
                <c:pt idx="98">
                  <c:v>2.870484051773789E-2</c:v>
                </c:pt>
                <c:pt idx="99">
                  <c:v>3.0161179689259059E-2</c:v>
                </c:pt>
                <c:pt idx="100">
                  <c:v>3.7558407981539428E-2</c:v>
                </c:pt>
                <c:pt idx="101">
                  <c:v>3.5796970668813113E-2</c:v>
                </c:pt>
              </c:numCache>
            </c:numRef>
          </c:yVal>
          <c:smooth val="0"/>
          <c:extLst>
            <c:ext xmlns:c16="http://schemas.microsoft.com/office/drawing/2014/chart" uri="{C3380CC4-5D6E-409C-BE32-E72D297353CC}">
              <c16:uniqueId val="{00000000-096C-4121-9522-6AB7243CCAAE}"/>
            </c:ext>
          </c:extLst>
        </c:ser>
        <c:ser>
          <c:idx val="1"/>
          <c:order val="1"/>
          <c:tx>
            <c:strRef>
              <c:f>Sheet1!$B$10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6:$A$157</c:f>
              <c:numCache>
                <c:formatCode>General</c:formatCode>
                <c:ptCount val="52"/>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numCache>
            </c:numRef>
          </c:xVal>
          <c:yVal>
            <c:numRef>
              <c:f>Sheet1!$B$106:$B$157</c:f>
              <c:numCache>
                <c:formatCode>General</c:formatCode>
                <c:ptCount val="52"/>
                <c:pt idx="0">
                  <c:v>3.3379430772150658E-2</c:v>
                </c:pt>
                <c:pt idx="1">
                  <c:v>3.5297770608354727E-2</c:v>
                </c:pt>
                <c:pt idx="2">
                  <c:v>3.603152077608085E-2</c:v>
                </c:pt>
                <c:pt idx="3">
                  <c:v>3.0978674639028671E-2</c:v>
                </c:pt>
                <c:pt idx="4">
                  <c:v>2.8133515753956471E-2</c:v>
                </c:pt>
                <c:pt idx="5">
                  <c:v>2.7512069607189622E-2</c:v>
                </c:pt>
                <c:pt idx="6">
                  <c:v>2.753590860107619E-2</c:v>
                </c:pt>
                <c:pt idx="7">
                  <c:v>2.7306049137985969E-2</c:v>
                </c:pt>
                <c:pt idx="8">
                  <c:v>2.683860754587173E-2</c:v>
                </c:pt>
                <c:pt idx="9">
                  <c:v>2.8577136215520639E-2</c:v>
                </c:pt>
                <c:pt idx="10">
                  <c:v>2.9045708307140341E-2</c:v>
                </c:pt>
                <c:pt idx="11">
                  <c:v>3.0151694267354031E-2</c:v>
                </c:pt>
                <c:pt idx="12">
                  <c:v>3.1278274774940933E-2</c:v>
                </c:pt>
                <c:pt idx="13">
                  <c:v>3.2623144271831599E-2</c:v>
                </c:pt>
                <c:pt idx="14">
                  <c:v>3.2081452766552027E-2</c:v>
                </c:pt>
                <c:pt idx="15">
                  <c:v>2.8476513020004542E-2</c:v>
                </c:pt>
                <c:pt idx="16">
                  <c:v>2.889792926206242E-2</c:v>
                </c:pt>
                <c:pt idx="17">
                  <c:v>2.8572345272906731E-2</c:v>
                </c:pt>
                <c:pt idx="18">
                  <c:v>2.758215728763419E-2</c:v>
                </c:pt>
                <c:pt idx="19">
                  <c:v>2.6684207925807661E-2</c:v>
                </c:pt>
                <c:pt idx="20">
                  <c:v>2.507409816863837E-2</c:v>
                </c:pt>
                <c:pt idx="21">
                  <c:v>3.7053775555914388E-2</c:v>
                </c:pt>
                <c:pt idx="22">
                  <c:v>4.1201839145334811E-2</c:v>
                </c:pt>
                <c:pt idx="23">
                  <c:v>3.952108516249337E-2</c:v>
                </c:pt>
                <c:pt idx="24">
                  <c:v>3.301132678213544E-2</c:v>
                </c:pt>
                <c:pt idx="25">
                  <c:v>3.4672282379825628E-2</c:v>
                </c:pt>
                <c:pt idx="26">
                  <c:v>3.6478521099227869E-2</c:v>
                </c:pt>
                <c:pt idx="27">
                  <c:v>3.1719960612283417E-2</c:v>
                </c:pt>
                <c:pt idx="28">
                  <c:v>2.9844699099281859E-2</c:v>
                </c:pt>
                <c:pt idx="29">
                  <c:v>2.824703792935155E-2</c:v>
                </c:pt>
                <c:pt idx="30">
                  <c:v>2.3926861689124789E-2</c:v>
                </c:pt>
                <c:pt idx="31">
                  <c:v>2.077067140814904E-2</c:v>
                </c:pt>
                <c:pt idx="32">
                  <c:v>2.3460558709885782E-2</c:v>
                </c:pt>
                <c:pt idx="33">
                  <c:v>3.042796286207031E-2</c:v>
                </c:pt>
                <c:pt idx="34">
                  <c:v>3.1037706913624011E-2</c:v>
                </c:pt>
                <c:pt idx="35">
                  <c:v>2.928997264422914E-2</c:v>
                </c:pt>
                <c:pt idx="36">
                  <c:v>2.9697936908540851E-2</c:v>
                </c:pt>
                <c:pt idx="37">
                  <c:v>3.0248130900335801E-2</c:v>
                </c:pt>
                <c:pt idx="38">
                  <c:v>3.5070387750061743E-2</c:v>
                </c:pt>
                <c:pt idx="39">
                  <c:v>3.120833777020552E-2</c:v>
                </c:pt>
                <c:pt idx="40">
                  <c:v>2.682679016675503E-2</c:v>
                </c:pt>
                <c:pt idx="41">
                  <c:v>2.4203784771293649E-2</c:v>
                </c:pt>
                <c:pt idx="42">
                  <c:v>2.4098053977022381E-2</c:v>
                </c:pt>
                <c:pt idx="43">
                  <c:v>2.4523754132153151E-2</c:v>
                </c:pt>
                <c:pt idx="44">
                  <c:v>2.2379504666963371E-2</c:v>
                </c:pt>
                <c:pt idx="45">
                  <c:v>2.104065524243157E-2</c:v>
                </c:pt>
                <c:pt idx="46">
                  <c:v>2.202824012890214E-2</c:v>
                </c:pt>
                <c:pt idx="47">
                  <c:v>2.3321641522021069E-2</c:v>
                </c:pt>
                <c:pt idx="48">
                  <c:v>2.5721900660138009E-2</c:v>
                </c:pt>
                <c:pt idx="49">
                  <c:v>2.4967370312040962E-2</c:v>
                </c:pt>
                <c:pt idx="50">
                  <c:v>2.603335979145837E-2</c:v>
                </c:pt>
                <c:pt idx="51">
                  <c:v>2.5702227757022279E-2</c:v>
                </c:pt>
              </c:numCache>
            </c:numRef>
          </c:yVal>
          <c:smooth val="0"/>
          <c:extLst>
            <c:ext xmlns:c16="http://schemas.microsoft.com/office/drawing/2014/chart" uri="{C3380CC4-5D6E-409C-BE32-E72D297353CC}">
              <c16:uniqueId val="{00000002-096C-4121-9522-6AB7243CCAAE}"/>
            </c:ext>
          </c:extLst>
        </c:ser>
        <c:ser>
          <c:idx val="2"/>
          <c:order val="2"/>
          <c:tx>
            <c:strRef>
              <c:f>Sheet1!$B$15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0:$A$161</c:f>
              <c:numCache>
                <c:formatCode>General</c:formatCode>
                <c:ptCount val="2"/>
                <c:pt idx="0">
                  <c:v>0</c:v>
                </c:pt>
                <c:pt idx="1">
                  <c:v>0.1108820277239114</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5-096C-4121-9522-6AB7243CCAAE}"/>
            </c:ext>
          </c:extLst>
        </c:ser>
        <c:ser>
          <c:idx val="3"/>
          <c:order val="3"/>
          <c:tx>
            <c:strRef>
              <c:f>Sheet1!$B$16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0.1108820277239114</c:v>
                </c:pt>
                <c:pt idx="1">
                  <c:v>0.1108820277239114</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8:$A$169</c:f>
              <c:numCache>
                <c:formatCode>General</c:formatCode>
                <c:ptCount val="2"/>
                <c:pt idx="0">
                  <c:v>0</c:v>
                </c:pt>
                <c:pt idx="1">
                  <c:v>0.11732114474802791</c:v>
                </c:pt>
              </c:numCache>
            </c:numRef>
          </c:xVal>
          <c:yVal>
            <c:numRef>
              <c:f>Sheet1!$B$168:$B$169</c:f>
              <c:numCache>
                <c:formatCode>General</c:formatCode>
                <c:ptCount val="2"/>
                <c:pt idx="0">
                  <c:v>3.1101577984060609E-2</c:v>
                </c:pt>
                <c:pt idx="1">
                  <c:v>3.1101577984060609E-2</c:v>
                </c:pt>
              </c:numCache>
            </c:numRef>
          </c:yVal>
          <c:smooth val="0"/>
          <c:extLst>
            <c:ext xmlns:c16="http://schemas.microsoft.com/office/drawing/2014/chart" uri="{C3380CC4-5D6E-409C-BE32-E72D297353CC}">
              <c16:uniqueId val="{0000000D-096C-4121-9522-6AB7243CCAAE}"/>
            </c:ext>
          </c:extLst>
        </c:ser>
        <c:ser>
          <c:idx val="5"/>
          <c:order val="5"/>
          <c:tx>
            <c:strRef>
              <c:f>Sheet1!$B$17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0.11732114474802791</c:v>
                </c:pt>
                <c:pt idx="1">
                  <c:v>0.11732114474802791</c:v>
                </c:pt>
              </c:numCache>
            </c:numRef>
          </c:xVal>
          <c:yVal>
            <c:numRef>
              <c:f>Sheet1!$B$172:$B$173</c:f>
              <c:numCache>
                <c:formatCode>General</c:formatCode>
                <c:ptCount val="2"/>
                <c:pt idx="0">
                  <c:v>3.1101577984060609E-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6:$A$177</c:f>
              <c:numCache>
                <c:formatCode>General</c:formatCode>
                <c:ptCount val="2"/>
                <c:pt idx="0">
                  <c:v>0</c:v>
                </c:pt>
                <c:pt idx="1">
                  <c:v>0.13512234665834599</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5-096C-4121-9522-6AB7243CCAAE}"/>
            </c:ext>
          </c:extLst>
        </c:ser>
        <c:ser>
          <c:idx val="7"/>
          <c:order val="7"/>
          <c:tx>
            <c:strRef>
              <c:f>Sheet1!$B$17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0:$A$181</c:f>
              <c:numCache>
                <c:formatCode>General</c:formatCode>
                <c:ptCount val="2"/>
                <c:pt idx="0">
                  <c:v>0.13512234665834599</c:v>
                </c:pt>
                <c:pt idx="1">
                  <c:v>0.13512234665834599</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4:$A$238</c:f>
              <c:numCache>
                <c:formatCode>General</c:formatCode>
                <c:ptCount val="55"/>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pt idx="52">
                  <c:v>0.11732114474802791</c:v>
                </c:pt>
                <c:pt idx="53">
                  <c:v>0.1108820277239114</c:v>
                </c:pt>
                <c:pt idx="54">
                  <c:v>0.13512234665834599</c:v>
                </c:pt>
              </c:numCache>
            </c:numRef>
          </c:xVal>
          <c:yVal>
            <c:numRef>
              <c:f>Sheet1!$B$184:$B$238</c:f>
              <c:numCache>
                <c:formatCode>General</c:formatCode>
                <c:ptCount val="55"/>
                <c:pt idx="0">
                  <c:v>3.1620668745252142E-2</c:v>
                </c:pt>
                <c:pt idx="1">
                  <c:v>3.1654790245678951E-2</c:v>
                </c:pt>
                <c:pt idx="2">
                  <c:v>3.2783325344754151E-2</c:v>
                </c:pt>
                <c:pt idx="3">
                  <c:v>3.022688607526958E-2</c:v>
                </c:pt>
                <c:pt idx="4">
                  <c:v>2.8540776744242852E-2</c:v>
                </c:pt>
                <c:pt idx="5">
                  <c:v>2.8198639317480349E-2</c:v>
                </c:pt>
                <c:pt idx="6">
                  <c:v>2.8149354774764782E-2</c:v>
                </c:pt>
                <c:pt idx="7">
                  <c:v>2.8199004366077019E-2</c:v>
                </c:pt>
                <c:pt idx="8">
                  <c:v>3.0157282303857849E-2</c:v>
                </c:pt>
                <c:pt idx="9">
                  <c:v>2.9717490317624731E-2</c:v>
                </c:pt>
                <c:pt idx="10">
                  <c:v>2.880162617160174E-2</c:v>
                </c:pt>
                <c:pt idx="11">
                  <c:v>3.0799476543192809E-2</c:v>
                </c:pt>
                <c:pt idx="12">
                  <c:v>2.8080121278043681E-2</c:v>
                </c:pt>
                <c:pt idx="13">
                  <c:v>2.8247092051713919E-2</c:v>
                </c:pt>
                <c:pt idx="14">
                  <c:v>2.639540124703324E-2</c:v>
                </c:pt>
                <c:pt idx="15">
                  <c:v>1.9220157910636009E-2</c:v>
                </c:pt>
                <c:pt idx="16">
                  <c:v>2.9292926757015069E-2</c:v>
                </c:pt>
                <c:pt idx="17">
                  <c:v>2.9541107656935999E-2</c:v>
                </c:pt>
                <c:pt idx="18">
                  <c:v>3.1154431279754719E-2</c:v>
                </c:pt>
                <c:pt idx="19">
                  <c:v>2.9461129531890291E-2</c:v>
                </c:pt>
                <c:pt idx="20">
                  <c:v>3.0313783713891131E-2</c:v>
                </c:pt>
                <c:pt idx="21">
                  <c:v>3.3508822667282862E-2</c:v>
                </c:pt>
                <c:pt idx="22">
                  <c:v>3.4739165058279807E-2</c:v>
                </c:pt>
                <c:pt idx="23">
                  <c:v>3.3561500120319547E-2</c:v>
                </c:pt>
                <c:pt idx="24">
                  <c:v>3.0961282548418428E-2</c:v>
                </c:pt>
                <c:pt idx="25">
                  <c:v>3.325613118609181E-2</c:v>
                </c:pt>
                <c:pt idx="26">
                  <c:v>3.230935798656305E-2</c:v>
                </c:pt>
                <c:pt idx="27">
                  <c:v>3.0186042242885399E-2</c:v>
                </c:pt>
                <c:pt idx="28">
                  <c:v>2.9826699740302571E-2</c:v>
                </c:pt>
                <c:pt idx="29">
                  <c:v>2.8461825588360749E-2</c:v>
                </c:pt>
                <c:pt idx="30">
                  <c:v>2.6667445839888119E-2</c:v>
                </c:pt>
                <c:pt idx="31">
                  <c:v>2.9333797528733729E-2</c:v>
                </c:pt>
                <c:pt idx="32">
                  <c:v>2.8469462201818171E-2</c:v>
                </c:pt>
                <c:pt idx="33">
                  <c:v>3.1278574864500211E-2</c:v>
                </c:pt>
                <c:pt idx="34">
                  <c:v>3.362517184260494E-2</c:v>
                </c:pt>
                <c:pt idx="35">
                  <c:v>3.1259339751075838E-2</c:v>
                </c:pt>
                <c:pt idx="36">
                  <c:v>3.2466678789921898E-2</c:v>
                </c:pt>
                <c:pt idx="37">
                  <c:v>3.336561461501103E-2</c:v>
                </c:pt>
                <c:pt idx="38">
                  <c:v>3.1897061212580187E-2</c:v>
                </c:pt>
                <c:pt idx="39">
                  <c:v>3.0591232179052279E-2</c:v>
                </c:pt>
                <c:pt idx="40">
                  <c:v>2.6490890509876141E-2</c:v>
                </c:pt>
                <c:pt idx="41">
                  <c:v>2.5005655171483909E-2</c:v>
                </c:pt>
                <c:pt idx="42">
                  <c:v>2.471524594195228E-2</c:v>
                </c:pt>
                <c:pt idx="43">
                  <c:v>2.5740688254943609E-2</c:v>
                </c:pt>
                <c:pt idx="44">
                  <c:v>2.534241769031121E-2</c:v>
                </c:pt>
                <c:pt idx="45">
                  <c:v>2.5785004878787769E-2</c:v>
                </c:pt>
                <c:pt idx="46">
                  <c:v>2.6712805427711591E-2</c:v>
                </c:pt>
                <c:pt idx="47">
                  <c:v>2.6016063432124481E-2</c:v>
                </c:pt>
                <c:pt idx="48">
                  <c:v>2.645901837190287E-2</c:v>
                </c:pt>
                <c:pt idx="49">
                  <c:v>2.253097533810856E-2</c:v>
                </c:pt>
                <c:pt idx="50">
                  <c:v>2.3407974477709061E-2</c:v>
                </c:pt>
                <c:pt idx="51">
                  <c:v>2.5267129597052979E-2</c:v>
                </c:pt>
                <c:pt idx="52">
                  <c:v>3.1101577984060599E-2</c:v>
                </c:pt>
                <c:pt idx="53">
                  <c:v>3.3390590546211449E-2</c:v>
                </c:pt>
                <c:pt idx="54">
                  <c:v>2.47735092998775E-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18089307194123574"/>
          <c:min val="7.5697543274504286E-2"/>
        </c:scaling>
        <c:delete val="0"/>
        <c:axPos val="b"/>
        <c:title>
          <c:tx>
            <c:rich>
              <a:bodyPr rot="0" spcFirstLastPara="1" vertOverflow="ellipsis" vert="horz" wrap="square" anchor="ctr" anchorCtr="1"/>
              <a:lstStyle/>
              <a:p>
                <a:pPr>
                  <a:defRPr sz="800" b="0">
                    <a:solidFill>
                      <a:srgbClr val="575555"/>
                    </a:solidFill>
                    <a:latin typeface="Nexa Bold"/>
                  </a:defRPr>
                </a:pPr>
                <a:r>
                  <a:rPr lang="en-US"/>
                  <a:t>Price Ix vs. Gillette Fusion5</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3084051742229012</c:v>
                </c:pt>
                <c:pt idx="1">
                  <c:v>0.31591786351078627</c:v>
                </c:pt>
                <c:pt idx="2">
                  <c:v>0.32058023334902946</c:v>
                </c:pt>
                <c:pt idx="3">
                  <c:v>0.31551466024025998</c:v>
                </c:pt>
                <c:pt idx="4">
                  <c:v>0.31248983133575575</c:v>
                </c:pt>
                <c:pt idx="5">
                  <c:v>0.31209899175068745</c:v>
                </c:pt>
                <c:pt idx="6">
                  <c:v>0.31243915630070307</c:v>
                </c:pt>
                <c:pt idx="7">
                  <c:v>0.3133619793471481</c:v>
                </c:pt>
                <c:pt idx="8">
                  <c:v>0.31671907756813417</c:v>
                </c:pt>
                <c:pt idx="9">
                  <c:v>0.31082322826247477</c:v>
                </c:pt>
                <c:pt idx="10">
                  <c:v>0.31047212859141043</c:v>
                </c:pt>
                <c:pt idx="11">
                  <c:v>0.30851195946449417</c:v>
                </c:pt>
                <c:pt idx="12">
                  <c:v>0.30743476600274672</c:v>
                </c:pt>
                <c:pt idx="13">
                  <c:v>0.30557876018361524</c:v>
                </c:pt>
                <c:pt idx="14">
                  <c:v>0.30608180521683359</c:v>
                </c:pt>
                <c:pt idx="15">
                  <c:v>0.30537959003209308</c:v>
                </c:pt>
                <c:pt idx="16">
                  <c:v>0.30479028449342177</c:v>
                </c:pt>
                <c:pt idx="17">
                  <c:v>0.30535697989231286</c:v>
                </c:pt>
                <c:pt idx="18">
                  <c:v>0.30758733419811496</c:v>
                </c:pt>
                <c:pt idx="19">
                  <c:v>0.30384356418742708</c:v>
                </c:pt>
                <c:pt idx="20">
                  <c:v>0.30255871389344829</c:v>
                </c:pt>
                <c:pt idx="21">
                  <c:v>0.30131492720175512</c:v>
                </c:pt>
                <c:pt idx="22">
                  <c:v>0.30402402402402401</c:v>
                </c:pt>
                <c:pt idx="23">
                  <c:v>0.3041818228723267</c:v>
                </c:pt>
                <c:pt idx="24">
                  <c:v>0.30380595989557657</c:v>
                </c:pt>
                <c:pt idx="25">
                  <c:v>0.30266464709715091</c:v>
                </c:pt>
                <c:pt idx="26">
                  <c:v>0.30198090992432275</c:v>
                </c:pt>
                <c:pt idx="27">
                  <c:v>0.30261018186645428</c:v>
                </c:pt>
                <c:pt idx="28">
                  <c:v>0.30379475941413642</c:v>
                </c:pt>
                <c:pt idx="29">
                  <c:v>0.30510575091808745</c:v>
                </c:pt>
                <c:pt idx="30">
                  <c:v>0.30547263681592041</c:v>
                </c:pt>
                <c:pt idx="31">
                  <c:v>0.30191808942530629</c:v>
                </c:pt>
                <c:pt idx="32">
                  <c:v>0.30004016835781272</c:v>
                </c:pt>
                <c:pt idx="33">
                  <c:v>0.30140260803244229</c:v>
                </c:pt>
                <c:pt idx="34">
                  <c:v>0.30315931183998879</c:v>
                </c:pt>
                <c:pt idx="35">
                  <c:v>0.30423707530585153</c:v>
                </c:pt>
                <c:pt idx="36">
                  <c:v>0.30339368848493503</c:v>
                </c:pt>
                <c:pt idx="37">
                  <c:v>0.30312142377964563</c:v>
                </c:pt>
                <c:pt idx="38">
                  <c:v>0.30421477922015827</c:v>
                </c:pt>
                <c:pt idx="39">
                  <c:v>0.30360700245050509</c:v>
                </c:pt>
                <c:pt idx="40">
                  <c:v>0.30482776067799466</c:v>
                </c:pt>
                <c:pt idx="41">
                  <c:v>0.30496561046396053</c:v>
                </c:pt>
                <c:pt idx="42">
                  <c:v>0.30474260101509459</c:v>
                </c:pt>
                <c:pt idx="43">
                  <c:v>0.30487658997567685</c:v>
                </c:pt>
                <c:pt idx="44">
                  <c:v>0.30417377406912238</c:v>
                </c:pt>
                <c:pt idx="45">
                  <c:v>0.30429474182711519</c:v>
                </c:pt>
                <c:pt idx="46">
                  <c:v>0.30416987037597953</c:v>
                </c:pt>
                <c:pt idx="47">
                  <c:v>0.30177142857142858</c:v>
                </c:pt>
                <c:pt idx="48">
                  <c:v>0.30034428178139644</c:v>
                </c:pt>
                <c:pt idx="49">
                  <c:v>0.30020553910468561</c:v>
                </c:pt>
                <c:pt idx="50">
                  <c:v>0.30020393921120919</c:v>
                </c:pt>
                <c:pt idx="51">
                  <c:v>0.30029572161037082</c:v>
                </c:pt>
                <c:pt idx="52">
                  <c:v>0.30085731375024921</c:v>
                </c:pt>
                <c:pt idx="53">
                  <c:v>0.30374794069192751</c:v>
                </c:pt>
                <c:pt idx="54">
                  <c:v>0.30475569923731716</c:v>
                </c:pt>
                <c:pt idx="55">
                  <c:v>0.30484411191281596</c:v>
                </c:pt>
                <c:pt idx="56">
                  <c:v>0.29666067320451317</c:v>
                </c:pt>
                <c:pt idx="57">
                  <c:v>0.25400835544515327</c:v>
                </c:pt>
                <c:pt idx="58">
                  <c:v>0.23382400369980466</c:v>
                </c:pt>
                <c:pt idx="59">
                  <c:v>0.23943026116791946</c:v>
                </c:pt>
                <c:pt idx="60">
                  <c:v>0.25369491863085675</c:v>
                </c:pt>
                <c:pt idx="61">
                  <c:v>0.26335839430757868</c:v>
                </c:pt>
                <c:pt idx="62">
                  <c:v>0.24811366501794199</c:v>
                </c:pt>
                <c:pt idx="63">
                  <c:v>0.25331883600138116</c:v>
                </c:pt>
                <c:pt idx="64">
                  <c:v>0.27606841827999473</c:v>
                </c:pt>
                <c:pt idx="65">
                  <c:v>0.28160478817918266</c:v>
                </c:pt>
                <c:pt idx="66">
                  <c:v>0.29229782021117312</c:v>
                </c:pt>
                <c:pt idx="67">
                  <c:v>0.30127414335954045</c:v>
                </c:pt>
                <c:pt idx="68">
                  <c:v>0.30305886879569066</c:v>
                </c:pt>
                <c:pt idx="69">
                  <c:v>0.30492991022208221</c:v>
                </c:pt>
                <c:pt idx="70">
                  <c:v>0.30628978911194849</c:v>
                </c:pt>
                <c:pt idx="71">
                  <c:v>0.30507690665654685</c:v>
                </c:pt>
                <c:pt idx="72">
                  <c:v>0.30607670596048481</c:v>
                </c:pt>
                <c:pt idx="73">
                  <c:v>0.3116373241246056</c:v>
                </c:pt>
                <c:pt idx="74">
                  <c:v>0.31424842998124136</c:v>
                </c:pt>
                <c:pt idx="75">
                  <c:v>0.31320176754871626</c:v>
                </c:pt>
                <c:pt idx="76">
                  <c:v>0.31380953870863448</c:v>
                </c:pt>
                <c:pt idx="77">
                  <c:v>0.32590348409435188</c:v>
                </c:pt>
                <c:pt idx="78">
                  <c:v>0.33061711871301291</c:v>
                </c:pt>
                <c:pt idx="79">
                  <c:v>0.33376024237416513</c:v>
                </c:pt>
                <c:pt idx="80">
                  <c:v>0.334863282523373</c:v>
                </c:pt>
                <c:pt idx="81">
                  <c:v>0.33732775797715603</c:v>
                </c:pt>
                <c:pt idx="82">
                  <c:v>0.3340239432262419</c:v>
                </c:pt>
                <c:pt idx="83">
                  <c:v>0.32813911724353323</c:v>
                </c:pt>
                <c:pt idx="84">
                  <c:v>0.32451377453380215</c:v>
                </c:pt>
                <c:pt idx="85">
                  <c:v>0.3242920313313794</c:v>
                </c:pt>
                <c:pt idx="86">
                  <c:v>0.32834757834757833</c:v>
                </c:pt>
                <c:pt idx="87">
                  <c:v>0.33024565689467972</c:v>
                </c:pt>
                <c:pt idx="88">
                  <c:v>0.33047076978575868</c:v>
                </c:pt>
                <c:pt idx="89">
                  <c:v>0.32960364974033468</c:v>
                </c:pt>
                <c:pt idx="90">
                  <c:v>0.32877782475231143</c:v>
                </c:pt>
                <c:pt idx="91">
                  <c:v>0.33265505668454848</c:v>
                </c:pt>
                <c:pt idx="92">
                  <c:v>0.33383080669232584</c:v>
                </c:pt>
                <c:pt idx="93">
                  <c:v>0.33445095599479496</c:v>
                </c:pt>
                <c:pt idx="94">
                  <c:v>0.33425385899470356</c:v>
                </c:pt>
                <c:pt idx="95">
                  <c:v>0.33302358553829059</c:v>
                </c:pt>
                <c:pt idx="96">
                  <c:v>0.3331230702831911</c:v>
                </c:pt>
                <c:pt idx="97">
                  <c:v>0.33248279672509923</c:v>
                </c:pt>
                <c:pt idx="98">
                  <c:v>0.33184443040565192</c:v>
                </c:pt>
                <c:pt idx="99">
                  <c:v>0.31234357273380736</c:v>
                </c:pt>
                <c:pt idx="100">
                  <c:v>0.30123106937136429</c:v>
                </c:pt>
                <c:pt idx="101">
                  <c:v>0.30056872662328632</c:v>
                </c:pt>
              </c:numCache>
            </c:numRef>
          </c:xVal>
          <c:yVal>
            <c:numRef>
              <c:f>Sheet1!$B$2:$B$103</c:f>
              <c:numCache>
                <c:formatCode>General</c:formatCode>
                <c:ptCount val="102"/>
                <c:pt idx="0">
                  <c:v>3.1549194168607006E-2</c:v>
                </c:pt>
                <c:pt idx="1">
                  <c:v>2.5925076493376501E-2</c:v>
                </c:pt>
                <c:pt idx="2">
                  <c:v>1.9457371147598559E-2</c:v>
                </c:pt>
                <c:pt idx="3">
                  <c:v>2.1005226955186754E-2</c:v>
                </c:pt>
                <c:pt idx="4">
                  <c:v>2.3683174888924508E-2</c:v>
                </c:pt>
                <c:pt idx="5">
                  <c:v>2.4814911692122233E-2</c:v>
                </c:pt>
                <c:pt idx="6">
                  <c:v>2.2966901329024649E-2</c:v>
                </c:pt>
                <c:pt idx="7">
                  <c:v>2.1693356757167159E-2</c:v>
                </c:pt>
                <c:pt idx="8">
                  <c:v>2.508474647577718E-2</c:v>
                </c:pt>
                <c:pt idx="9">
                  <c:v>3.2219360006132694E-2</c:v>
                </c:pt>
                <c:pt idx="10">
                  <c:v>3.3455366889535383E-2</c:v>
                </c:pt>
                <c:pt idx="11">
                  <c:v>3.0774205038558523E-2</c:v>
                </c:pt>
                <c:pt idx="12">
                  <c:v>3.166311843777065E-2</c:v>
                </c:pt>
                <c:pt idx="13">
                  <c:v>2.9573633835338665E-2</c:v>
                </c:pt>
                <c:pt idx="14">
                  <c:v>2.9438294749618857E-2</c:v>
                </c:pt>
                <c:pt idx="15">
                  <c:v>3.2326555355538883E-2</c:v>
                </c:pt>
                <c:pt idx="16">
                  <c:v>3.0454183212358377E-2</c:v>
                </c:pt>
                <c:pt idx="17">
                  <c:v>3.0177244147381318E-2</c:v>
                </c:pt>
                <c:pt idx="18">
                  <c:v>3.0949579617420526E-2</c:v>
                </c:pt>
                <c:pt idx="19">
                  <c:v>3.3044676701229417E-2</c:v>
                </c:pt>
                <c:pt idx="20">
                  <c:v>3.4502368865567047E-2</c:v>
                </c:pt>
                <c:pt idx="21">
                  <c:v>3.8171203781773647E-2</c:v>
                </c:pt>
                <c:pt idx="22">
                  <c:v>3.2633840746857157E-2</c:v>
                </c:pt>
                <c:pt idx="23">
                  <c:v>3.22851825867847E-2</c:v>
                </c:pt>
                <c:pt idx="24">
                  <c:v>3.4293774474369265E-2</c:v>
                </c:pt>
                <c:pt idx="25">
                  <c:v>3.3493331489235549E-2</c:v>
                </c:pt>
                <c:pt idx="26">
                  <c:v>3.2256296982208908E-2</c:v>
                </c:pt>
                <c:pt idx="27">
                  <c:v>3.256327154323236E-2</c:v>
                </c:pt>
                <c:pt idx="28">
                  <c:v>3.0215972855570965E-2</c:v>
                </c:pt>
                <c:pt idx="29">
                  <c:v>2.971323515475446E-2</c:v>
                </c:pt>
                <c:pt idx="30">
                  <c:v>2.9886044202056927E-2</c:v>
                </c:pt>
                <c:pt idx="31">
                  <c:v>3.0113049153545669E-2</c:v>
                </c:pt>
                <c:pt idx="32">
                  <c:v>3.0121682992946059E-2</c:v>
                </c:pt>
                <c:pt idx="33">
                  <c:v>2.8704102443482309E-2</c:v>
                </c:pt>
                <c:pt idx="34">
                  <c:v>3.0602403901330309E-2</c:v>
                </c:pt>
                <c:pt idx="35">
                  <c:v>3.1456536502498786E-2</c:v>
                </c:pt>
                <c:pt idx="36">
                  <c:v>3.1516667937295108E-2</c:v>
                </c:pt>
                <c:pt idx="37">
                  <c:v>3.3226585884057164E-2</c:v>
                </c:pt>
                <c:pt idx="38">
                  <c:v>3.3016326225624587E-2</c:v>
                </c:pt>
                <c:pt idx="39">
                  <c:v>3.0075909553288729E-2</c:v>
                </c:pt>
                <c:pt idx="40">
                  <c:v>3.0308227143147046E-2</c:v>
                </c:pt>
                <c:pt idx="41">
                  <c:v>3.1273537834975489E-2</c:v>
                </c:pt>
                <c:pt idx="42">
                  <c:v>3.0059016900147784E-2</c:v>
                </c:pt>
                <c:pt idx="43">
                  <c:v>3.0573863083611635E-2</c:v>
                </c:pt>
                <c:pt idx="44">
                  <c:v>3.254448153409624E-2</c:v>
                </c:pt>
                <c:pt idx="45">
                  <c:v>3.2420025270644671E-2</c:v>
                </c:pt>
                <c:pt idx="46">
                  <c:v>3.0841270586476857E-2</c:v>
                </c:pt>
                <c:pt idx="47">
                  <c:v>3.4545476528939606E-2</c:v>
                </c:pt>
                <c:pt idx="48">
                  <c:v>3.9378011399146942E-2</c:v>
                </c:pt>
                <c:pt idx="49">
                  <c:v>3.4585845792310457E-2</c:v>
                </c:pt>
                <c:pt idx="50">
                  <c:v>3.6889295123608744E-2</c:v>
                </c:pt>
                <c:pt idx="51">
                  <c:v>3.516974061970235E-2</c:v>
                </c:pt>
                <c:pt idx="52">
                  <c:v>3.3440411726256954E-2</c:v>
                </c:pt>
                <c:pt idx="53">
                  <c:v>3.0775515895011849E-2</c:v>
                </c:pt>
                <c:pt idx="54">
                  <c:v>2.856172806220978E-2</c:v>
                </c:pt>
                <c:pt idx="55">
                  <c:v>2.9260191711765828E-2</c:v>
                </c:pt>
                <c:pt idx="56">
                  <c:v>3.1178692703543048E-2</c:v>
                </c:pt>
                <c:pt idx="57">
                  <c:v>3.7031471681131703E-2</c:v>
                </c:pt>
                <c:pt idx="58">
                  <c:v>3.9909501581123753E-2</c:v>
                </c:pt>
                <c:pt idx="59">
                  <c:v>3.3090443177845791E-2</c:v>
                </c:pt>
                <c:pt idx="60">
                  <c:v>2.0429936026239697E-2</c:v>
                </c:pt>
                <c:pt idx="61">
                  <c:v>1.5942339180034886E-2</c:v>
                </c:pt>
                <c:pt idx="62">
                  <c:v>2.6561543645322632E-2</c:v>
                </c:pt>
                <c:pt idx="63">
                  <c:v>3.5068893654044385E-2</c:v>
                </c:pt>
                <c:pt idx="64">
                  <c:v>3.0967228847484717E-2</c:v>
                </c:pt>
                <c:pt idx="65">
                  <c:v>2.6027056162994167E-2</c:v>
                </c:pt>
                <c:pt idx="66">
                  <c:v>2.5871503741223587E-2</c:v>
                </c:pt>
                <c:pt idx="67">
                  <c:v>2.691260699372984E-2</c:v>
                </c:pt>
                <c:pt idx="68">
                  <c:v>2.5874418970458959E-2</c:v>
                </c:pt>
                <c:pt idx="69">
                  <c:v>2.3193315376484971E-2</c:v>
                </c:pt>
                <c:pt idx="70">
                  <c:v>2.2686657383630057E-2</c:v>
                </c:pt>
                <c:pt idx="71">
                  <c:v>2.6189284143623485E-2</c:v>
                </c:pt>
                <c:pt idx="72">
                  <c:v>2.7336338114147821E-2</c:v>
                </c:pt>
                <c:pt idx="73">
                  <c:v>2.7740990571672709E-2</c:v>
                </c:pt>
                <c:pt idx="74">
                  <c:v>2.8775273119844166E-2</c:v>
                </c:pt>
                <c:pt idx="75">
                  <c:v>2.8510329318482425E-2</c:v>
                </c:pt>
                <c:pt idx="76">
                  <c:v>2.7909474603405617E-2</c:v>
                </c:pt>
                <c:pt idx="77">
                  <c:v>2.354699792786898E-2</c:v>
                </c:pt>
                <c:pt idx="78">
                  <c:v>2.3516397046911525E-2</c:v>
                </c:pt>
                <c:pt idx="79">
                  <c:v>2.2115174941799768E-2</c:v>
                </c:pt>
                <c:pt idx="80">
                  <c:v>2.2268202762568419E-2</c:v>
                </c:pt>
                <c:pt idx="81">
                  <c:v>2.1244426266941792E-2</c:v>
                </c:pt>
                <c:pt idx="82">
                  <c:v>3.1177386289303839E-2</c:v>
                </c:pt>
                <c:pt idx="83">
                  <c:v>2.6306476866990773E-2</c:v>
                </c:pt>
                <c:pt idx="84">
                  <c:v>2.5524833007679375E-2</c:v>
                </c:pt>
                <c:pt idx="85">
                  <c:v>2.6871534411513368E-2</c:v>
                </c:pt>
                <c:pt idx="86">
                  <c:v>2.6338851413823878E-2</c:v>
                </c:pt>
                <c:pt idx="87">
                  <c:v>2.4648701089615546E-2</c:v>
                </c:pt>
                <c:pt idx="88">
                  <c:v>2.6238033764437702E-2</c:v>
                </c:pt>
                <c:pt idx="89">
                  <c:v>3.0191859532939729E-2</c:v>
                </c:pt>
                <c:pt idx="90">
                  <c:v>3.0716851696320817E-2</c:v>
                </c:pt>
                <c:pt idx="91">
                  <c:v>3.1790352756617284E-2</c:v>
                </c:pt>
                <c:pt idx="92">
                  <c:v>2.9789485452214992E-2</c:v>
                </c:pt>
                <c:pt idx="93">
                  <c:v>2.7419432969366012E-2</c:v>
                </c:pt>
                <c:pt idx="94">
                  <c:v>2.5375304588112154E-2</c:v>
                </c:pt>
                <c:pt idx="95">
                  <c:v>2.7271435244645044E-2</c:v>
                </c:pt>
                <c:pt idx="96">
                  <c:v>2.4300725205733124E-2</c:v>
                </c:pt>
                <c:pt idx="97">
                  <c:v>2.5953063658202231E-2</c:v>
                </c:pt>
                <c:pt idx="98">
                  <c:v>2.870484051773789E-2</c:v>
                </c:pt>
                <c:pt idx="99">
                  <c:v>3.0161179689259059E-2</c:v>
                </c:pt>
                <c:pt idx="100">
                  <c:v>3.7558407981539428E-2</c:v>
                </c:pt>
                <c:pt idx="101">
                  <c:v>3.5796970668813106E-2</c:v>
                </c:pt>
              </c:numCache>
            </c:numRef>
          </c:yVal>
          <c:smooth val="0"/>
          <c:extLst>
            <c:ext xmlns:c16="http://schemas.microsoft.com/office/drawing/2014/chart" uri="{C3380CC4-5D6E-409C-BE32-E72D297353CC}">
              <c16:uniqueId val="{00000000-F32D-48B7-BC20-E66FC6253BAD}"/>
            </c:ext>
          </c:extLst>
        </c:ser>
        <c:ser>
          <c:idx val="1"/>
          <c:order val="1"/>
          <c:tx>
            <c:strRef>
              <c:f>Sheet1!$B$10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6:$A$157</c:f>
              <c:numCache>
                <c:formatCode>General</c:formatCode>
                <c:ptCount val="52"/>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numCache>
            </c:numRef>
          </c:xVal>
          <c:yVal>
            <c:numRef>
              <c:f>Sheet1!$B$106:$B$157</c:f>
              <c:numCache>
                <c:formatCode>General</c:formatCode>
                <c:ptCount val="52"/>
                <c:pt idx="0">
                  <c:v>3.3379430772150658E-2</c:v>
                </c:pt>
                <c:pt idx="1">
                  <c:v>3.5297770608354727E-2</c:v>
                </c:pt>
                <c:pt idx="2">
                  <c:v>3.603152077608085E-2</c:v>
                </c:pt>
                <c:pt idx="3">
                  <c:v>3.0978674639028675E-2</c:v>
                </c:pt>
                <c:pt idx="4">
                  <c:v>2.8133515753956471E-2</c:v>
                </c:pt>
                <c:pt idx="5">
                  <c:v>2.7512069607189618E-2</c:v>
                </c:pt>
                <c:pt idx="6">
                  <c:v>2.7535908601076187E-2</c:v>
                </c:pt>
                <c:pt idx="7">
                  <c:v>2.7306049137985969E-2</c:v>
                </c:pt>
                <c:pt idx="8">
                  <c:v>2.6838607545871734E-2</c:v>
                </c:pt>
                <c:pt idx="9">
                  <c:v>2.8577136215520643E-2</c:v>
                </c:pt>
                <c:pt idx="10">
                  <c:v>2.9045708307140341E-2</c:v>
                </c:pt>
                <c:pt idx="11">
                  <c:v>3.0151694267354034E-2</c:v>
                </c:pt>
                <c:pt idx="12">
                  <c:v>3.1278274774940926E-2</c:v>
                </c:pt>
                <c:pt idx="13">
                  <c:v>3.2623144271831599E-2</c:v>
                </c:pt>
                <c:pt idx="14">
                  <c:v>3.2081452766552027E-2</c:v>
                </c:pt>
                <c:pt idx="15">
                  <c:v>2.8476513020004538E-2</c:v>
                </c:pt>
                <c:pt idx="16">
                  <c:v>2.8897929262062423E-2</c:v>
                </c:pt>
                <c:pt idx="17">
                  <c:v>2.8572345272906727E-2</c:v>
                </c:pt>
                <c:pt idx="18">
                  <c:v>2.7582157287634194E-2</c:v>
                </c:pt>
                <c:pt idx="19">
                  <c:v>2.6684207925807661E-2</c:v>
                </c:pt>
                <c:pt idx="20">
                  <c:v>2.5074098168638374E-2</c:v>
                </c:pt>
                <c:pt idx="21">
                  <c:v>3.7053775555914395E-2</c:v>
                </c:pt>
                <c:pt idx="22">
                  <c:v>4.1201839145334811E-2</c:v>
                </c:pt>
                <c:pt idx="23">
                  <c:v>3.952108516249337E-2</c:v>
                </c:pt>
                <c:pt idx="24">
                  <c:v>3.301132678213544E-2</c:v>
                </c:pt>
                <c:pt idx="25">
                  <c:v>3.4672282379825628E-2</c:v>
                </c:pt>
                <c:pt idx="26">
                  <c:v>3.6478521099227869E-2</c:v>
                </c:pt>
                <c:pt idx="27">
                  <c:v>3.1719960612283417E-2</c:v>
                </c:pt>
                <c:pt idx="28">
                  <c:v>2.9844699099281863E-2</c:v>
                </c:pt>
                <c:pt idx="29">
                  <c:v>2.8247037929351546E-2</c:v>
                </c:pt>
                <c:pt idx="30">
                  <c:v>2.3926861689124793E-2</c:v>
                </c:pt>
                <c:pt idx="31">
                  <c:v>2.0770671408149036E-2</c:v>
                </c:pt>
                <c:pt idx="32">
                  <c:v>2.3460558709885785E-2</c:v>
                </c:pt>
                <c:pt idx="33">
                  <c:v>3.0427962862070307E-2</c:v>
                </c:pt>
                <c:pt idx="34">
                  <c:v>3.1037706913624008E-2</c:v>
                </c:pt>
                <c:pt idx="35">
                  <c:v>2.928997264422914E-2</c:v>
                </c:pt>
                <c:pt idx="36">
                  <c:v>2.9697936908540855E-2</c:v>
                </c:pt>
                <c:pt idx="37">
                  <c:v>3.0248130900335804E-2</c:v>
                </c:pt>
                <c:pt idx="38">
                  <c:v>3.5070387750061743E-2</c:v>
                </c:pt>
                <c:pt idx="39">
                  <c:v>3.1208337770205517E-2</c:v>
                </c:pt>
                <c:pt idx="40">
                  <c:v>2.6826790166755026E-2</c:v>
                </c:pt>
                <c:pt idx="41">
                  <c:v>2.4203784771293646E-2</c:v>
                </c:pt>
                <c:pt idx="42">
                  <c:v>2.4098053977022377E-2</c:v>
                </c:pt>
                <c:pt idx="43">
                  <c:v>2.4523754132153155E-2</c:v>
                </c:pt>
                <c:pt idx="44">
                  <c:v>2.2379504666963371E-2</c:v>
                </c:pt>
                <c:pt idx="45">
                  <c:v>2.104065524243157E-2</c:v>
                </c:pt>
                <c:pt idx="46">
                  <c:v>2.2028240128902143E-2</c:v>
                </c:pt>
                <c:pt idx="47">
                  <c:v>2.3321641522021073E-2</c:v>
                </c:pt>
                <c:pt idx="48">
                  <c:v>2.5721900660138006E-2</c:v>
                </c:pt>
                <c:pt idx="49">
                  <c:v>2.4967370312040958E-2</c:v>
                </c:pt>
                <c:pt idx="50">
                  <c:v>2.6033359791458374E-2</c:v>
                </c:pt>
                <c:pt idx="51">
                  <c:v>2.5702227757022279E-2</c:v>
                </c:pt>
              </c:numCache>
            </c:numRef>
          </c:yVal>
          <c:smooth val="0"/>
          <c:extLst>
            <c:ext xmlns:c16="http://schemas.microsoft.com/office/drawing/2014/chart" uri="{C3380CC4-5D6E-409C-BE32-E72D297353CC}">
              <c16:uniqueId val="{00000002-F32D-48B7-BC20-E66FC6253BAD}"/>
            </c:ext>
          </c:extLst>
        </c:ser>
        <c:ser>
          <c:idx val="2"/>
          <c:order val="2"/>
          <c:tx>
            <c:strRef>
              <c:f>Sheet1!$B$159</c:f>
              <c:strCache>
                <c:ptCount val="1"/>
                <c:pt idx="0">
                  <c:v>Custom Linep3yQ</c:v>
                </c:pt>
              </c:strCache>
            </c:strRef>
          </c:tx>
          <c:spPr>
            <a:ln w="19050" cap="rnd">
              <a:solidFill>
                <a:srgbClr val="C00000"/>
              </a:solidFill>
              <a:prstDash val="sysDot"/>
              <a:round/>
            </a:ln>
            <a:effectLst/>
          </c:spPr>
          <c:marker>
            <c:symbol val="none"/>
          </c:marker>
          <c:xVal>
            <c:numRef>
              <c:f>Sheet1!$A$160:$A$161</c:f>
              <c:numCache>
                <c:formatCode>General</c:formatCode>
                <c:ptCount val="2"/>
                <c:pt idx="0">
                  <c:v>0</c:v>
                </c:pt>
                <c:pt idx="1">
                  <c:v>0.27575744047645689</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3-F32D-48B7-BC20-E66FC6253BAD}"/>
            </c:ext>
          </c:extLst>
        </c:ser>
        <c:ser>
          <c:idx val="3"/>
          <c:order val="3"/>
          <c:tx>
            <c:strRef>
              <c:f>Sheet1!$B$16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0.27575744047645689</c:v>
                </c:pt>
                <c:pt idx="1">
                  <c:v>0.27575744047645689</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8:$A$169</c:f>
              <c:numCache>
                <c:formatCode>General</c:formatCode>
                <c:ptCount val="2"/>
                <c:pt idx="0">
                  <c:v>0</c:v>
                </c:pt>
                <c:pt idx="1">
                  <c:v>0.28987004975079905</c:v>
                </c:pt>
              </c:numCache>
            </c:numRef>
          </c:xVal>
          <c:yVal>
            <c:numRef>
              <c:f>Sheet1!$B$168:$B$169</c:f>
              <c:numCache>
                <c:formatCode>General</c:formatCode>
                <c:ptCount val="2"/>
                <c:pt idx="0">
                  <c:v>3.1101577984060606E-2</c:v>
                </c:pt>
                <c:pt idx="1">
                  <c:v>3.1101577984060606E-2</c:v>
                </c:pt>
              </c:numCache>
            </c:numRef>
          </c:yVal>
          <c:smooth val="0"/>
          <c:extLst>
            <c:ext xmlns:c16="http://schemas.microsoft.com/office/drawing/2014/chart" uri="{C3380CC4-5D6E-409C-BE32-E72D297353CC}">
              <c16:uniqueId val="{0000000A-F32D-48B7-BC20-E66FC6253BAD}"/>
            </c:ext>
          </c:extLst>
        </c:ser>
        <c:ser>
          <c:idx val="5"/>
          <c:order val="5"/>
          <c:tx>
            <c:strRef>
              <c:f>Sheet1!$B$17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0.28987004975079905</c:v>
                </c:pt>
                <c:pt idx="1">
                  <c:v>0.28987004975079905</c:v>
                </c:pt>
              </c:numCache>
            </c:numRef>
          </c:xVal>
          <c:yVal>
            <c:numRef>
              <c:f>Sheet1!$B$172:$B$173</c:f>
              <c:numCache>
                <c:formatCode>General</c:formatCode>
                <c:ptCount val="2"/>
                <c:pt idx="0">
                  <c:v>3.1101577984060606E-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6:$A$177</c:f>
              <c:numCache>
                <c:formatCode>General</c:formatCode>
                <c:ptCount val="2"/>
                <c:pt idx="0">
                  <c:v>0</c:v>
                </c:pt>
                <c:pt idx="1">
                  <c:v>0.32888493428125432</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1-F32D-48B7-BC20-E66FC6253BAD}"/>
            </c:ext>
          </c:extLst>
        </c:ser>
        <c:ser>
          <c:idx val="7"/>
          <c:order val="7"/>
          <c:tx>
            <c:strRef>
              <c:f>Sheet1!$B$17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0:$A$181</c:f>
              <c:numCache>
                <c:formatCode>General</c:formatCode>
                <c:ptCount val="2"/>
                <c:pt idx="0">
                  <c:v>0.32888493428125432</c:v>
                </c:pt>
                <c:pt idx="1">
                  <c:v>0.32888493428125432</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4:$A$238</c:f>
              <c:numCache>
                <c:formatCode>General</c:formatCode>
                <c:ptCount val="55"/>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pt idx="52">
                  <c:v>0.28987004975079905</c:v>
                </c:pt>
                <c:pt idx="53">
                  <c:v>0.27575744047645689</c:v>
                </c:pt>
                <c:pt idx="54">
                  <c:v>0.32888493428125432</c:v>
                </c:pt>
              </c:numCache>
            </c:numRef>
          </c:xVal>
          <c:yVal>
            <c:numRef>
              <c:f>Sheet1!$B$184:$B$238</c:f>
              <c:numCache>
                <c:formatCode>General</c:formatCode>
                <c:ptCount val="55"/>
                <c:pt idx="0">
                  <c:v>2.9413873016704839E-2</c:v>
                </c:pt>
                <c:pt idx="1">
                  <c:v>2.9896344890080709E-2</c:v>
                </c:pt>
                <c:pt idx="2">
                  <c:v>3.0155656486461964E-2</c:v>
                </c:pt>
                <c:pt idx="3">
                  <c:v>2.7109900331363727E-2</c:v>
                </c:pt>
                <c:pt idx="4">
                  <c:v>2.4371775225560388E-2</c:v>
                </c:pt>
                <c:pt idx="5">
                  <c:v>2.4094268404047922E-2</c:v>
                </c:pt>
                <c:pt idx="6">
                  <c:v>2.4322183284519114E-2</c:v>
                </c:pt>
                <c:pt idx="7">
                  <c:v>2.5263903460272262E-2</c:v>
                </c:pt>
                <c:pt idx="8">
                  <c:v>2.7533717749061021E-2</c:v>
                </c:pt>
                <c:pt idx="9">
                  <c:v>2.9136059572005948E-2</c:v>
                </c:pt>
                <c:pt idx="10">
                  <c:v>2.8439725189245424E-2</c:v>
                </c:pt>
                <c:pt idx="11">
                  <c:v>2.8481575446516888E-2</c:v>
                </c:pt>
                <c:pt idx="12">
                  <c:v>3.0108594349578348E-2</c:v>
                </c:pt>
                <c:pt idx="13">
                  <c:v>3.169054387055209E-2</c:v>
                </c:pt>
                <c:pt idx="14">
                  <c:v>3.1465934595702259E-2</c:v>
                </c:pt>
                <c:pt idx="15">
                  <c:v>3.1477667841337743E-2</c:v>
                </c:pt>
                <c:pt idx="16">
                  <c:v>3.1573121681829512E-2</c:v>
                </c:pt>
                <c:pt idx="17">
                  <c:v>3.1532924296196564E-2</c:v>
                </c:pt>
                <c:pt idx="18">
                  <c:v>3.0515660900336583E-2</c:v>
                </c:pt>
                <c:pt idx="19">
                  <c:v>3.0211789143868836E-2</c:v>
                </c:pt>
                <c:pt idx="20">
                  <c:v>2.8955614795748236E-2</c:v>
                </c:pt>
                <c:pt idx="21">
                  <c:v>3.2772131418724967E-2</c:v>
                </c:pt>
                <c:pt idx="22">
                  <c:v>3.3542665870490845E-2</c:v>
                </c:pt>
                <c:pt idx="23">
                  <c:v>3.3435184307609174E-2</c:v>
                </c:pt>
                <c:pt idx="24">
                  <c:v>3.268271460365052E-2</c:v>
                </c:pt>
                <c:pt idx="25">
                  <c:v>3.3870059534782497E-2</c:v>
                </c:pt>
                <c:pt idx="26">
                  <c:v>3.3073079926514877E-2</c:v>
                </c:pt>
                <c:pt idx="27">
                  <c:v>3.1808643842456727E-2</c:v>
                </c:pt>
                <c:pt idx="28">
                  <c:v>3.0502176751221188E-2</c:v>
                </c:pt>
                <c:pt idx="29">
                  <c:v>2.7906678470255915E-2</c:v>
                </c:pt>
                <c:pt idx="30">
                  <c:v>2.5033266393526828E-2</c:v>
                </c:pt>
                <c:pt idx="31">
                  <c:v>2.630903103630991E-2</c:v>
                </c:pt>
                <c:pt idx="32">
                  <c:v>2.8693045313762239E-2</c:v>
                </c:pt>
                <c:pt idx="33">
                  <c:v>3.2596808075387743E-2</c:v>
                </c:pt>
                <c:pt idx="34">
                  <c:v>3.3462836223474769E-2</c:v>
                </c:pt>
                <c:pt idx="35">
                  <c:v>3.1780988069129081E-2</c:v>
                </c:pt>
                <c:pt idx="36">
                  <c:v>3.2997078119396075E-2</c:v>
                </c:pt>
                <c:pt idx="37">
                  <c:v>3.4241810296995578E-2</c:v>
                </c:pt>
                <c:pt idx="38">
                  <c:v>3.5259393566231922E-2</c:v>
                </c:pt>
                <c:pt idx="39">
                  <c:v>3.2524924643797831E-2</c:v>
                </c:pt>
                <c:pt idx="40">
                  <c:v>2.8308242375685959E-2</c:v>
                </c:pt>
                <c:pt idx="41">
                  <c:v>2.54404048951909E-2</c:v>
                </c:pt>
                <c:pt idx="42">
                  <c:v>2.3287513921568817E-2</c:v>
                </c:pt>
                <c:pt idx="43">
                  <c:v>2.3365554652546534E-2</c:v>
                </c:pt>
                <c:pt idx="44">
                  <c:v>2.3054756675168077E-2</c:v>
                </c:pt>
                <c:pt idx="45">
                  <c:v>2.3566114628330095E-2</c:v>
                </c:pt>
                <c:pt idx="46">
                  <c:v>2.5888630394799238E-2</c:v>
                </c:pt>
                <c:pt idx="47">
                  <c:v>2.6265547596405793E-2</c:v>
                </c:pt>
                <c:pt idx="48">
                  <c:v>2.7412822111043234E-2</c:v>
                </c:pt>
                <c:pt idx="49">
                  <c:v>2.5962622488181153E-2</c:v>
                </c:pt>
                <c:pt idx="50">
                  <c:v>2.4525712064247307E-2</c:v>
                </c:pt>
                <c:pt idx="51">
                  <c:v>2.4473274634488791E-2</c:v>
                </c:pt>
                <c:pt idx="52">
                  <c:v>3.1101577984060602E-2</c:v>
                </c:pt>
                <c:pt idx="53">
                  <c:v>3.3390590546211449E-2</c:v>
                </c:pt>
                <c:pt idx="54">
                  <c:v>2.4773509299877497E-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40737801608579088"/>
          <c:min val="0.18705920295984374"/>
        </c:scaling>
        <c:delete val="0"/>
        <c:axPos val="b"/>
        <c:title>
          <c:tx>
            <c:rich>
              <a:bodyPr rot="0" spcFirstLastPara="1" vertOverflow="ellipsis" vert="horz" wrap="square" anchor="ctr" anchorCtr="1"/>
              <a:lstStyle/>
              <a:p>
                <a:pPr>
                  <a:defRPr sz="800" b="0">
                    <a:latin typeface="Nexa Bold"/>
                  </a:defRPr>
                </a:pPr>
                <a:r>
                  <a:rPr lang="en-US"/>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3084051742229012</c:v>
                </c:pt>
                <c:pt idx="1">
                  <c:v>0.31591786351078627</c:v>
                </c:pt>
                <c:pt idx="2">
                  <c:v>0.32058023334902946</c:v>
                </c:pt>
                <c:pt idx="3">
                  <c:v>0.31551466024025998</c:v>
                </c:pt>
                <c:pt idx="4">
                  <c:v>0.31248983133575575</c:v>
                </c:pt>
                <c:pt idx="5">
                  <c:v>0.31209899175068745</c:v>
                </c:pt>
                <c:pt idx="6">
                  <c:v>0.31243915630070307</c:v>
                </c:pt>
                <c:pt idx="7">
                  <c:v>0.3133619793471481</c:v>
                </c:pt>
                <c:pt idx="8">
                  <c:v>0.31671907756813417</c:v>
                </c:pt>
                <c:pt idx="9">
                  <c:v>0.31082322826247477</c:v>
                </c:pt>
                <c:pt idx="10">
                  <c:v>0.31047212859141043</c:v>
                </c:pt>
                <c:pt idx="11">
                  <c:v>0.30851195946449417</c:v>
                </c:pt>
                <c:pt idx="12">
                  <c:v>0.30743476600274672</c:v>
                </c:pt>
                <c:pt idx="13">
                  <c:v>0.30557876018361524</c:v>
                </c:pt>
                <c:pt idx="14">
                  <c:v>0.30608180521683359</c:v>
                </c:pt>
                <c:pt idx="15">
                  <c:v>0.30537959003209308</c:v>
                </c:pt>
                <c:pt idx="16">
                  <c:v>0.30479028449342177</c:v>
                </c:pt>
                <c:pt idx="17">
                  <c:v>0.30535697989231286</c:v>
                </c:pt>
                <c:pt idx="18">
                  <c:v>0.30758733419811496</c:v>
                </c:pt>
                <c:pt idx="19">
                  <c:v>0.30384356418742708</c:v>
                </c:pt>
                <c:pt idx="20">
                  <c:v>0.30255871389344829</c:v>
                </c:pt>
                <c:pt idx="21">
                  <c:v>0.30131492720175512</c:v>
                </c:pt>
                <c:pt idx="22">
                  <c:v>0.30402402402402401</c:v>
                </c:pt>
                <c:pt idx="23">
                  <c:v>0.3041818228723267</c:v>
                </c:pt>
                <c:pt idx="24">
                  <c:v>0.30380595989557657</c:v>
                </c:pt>
                <c:pt idx="25">
                  <c:v>0.30266464709715091</c:v>
                </c:pt>
                <c:pt idx="26">
                  <c:v>0.30198090992432275</c:v>
                </c:pt>
                <c:pt idx="27">
                  <c:v>0.30261018186645428</c:v>
                </c:pt>
                <c:pt idx="28">
                  <c:v>0.30379475941413642</c:v>
                </c:pt>
                <c:pt idx="29">
                  <c:v>0.30510575091808745</c:v>
                </c:pt>
                <c:pt idx="30">
                  <c:v>0.30547263681592041</c:v>
                </c:pt>
                <c:pt idx="31">
                  <c:v>0.30191808942530629</c:v>
                </c:pt>
                <c:pt idx="32">
                  <c:v>0.30004016835781272</c:v>
                </c:pt>
                <c:pt idx="33">
                  <c:v>0.30140260803244229</c:v>
                </c:pt>
                <c:pt idx="34">
                  <c:v>0.30315931183998879</c:v>
                </c:pt>
                <c:pt idx="35">
                  <c:v>0.30423707530585153</c:v>
                </c:pt>
                <c:pt idx="36">
                  <c:v>0.30339368848493503</c:v>
                </c:pt>
                <c:pt idx="37">
                  <c:v>0.30312142377964563</c:v>
                </c:pt>
                <c:pt idx="38">
                  <c:v>0.30421477922015827</c:v>
                </c:pt>
                <c:pt idx="39">
                  <c:v>0.30360700245050509</c:v>
                </c:pt>
                <c:pt idx="40">
                  <c:v>0.30482776067799466</c:v>
                </c:pt>
                <c:pt idx="41">
                  <c:v>0.30496561046396053</c:v>
                </c:pt>
                <c:pt idx="42">
                  <c:v>0.30474260101509459</c:v>
                </c:pt>
                <c:pt idx="43">
                  <c:v>0.30487658997567685</c:v>
                </c:pt>
                <c:pt idx="44">
                  <c:v>0.30417377406912238</c:v>
                </c:pt>
                <c:pt idx="45">
                  <c:v>0.30429474182711519</c:v>
                </c:pt>
                <c:pt idx="46">
                  <c:v>0.30416987037597953</c:v>
                </c:pt>
                <c:pt idx="47">
                  <c:v>0.30177142857142858</c:v>
                </c:pt>
                <c:pt idx="48">
                  <c:v>0.30034428178139644</c:v>
                </c:pt>
                <c:pt idx="49">
                  <c:v>0.30020553910468561</c:v>
                </c:pt>
                <c:pt idx="50">
                  <c:v>0.30020393921120919</c:v>
                </c:pt>
                <c:pt idx="51">
                  <c:v>0.30029572161037082</c:v>
                </c:pt>
                <c:pt idx="52">
                  <c:v>0.30085731375024921</c:v>
                </c:pt>
                <c:pt idx="53">
                  <c:v>0.30374794069192751</c:v>
                </c:pt>
                <c:pt idx="54">
                  <c:v>0.30475569923731716</c:v>
                </c:pt>
                <c:pt idx="55">
                  <c:v>0.30484411191281596</c:v>
                </c:pt>
                <c:pt idx="56">
                  <c:v>0.29666067320451317</c:v>
                </c:pt>
                <c:pt idx="57">
                  <c:v>0.25400835544515327</c:v>
                </c:pt>
                <c:pt idx="58">
                  <c:v>0.23382400369980466</c:v>
                </c:pt>
                <c:pt idx="59">
                  <c:v>0.23943026116791946</c:v>
                </c:pt>
                <c:pt idx="60">
                  <c:v>0.25369491863085675</c:v>
                </c:pt>
                <c:pt idx="61">
                  <c:v>0.26335839430757868</c:v>
                </c:pt>
                <c:pt idx="62">
                  <c:v>0.24811366501794199</c:v>
                </c:pt>
                <c:pt idx="63">
                  <c:v>0.25331883600138116</c:v>
                </c:pt>
                <c:pt idx="64">
                  <c:v>0.27606841827999473</c:v>
                </c:pt>
                <c:pt idx="65">
                  <c:v>0.28160478817918266</c:v>
                </c:pt>
                <c:pt idx="66">
                  <c:v>0.29229782021117312</c:v>
                </c:pt>
                <c:pt idx="67">
                  <c:v>0.30127414335954045</c:v>
                </c:pt>
                <c:pt idx="68">
                  <c:v>0.30305886879569066</c:v>
                </c:pt>
                <c:pt idx="69">
                  <c:v>0.30492991022208221</c:v>
                </c:pt>
                <c:pt idx="70">
                  <c:v>0.30628978911194849</c:v>
                </c:pt>
                <c:pt idx="71">
                  <c:v>0.30507690665654685</c:v>
                </c:pt>
                <c:pt idx="72">
                  <c:v>0.30607670596048481</c:v>
                </c:pt>
                <c:pt idx="73">
                  <c:v>0.3116373241246056</c:v>
                </c:pt>
                <c:pt idx="74">
                  <c:v>0.31424842998124136</c:v>
                </c:pt>
                <c:pt idx="75">
                  <c:v>0.31320176754871626</c:v>
                </c:pt>
                <c:pt idx="76">
                  <c:v>0.31380953870863448</c:v>
                </c:pt>
                <c:pt idx="77">
                  <c:v>0.32590348409435188</c:v>
                </c:pt>
                <c:pt idx="78">
                  <c:v>0.33061711871301291</c:v>
                </c:pt>
                <c:pt idx="79">
                  <c:v>0.33376024237416513</c:v>
                </c:pt>
                <c:pt idx="80">
                  <c:v>0.334863282523373</c:v>
                </c:pt>
                <c:pt idx="81">
                  <c:v>0.33732775797715603</c:v>
                </c:pt>
                <c:pt idx="82">
                  <c:v>0.3340239432262419</c:v>
                </c:pt>
                <c:pt idx="83">
                  <c:v>0.32813911724353323</c:v>
                </c:pt>
                <c:pt idx="84">
                  <c:v>0.32451377453380215</c:v>
                </c:pt>
                <c:pt idx="85">
                  <c:v>0.3242920313313794</c:v>
                </c:pt>
                <c:pt idx="86">
                  <c:v>0.32834757834757833</c:v>
                </c:pt>
                <c:pt idx="87">
                  <c:v>0.33024565689467972</c:v>
                </c:pt>
                <c:pt idx="88">
                  <c:v>0.33047076978575868</c:v>
                </c:pt>
                <c:pt idx="89">
                  <c:v>0.32960364974033468</c:v>
                </c:pt>
                <c:pt idx="90">
                  <c:v>0.32877782475231143</c:v>
                </c:pt>
                <c:pt idx="91">
                  <c:v>0.33265505668454848</c:v>
                </c:pt>
                <c:pt idx="92">
                  <c:v>0.33383080669232584</c:v>
                </c:pt>
                <c:pt idx="93">
                  <c:v>0.33445095599479496</c:v>
                </c:pt>
                <c:pt idx="94">
                  <c:v>0.33425385899470356</c:v>
                </c:pt>
                <c:pt idx="95">
                  <c:v>0.33302358553829059</c:v>
                </c:pt>
                <c:pt idx="96">
                  <c:v>0.3331230702831911</c:v>
                </c:pt>
                <c:pt idx="97">
                  <c:v>0.33248279672509923</c:v>
                </c:pt>
                <c:pt idx="98">
                  <c:v>0.33184443040565192</c:v>
                </c:pt>
                <c:pt idx="99">
                  <c:v>0.31234357273380736</c:v>
                </c:pt>
                <c:pt idx="100">
                  <c:v>0.30123106937136429</c:v>
                </c:pt>
                <c:pt idx="101">
                  <c:v>0.30056872662328632</c:v>
                </c:pt>
              </c:numCache>
            </c:numRef>
          </c:xVal>
          <c:yVal>
            <c:numRef>
              <c:f>Sheet1!$B$2:$B$103</c:f>
              <c:numCache>
                <c:formatCode>General</c:formatCode>
                <c:ptCount val="102"/>
                <c:pt idx="0">
                  <c:v>3.1549194168607006E-2</c:v>
                </c:pt>
                <c:pt idx="1">
                  <c:v>2.5925076493376501E-2</c:v>
                </c:pt>
                <c:pt idx="2">
                  <c:v>1.9457371147598559E-2</c:v>
                </c:pt>
                <c:pt idx="3">
                  <c:v>2.1005226955186754E-2</c:v>
                </c:pt>
                <c:pt idx="4">
                  <c:v>2.3683174888924508E-2</c:v>
                </c:pt>
                <c:pt idx="5">
                  <c:v>2.4814911692122233E-2</c:v>
                </c:pt>
                <c:pt idx="6">
                  <c:v>2.2966901329024649E-2</c:v>
                </c:pt>
                <c:pt idx="7">
                  <c:v>2.1693356757167159E-2</c:v>
                </c:pt>
                <c:pt idx="8">
                  <c:v>2.508474647577718E-2</c:v>
                </c:pt>
                <c:pt idx="9">
                  <c:v>3.2219360006132694E-2</c:v>
                </c:pt>
                <c:pt idx="10">
                  <c:v>3.3455366889535383E-2</c:v>
                </c:pt>
                <c:pt idx="11">
                  <c:v>3.0774205038558523E-2</c:v>
                </c:pt>
                <c:pt idx="12">
                  <c:v>3.166311843777065E-2</c:v>
                </c:pt>
                <c:pt idx="13">
                  <c:v>2.9573633835338665E-2</c:v>
                </c:pt>
                <c:pt idx="14">
                  <c:v>2.9438294749618857E-2</c:v>
                </c:pt>
                <c:pt idx="15">
                  <c:v>3.2326555355538883E-2</c:v>
                </c:pt>
                <c:pt idx="16">
                  <c:v>3.0454183212358377E-2</c:v>
                </c:pt>
                <c:pt idx="17">
                  <c:v>3.0177244147381318E-2</c:v>
                </c:pt>
                <c:pt idx="18">
                  <c:v>3.0949579617420526E-2</c:v>
                </c:pt>
                <c:pt idx="19">
                  <c:v>3.3044676701229417E-2</c:v>
                </c:pt>
                <c:pt idx="20">
                  <c:v>3.4502368865567047E-2</c:v>
                </c:pt>
                <c:pt idx="21">
                  <c:v>3.8171203781773647E-2</c:v>
                </c:pt>
                <c:pt idx="22">
                  <c:v>3.2633840746857157E-2</c:v>
                </c:pt>
                <c:pt idx="23">
                  <c:v>3.22851825867847E-2</c:v>
                </c:pt>
                <c:pt idx="24">
                  <c:v>3.4293774474369265E-2</c:v>
                </c:pt>
                <c:pt idx="25">
                  <c:v>3.3493331489235549E-2</c:v>
                </c:pt>
                <c:pt idx="26">
                  <c:v>3.2256296982208908E-2</c:v>
                </c:pt>
                <c:pt idx="27">
                  <c:v>3.256327154323236E-2</c:v>
                </c:pt>
                <c:pt idx="28">
                  <c:v>3.0215972855570965E-2</c:v>
                </c:pt>
                <c:pt idx="29">
                  <c:v>2.971323515475446E-2</c:v>
                </c:pt>
                <c:pt idx="30">
                  <c:v>2.9886044202056927E-2</c:v>
                </c:pt>
                <c:pt idx="31">
                  <c:v>3.0113049153545669E-2</c:v>
                </c:pt>
                <c:pt idx="32">
                  <c:v>3.0121682992946059E-2</c:v>
                </c:pt>
                <c:pt idx="33">
                  <c:v>2.8704102443482309E-2</c:v>
                </c:pt>
                <c:pt idx="34">
                  <c:v>3.0602403901330309E-2</c:v>
                </c:pt>
                <c:pt idx="35">
                  <c:v>3.1456536502498786E-2</c:v>
                </c:pt>
                <c:pt idx="36">
                  <c:v>3.1516667937295108E-2</c:v>
                </c:pt>
                <c:pt idx="37">
                  <c:v>3.3226585884057164E-2</c:v>
                </c:pt>
                <c:pt idx="38">
                  <c:v>3.3016326225624587E-2</c:v>
                </c:pt>
                <c:pt idx="39">
                  <c:v>3.0075909553288729E-2</c:v>
                </c:pt>
                <c:pt idx="40">
                  <c:v>3.0308227143147046E-2</c:v>
                </c:pt>
                <c:pt idx="41">
                  <c:v>3.1273537834975489E-2</c:v>
                </c:pt>
                <c:pt idx="42">
                  <c:v>3.0059016900147784E-2</c:v>
                </c:pt>
                <c:pt idx="43">
                  <c:v>3.0573863083611635E-2</c:v>
                </c:pt>
                <c:pt idx="44">
                  <c:v>3.254448153409624E-2</c:v>
                </c:pt>
                <c:pt idx="45">
                  <c:v>3.2420025270644671E-2</c:v>
                </c:pt>
                <c:pt idx="46">
                  <c:v>3.0841270586476857E-2</c:v>
                </c:pt>
                <c:pt idx="47">
                  <c:v>3.4545476528939606E-2</c:v>
                </c:pt>
                <c:pt idx="48">
                  <c:v>3.9378011399146942E-2</c:v>
                </c:pt>
                <c:pt idx="49">
                  <c:v>3.4585845792310457E-2</c:v>
                </c:pt>
                <c:pt idx="50">
                  <c:v>3.6889295123608744E-2</c:v>
                </c:pt>
                <c:pt idx="51">
                  <c:v>3.516974061970235E-2</c:v>
                </c:pt>
                <c:pt idx="52">
                  <c:v>3.3440411726256954E-2</c:v>
                </c:pt>
                <c:pt idx="53">
                  <c:v>3.0775515895011849E-2</c:v>
                </c:pt>
                <c:pt idx="54">
                  <c:v>2.856172806220978E-2</c:v>
                </c:pt>
                <c:pt idx="55">
                  <c:v>2.9260191711765828E-2</c:v>
                </c:pt>
                <c:pt idx="56">
                  <c:v>3.1178692703543048E-2</c:v>
                </c:pt>
                <c:pt idx="57">
                  <c:v>3.7031471681131703E-2</c:v>
                </c:pt>
                <c:pt idx="58">
                  <c:v>3.9909501581123753E-2</c:v>
                </c:pt>
                <c:pt idx="59">
                  <c:v>3.3090443177845791E-2</c:v>
                </c:pt>
                <c:pt idx="60">
                  <c:v>2.0429936026239697E-2</c:v>
                </c:pt>
                <c:pt idx="61">
                  <c:v>1.5942339180034886E-2</c:v>
                </c:pt>
                <c:pt idx="62">
                  <c:v>2.6561543645322632E-2</c:v>
                </c:pt>
                <c:pt idx="63">
                  <c:v>3.5068893654044385E-2</c:v>
                </c:pt>
                <c:pt idx="64">
                  <c:v>3.0967228847484717E-2</c:v>
                </c:pt>
                <c:pt idx="65">
                  <c:v>2.6027056162994167E-2</c:v>
                </c:pt>
                <c:pt idx="66">
                  <c:v>2.5871503741223587E-2</c:v>
                </c:pt>
                <c:pt idx="67">
                  <c:v>2.691260699372984E-2</c:v>
                </c:pt>
                <c:pt idx="68">
                  <c:v>2.5874418970458959E-2</c:v>
                </c:pt>
                <c:pt idx="69">
                  <c:v>2.3193315376484971E-2</c:v>
                </c:pt>
                <c:pt idx="70">
                  <c:v>2.2686657383630057E-2</c:v>
                </c:pt>
                <c:pt idx="71">
                  <c:v>2.6189284143623485E-2</c:v>
                </c:pt>
                <c:pt idx="72">
                  <c:v>2.7336338114147821E-2</c:v>
                </c:pt>
                <c:pt idx="73">
                  <c:v>2.7740990571672709E-2</c:v>
                </c:pt>
                <c:pt idx="74">
                  <c:v>2.8775273119844166E-2</c:v>
                </c:pt>
                <c:pt idx="75">
                  <c:v>2.8510329318482425E-2</c:v>
                </c:pt>
                <c:pt idx="76">
                  <c:v>2.7909474603405617E-2</c:v>
                </c:pt>
                <c:pt idx="77">
                  <c:v>2.354699792786898E-2</c:v>
                </c:pt>
                <c:pt idx="78">
                  <c:v>2.3516397046911525E-2</c:v>
                </c:pt>
                <c:pt idx="79">
                  <c:v>2.2115174941799768E-2</c:v>
                </c:pt>
                <c:pt idx="80">
                  <c:v>2.2268202762568419E-2</c:v>
                </c:pt>
                <c:pt idx="81">
                  <c:v>2.1244426266941792E-2</c:v>
                </c:pt>
                <c:pt idx="82">
                  <c:v>3.1177386289303839E-2</c:v>
                </c:pt>
                <c:pt idx="83">
                  <c:v>2.6306476866990773E-2</c:v>
                </c:pt>
                <c:pt idx="84">
                  <c:v>2.5524833007679375E-2</c:v>
                </c:pt>
                <c:pt idx="85">
                  <c:v>2.6871534411513368E-2</c:v>
                </c:pt>
                <c:pt idx="86">
                  <c:v>2.6338851413823878E-2</c:v>
                </c:pt>
                <c:pt idx="87">
                  <c:v>2.4648701089615546E-2</c:v>
                </c:pt>
                <c:pt idx="88">
                  <c:v>2.6238033764437702E-2</c:v>
                </c:pt>
                <c:pt idx="89">
                  <c:v>3.0191859532939729E-2</c:v>
                </c:pt>
                <c:pt idx="90">
                  <c:v>3.0716851696320817E-2</c:v>
                </c:pt>
                <c:pt idx="91">
                  <c:v>3.1790352756617284E-2</c:v>
                </c:pt>
                <c:pt idx="92">
                  <c:v>2.9789485452214992E-2</c:v>
                </c:pt>
                <c:pt idx="93">
                  <c:v>2.7419432969366012E-2</c:v>
                </c:pt>
                <c:pt idx="94">
                  <c:v>2.5375304588112154E-2</c:v>
                </c:pt>
                <c:pt idx="95">
                  <c:v>2.7271435244645044E-2</c:v>
                </c:pt>
                <c:pt idx="96">
                  <c:v>2.4300725205733124E-2</c:v>
                </c:pt>
                <c:pt idx="97">
                  <c:v>2.5953063658202231E-2</c:v>
                </c:pt>
                <c:pt idx="98">
                  <c:v>2.870484051773789E-2</c:v>
                </c:pt>
                <c:pt idx="99">
                  <c:v>3.0161179689259059E-2</c:v>
                </c:pt>
                <c:pt idx="100">
                  <c:v>3.7558407981539428E-2</c:v>
                </c:pt>
                <c:pt idx="101">
                  <c:v>3.5796970668813106E-2</c:v>
                </c:pt>
              </c:numCache>
            </c:numRef>
          </c:yVal>
          <c:smooth val="0"/>
          <c:extLst>
            <c:ext xmlns:c16="http://schemas.microsoft.com/office/drawing/2014/chart" uri="{C3380CC4-5D6E-409C-BE32-E72D297353CC}">
              <c16:uniqueId val="{00000000-F32D-48B7-BC20-E66FC6253BAD}"/>
            </c:ext>
          </c:extLst>
        </c:ser>
        <c:ser>
          <c:idx val="1"/>
          <c:order val="1"/>
          <c:tx>
            <c:strRef>
              <c:f>Sheet1!$B$10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6:$A$157</c:f>
              <c:numCache>
                <c:formatCode>General</c:formatCode>
                <c:ptCount val="52"/>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numCache>
            </c:numRef>
          </c:xVal>
          <c:yVal>
            <c:numRef>
              <c:f>Sheet1!$B$106:$B$157</c:f>
              <c:numCache>
                <c:formatCode>General</c:formatCode>
                <c:ptCount val="52"/>
                <c:pt idx="0">
                  <c:v>3.3379430772150658E-2</c:v>
                </c:pt>
                <c:pt idx="1">
                  <c:v>3.5297770608354727E-2</c:v>
                </c:pt>
                <c:pt idx="2">
                  <c:v>3.603152077608085E-2</c:v>
                </c:pt>
                <c:pt idx="3">
                  <c:v>3.0978674639028675E-2</c:v>
                </c:pt>
                <c:pt idx="4">
                  <c:v>2.8133515753956471E-2</c:v>
                </c:pt>
                <c:pt idx="5">
                  <c:v>2.7512069607189618E-2</c:v>
                </c:pt>
                <c:pt idx="6">
                  <c:v>2.7535908601076187E-2</c:v>
                </c:pt>
                <c:pt idx="7">
                  <c:v>2.7306049137985969E-2</c:v>
                </c:pt>
                <c:pt idx="8">
                  <c:v>2.6838607545871734E-2</c:v>
                </c:pt>
                <c:pt idx="9">
                  <c:v>2.8577136215520643E-2</c:v>
                </c:pt>
                <c:pt idx="10">
                  <c:v>2.9045708307140341E-2</c:v>
                </c:pt>
                <c:pt idx="11">
                  <c:v>3.0151694267354034E-2</c:v>
                </c:pt>
                <c:pt idx="12">
                  <c:v>3.1278274774940926E-2</c:v>
                </c:pt>
                <c:pt idx="13">
                  <c:v>3.2623144271831599E-2</c:v>
                </c:pt>
                <c:pt idx="14">
                  <c:v>3.2081452766552027E-2</c:v>
                </c:pt>
                <c:pt idx="15">
                  <c:v>2.8476513020004538E-2</c:v>
                </c:pt>
                <c:pt idx="16">
                  <c:v>2.8897929262062423E-2</c:v>
                </c:pt>
                <c:pt idx="17">
                  <c:v>2.8572345272906727E-2</c:v>
                </c:pt>
                <c:pt idx="18">
                  <c:v>2.7582157287634194E-2</c:v>
                </c:pt>
                <c:pt idx="19">
                  <c:v>2.6684207925807661E-2</c:v>
                </c:pt>
                <c:pt idx="20">
                  <c:v>2.5074098168638374E-2</c:v>
                </c:pt>
                <c:pt idx="21">
                  <c:v>3.7053775555914395E-2</c:v>
                </c:pt>
                <c:pt idx="22">
                  <c:v>4.1201839145334811E-2</c:v>
                </c:pt>
                <c:pt idx="23">
                  <c:v>3.952108516249337E-2</c:v>
                </c:pt>
                <c:pt idx="24">
                  <c:v>3.301132678213544E-2</c:v>
                </c:pt>
                <c:pt idx="25">
                  <c:v>3.4672282379825628E-2</c:v>
                </c:pt>
                <c:pt idx="26">
                  <c:v>3.6478521099227869E-2</c:v>
                </c:pt>
                <c:pt idx="27">
                  <c:v>3.1719960612283417E-2</c:v>
                </c:pt>
                <c:pt idx="28">
                  <c:v>2.9844699099281863E-2</c:v>
                </c:pt>
                <c:pt idx="29">
                  <c:v>2.8247037929351546E-2</c:v>
                </c:pt>
                <c:pt idx="30">
                  <c:v>2.3926861689124793E-2</c:v>
                </c:pt>
                <c:pt idx="31">
                  <c:v>2.0770671408149036E-2</c:v>
                </c:pt>
                <c:pt idx="32">
                  <c:v>2.3460558709885785E-2</c:v>
                </c:pt>
                <c:pt idx="33">
                  <c:v>3.0427962862070307E-2</c:v>
                </c:pt>
                <c:pt idx="34">
                  <c:v>3.1037706913624008E-2</c:v>
                </c:pt>
                <c:pt idx="35">
                  <c:v>2.928997264422914E-2</c:v>
                </c:pt>
                <c:pt idx="36">
                  <c:v>2.9697936908540855E-2</c:v>
                </c:pt>
                <c:pt idx="37">
                  <c:v>3.0248130900335804E-2</c:v>
                </c:pt>
                <c:pt idx="38">
                  <c:v>3.5070387750061743E-2</c:v>
                </c:pt>
                <c:pt idx="39">
                  <c:v>3.1208337770205517E-2</c:v>
                </c:pt>
                <c:pt idx="40">
                  <c:v>2.6826790166755026E-2</c:v>
                </c:pt>
                <c:pt idx="41">
                  <c:v>2.4203784771293646E-2</c:v>
                </c:pt>
                <c:pt idx="42">
                  <c:v>2.4098053977022377E-2</c:v>
                </c:pt>
                <c:pt idx="43">
                  <c:v>2.4523754132153155E-2</c:v>
                </c:pt>
                <c:pt idx="44">
                  <c:v>2.2379504666963371E-2</c:v>
                </c:pt>
                <c:pt idx="45">
                  <c:v>2.104065524243157E-2</c:v>
                </c:pt>
                <c:pt idx="46">
                  <c:v>2.2028240128902143E-2</c:v>
                </c:pt>
                <c:pt idx="47">
                  <c:v>2.3321641522021073E-2</c:v>
                </c:pt>
                <c:pt idx="48">
                  <c:v>2.5721900660138006E-2</c:v>
                </c:pt>
                <c:pt idx="49">
                  <c:v>2.4967370312040958E-2</c:v>
                </c:pt>
                <c:pt idx="50">
                  <c:v>2.6033359791458374E-2</c:v>
                </c:pt>
                <c:pt idx="51">
                  <c:v>2.5702227757022279E-2</c:v>
                </c:pt>
              </c:numCache>
            </c:numRef>
          </c:yVal>
          <c:smooth val="0"/>
          <c:extLst>
            <c:ext xmlns:c16="http://schemas.microsoft.com/office/drawing/2014/chart" uri="{C3380CC4-5D6E-409C-BE32-E72D297353CC}">
              <c16:uniqueId val="{00000002-F32D-48B7-BC20-E66FC6253BAD}"/>
            </c:ext>
          </c:extLst>
        </c:ser>
        <c:ser>
          <c:idx val="2"/>
          <c:order val="2"/>
          <c:tx>
            <c:strRef>
              <c:f>Sheet1!$B$159</c:f>
              <c:strCache>
                <c:ptCount val="1"/>
                <c:pt idx="0">
                  <c:v>Custom Linep3yQ</c:v>
                </c:pt>
              </c:strCache>
            </c:strRef>
          </c:tx>
          <c:spPr>
            <a:ln w="19050" cap="rnd">
              <a:solidFill>
                <a:srgbClr val="C00000"/>
              </a:solidFill>
              <a:prstDash val="sysDot"/>
              <a:round/>
            </a:ln>
            <a:effectLst/>
          </c:spPr>
          <c:marker>
            <c:symbol val="none"/>
          </c:marker>
          <c:xVal>
            <c:numRef>
              <c:f>Sheet1!$A$160:$A$161</c:f>
              <c:numCache>
                <c:formatCode>General</c:formatCode>
                <c:ptCount val="2"/>
                <c:pt idx="0">
                  <c:v>0</c:v>
                </c:pt>
                <c:pt idx="1">
                  <c:v>0.27575744047645689</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3-F32D-48B7-BC20-E66FC6253BAD}"/>
            </c:ext>
          </c:extLst>
        </c:ser>
        <c:ser>
          <c:idx val="3"/>
          <c:order val="3"/>
          <c:tx>
            <c:strRef>
              <c:f>Sheet1!$B$16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0.27575744047645689</c:v>
                </c:pt>
                <c:pt idx="1">
                  <c:v>0.27575744047645689</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8:$A$169</c:f>
              <c:numCache>
                <c:formatCode>General</c:formatCode>
                <c:ptCount val="2"/>
                <c:pt idx="0">
                  <c:v>0</c:v>
                </c:pt>
                <c:pt idx="1">
                  <c:v>0.28987004975079905</c:v>
                </c:pt>
              </c:numCache>
            </c:numRef>
          </c:xVal>
          <c:yVal>
            <c:numRef>
              <c:f>Sheet1!$B$168:$B$169</c:f>
              <c:numCache>
                <c:formatCode>General</c:formatCode>
                <c:ptCount val="2"/>
                <c:pt idx="0">
                  <c:v>3.1101577984060606E-2</c:v>
                </c:pt>
                <c:pt idx="1">
                  <c:v>3.1101577984060606E-2</c:v>
                </c:pt>
              </c:numCache>
            </c:numRef>
          </c:yVal>
          <c:smooth val="0"/>
          <c:extLst>
            <c:ext xmlns:c16="http://schemas.microsoft.com/office/drawing/2014/chart" uri="{C3380CC4-5D6E-409C-BE32-E72D297353CC}">
              <c16:uniqueId val="{0000000A-F32D-48B7-BC20-E66FC6253BAD}"/>
            </c:ext>
          </c:extLst>
        </c:ser>
        <c:ser>
          <c:idx val="5"/>
          <c:order val="5"/>
          <c:tx>
            <c:strRef>
              <c:f>Sheet1!$B$17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0.28987004975079905</c:v>
                </c:pt>
                <c:pt idx="1">
                  <c:v>0.28987004975079905</c:v>
                </c:pt>
              </c:numCache>
            </c:numRef>
          </c:xVal>
          <c:yVal>
            <c:numRef>
              <c:f>Sheet1!$B$172:$B$173</c:f>
              <c:numCache>
                <c:formatCode>General</c:formatCode>
                <c:ptCount val="2"/>
                <c:pt idx="0">
                  <c:v>3.1101577984060606E-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6:$A$177</c:f>
              <c:numCache>
                <c:formatCode>General</c:formatCode>
                <c:ptCount val="2"/>
                <c:pt idx="0">
                  <c:v>0</c:v>
                </c:pt>
                <c:pt idx="1">
                  <c:v>0.32888493428125432</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1-F32D-48B7-BC20-E66FC6253BAD}"/>
            </c:ext>
          </c:extLst>
        </c:ser>
        <c:ser>
          <c:idx val="7"/>
          <c:order val="7"/>
          <c:tx>
            <c:strRef>
              <c:f>Sheet1!$B$17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0:$A$181</c:f>
              <c:numCache>
                <c:formatCode>General</c:formatCode>
                <c:ptCount val="2"/>
                <c:pt idx="0">
                  <c:v>0.32888493428125432</c:v>
                </c:pt>
                <c:pt idx="1">
                  <c:v>0.32888493428125432</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4:$A$238</c:f>
              <c:numCache>
                <c:formatCode>General</c:formatCode>
                <c:ptCount val="55"/>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pt idx="52">
                  <c:v>0.28987004975079905</c:v>
                </c:pt>
                <c:pt idx="53">
                  <c:v>0.27575744047645689</c:v>
                </c:pt>
                <c:pt idx="54">
                  <c:v>0.32888493428125432</c:v>
                </c:pt>
              </c:numCache>
            </c:numRef>
          </c:xVal>
          <c:yVal>
            <c:numRef>
              <c:f>Sheet1!$B$184:$B$238</c:f>
              <c:numCache>
                <c:formatCode>General</c:formatCode>
                <c:ptCount val="55"/>
                <c:pt idx="0">
                  <c:v>2.9413873016704839E-2</c:v>
                </c:pt>
                <c:pt idx="1">
                  <c:v>2.9896344890080709E-2</c:v>
                </c:pt>
                <c:pt idx="2">
                  <c:v>3.0155656486461964E-2</c:v>
                </c:pt>
                <c:pt idx="3">
                  <c:v>2.7109900331363727E-2</c:v>
                </c:pt>
                <c:pt idx="4">
                  <c:v>2.4371775225560388E-2</c:v>
                </c:pt>
                <c:pt idx="5">
                  <c:v>2.4094268404047922E-2</c:v>
                </c:pt>
                <c:pt idx="6">
                  <c:v>2.4322183284519114E-2</c:v>
                </c:pt>
                <c:pt idx="7">
                  <c:v>2.5263903460272262E-2</c:v>
                </c:pt>
                <c:pt idx="8">
                  <c:v>2.7533717749061021E-2</c:v>
                </c:pt>
                <c:pt idx="9">
                  <c:v>2.9136059572005948E-2</c:v>
                </c:pt>
                <c:pt idx="10">
                  <c:v>2.8439725189245424E-2</c:v>
                </c:pt>
                <c:pt idx="11">
                  <c:v>2.8481575446516888E-2</c:v>
                </c:pt>
                <c:pt idx="12">
                  <c:v>3.0108594349578348E-2</c:v>
                </c:pt>
                <c:pt idx="13">
                  <c:v>3.169054387055209E-2</c:v>
                </c:pt>
                <c:pt idx="14">
                  <c:v>3.1465934595702259E-2</c:v>
                </c:pt>
                <c:pt idx="15">
                  <c:v>3.1477667841337743E-2</c:v>
                </c:pt>
                <c:pt idx="16">
                  <c:v>3.1573121681829512E-2</c:v>
                </c:pt>
                <c:pt idx="17">
                  <c:v>3.1532924296196564E-2</c:v>
                </c:pt>
                <c:pt idx="18">
                  <c:v>3.0515660900336583E-2</c:v>
                </c:pt>
                <c:pt idx="19">
                  <c:v>3.0211789143868836E-2</c:v>
                </c:pt>
                <c:pt idx="20">
                  <c:v>2.8955614795748236E-2</c:v>
                </c:pt>
                <c:pt idx="21">
                  <c:v>3.2772131418724967E-2</c:v>
                </c:pt>
                <c:pt idx="22">
                  <c:v>3.3542665870490845E-2</c:v>
                </c:pt>
                <c:pt idx="23">
                  <c:v>3.3435184307609174E-2</c:v>
                </c:pt>
                <c:pt idx="24">
                  <c:v>3.268271460365052E-2</c:v>
                </c:pt>
                <c:pt idx="25">
                  <c:v>3.3870059534782497E-2</c:v>
                </c:pt>
                <c:pt idx="26">
                  <c:v>3.3073079926514877E-2</c:v>
                </c:pt>
                <c:pt idx="27">
                  <c:v>3.1808643842456727E-2</c:v>
                </c:pt>
                <c:pt idx="28">
                  <c:v>3.0502176751221188E-2</c:v>
                </c:pt>
                <c:pt idx="29">
                  <c:v>2.7906678470255915E-2</c:v>
                </c:pt>
                <c:pt idx="30">
                  <c:v>2.5033266393526828E-2</c:v>
                </c:pt>
                <c:pt idx="31">
                  <c:v>2.630903103630991E-2</c:v>
                </c:pt>
                <c:pt idx="32">
                  <c:v>2.8693045313762239E-2</c:v>
                </c:pt>
                <c:pt idx="33">
                  <c:v>3.2596808075387743E-2</c:v>
                </c:pt>
                <c:pt idx="34">
                  <c:v>3.3462836223474769E-2</c:v>
                </c:pt>
                <c:pt idx="35">
                  <c:v>3.1780988069129081E-2</c:v>
                </c:pt>
                <c:pt idx="36">
                  <c:v>3.2997078119396075E-2</c:v>
                </c:pt>
                <c:pt idx="37">
                  <c:v>3.4241810296995578E-2</c:v>
                </c:pt>
                <c:pt idx="38">
                  <c:v>3.5259393566231922E-2</c:v>
                </c:pt>
                <c:pt idx="39">
                  <c:v>3.2524924643797831E-2</c:v>
                </c:pt>
                <c:pt idx="40">
                  <c:v>2.8308242375685959E-2</c:v>
                </c:pt>
                <c:pt idx="41">
                  <c:v>2.54404048951909E-2</c:v>
                </c:pt>
                <c:pt idx="42">
                  <c:v>2.3287513921568817E-2</c:v>
                </c:pt>
                <c:pt idx="43">
                  <c:v>2.3365554652546534E-2</c:v>
                </c:pt>
                <c:pt idx="44">
                  <c:v>2.3054756675168077E-2</c:v>
                </c:pt>
                <c:pt idx="45">
                  <c:v>2.3566114628330095E-2</c:v>
                </c:pt>
                <c:pt idx="46">
                  <c:v>2.5888630394799238E-2</c:v>
                </c:pt>
                <c:pt idx="47">
                  <c:v>2.6265547596405793E-2</c:v>
                </c:pt>
                <c:pt idx="48">
                  <c:v>2.7412822111043234E-2</c:v>
                </c:pt>
                <c:pt idx="49">
                  <c:v>2.5962622488181153E-2</c:v>
                </c:pt>
                <c:pt idx="50">
                  <c:v>2.4525712064247307E-2</c:v>
                </c:pt>
                <c:pt idx="51">
                  <c:v>2.4473274634488791E-2</c:v>
                </c:pt>
                <c:pt idx="52">
                  <c:v>3.1101577984060602E-2</c:v>
                </c:pt>
                <c:pt idx="53">
                  <c:v>3.3390590546211449E-2</c:v>
                </c:pt>
                <c:pt idx="54">
                  <c:v>2.4773509299877497E-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40737801608579088"/>
          <c:min val="0.18705920295984374"/>
        </c:scaling>
        <c:delete val="0"/>
        <c:axPos val="b"/>
        <c:title>
          <c:tx>
            <c:rich>
              <a:bodyPr rot="0" spcFirstLastPara="1" vertOverflow="ellipsis" vert="horz" wrap="square" anchor="ctr" anchorCtr="1"/>
              <a:lstStyle/>
              <a:p>
                <a:pPr>
                  <a:defRPr sz="800" b="0">
                    <a:latin typeface="Nexa Bold"/>
                  </a:defRPr>
                </a:pPr>
                <a:r>
                  <a:rPr lang="en-US"/>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1291069944164441</c:v>
                </c:pt>
                <c:pt idx="1">
                  <c:v>0.13485892486555889</c:v>
                </c:pt>
                <c:pt idx="2">
                  <c:v>0.13361697278764331</c:v>
                </c:pt>
                <c:pt idx="3">
                  <c:v>0.13181455947245191</c:v>
                </c:pt>
                <c:pt idx="4">
                  <c:v>0.13079849733141291</c:v>
                </c:pt>
                <c:pt idx="5">
                  <c:v>0.12786527339341361</c:v>
                </c:pt>
                <c:pt idx="6">
                  <c:v>0.13389772495720559</c:v>
                </c:pt>
                <c:pt idx="7">
                  <c:v>0.1359519354250221</c:v>
                </c:pt>
                <c:pt idx="8">
                  <c:v>0.13408395448492219</c:v>
                </c:pt>
                <c:pt idx="9">
                  <c:v>0.1272173036352085</c:v>
                </c:pt>
                <c:pt idx="10">
                  <c:v>0.12580154817273331</c:v>
                </c:pt>
                <c:pt idx="11">
                  <c:v>0.1247833670603628</c:v>
                </c:pt>
                <c:pt idx="12">
                  <c:v>0.12616612542700109</c:v>
                </c:pt>
                <c:pt idx="13">
                  <c:v>0.13426073846412021</c:v>
                </c:pt>
                <c:pt idx="14">
                  <c:v>0.13040345544745011</c:v>
                </c:pt>
                <c:pt idx="15">
                  <c:v>0.12568196098787579</c:v>
                </c:pt>
                <c:pt idx="16">
                  <c:v>0.1284543866213313</c:v>
                </c:pt>
                <c:pt idx="17">
                  <c:v>0.13252000199740169</c:v>
                </c:pt>
                <c:pt idx="18">
                  <c:v>0.12612196270786419</c:v>
                </c:pt>
                <c:pt idx="19">
                  <c:v>0.13496886950214251</c:v>
                </c:pt>
                <c:pt idx="20">
                  <c:v>0.13064933940560819</c:v>
                </c:pt>
                <c:pt idx="21">
                  <c:v>0.12635635491031241</c:v>
                </c:pt>
                <c:pt idx="22">
                  <c:v>0.12863609693980929</c:v>
                </c:pt>
                <c:pt idx="23">
                  <c:v>0.13116494310893009</c:v>
                </c:pt>
                <c:pt idx="24">
                  <c:v>0.1278058186678292</c:v>
                </c:pt>
                <c:pt idx="25">
                  <c:v>0.1235932293079324</c:v>
                </c:pt>
                <c:pt idx="26">
                  <c:v>0.12290934252239009</c:v>
                </c:pt>
                <c:pt idx="27">
                  <c:v>0.12109503765009599</c:v>
                </c:pt>
                <c:pt idx="28">
                  <c:v>0.12207135397276341</c:v>
                </c:pt>
                <c:pt idx="29">
                  <c:v>0.1263122981136704</c:v>
                </c:pt>
                <c:pt idx="30">
                  <c:v>0.1263263635992006</c:v>
                </c:pt>
                <c:pt idx="31">
                  <c:v>0.12476889875077329</c:v>
                </c:pt>
                <c:pt idx="32">
                  <c:v>0.12674353123399981</c:v>
                </c:pt>
                <c:pt idx="33">
                  <c:v>0.12588695742723971</c:v>
                </c:pt>
                <c:pt idx="34">
                  <c:v>0.12390000002667199</c:v>
                </c:pt>
                <c:pt idx="35">
                  <c:v>0.12440850519118039</c:v>
                </c:pt>
                <c:pt idx="36">
                  <c:v>0.12336288941275771</c:v>
                </c:pt>
                <c:pt idx="37">
                  <c:v>0.1236579395008299</c:v>
                </c:pt>
                <c:pt idx="38">
                  <c:v>0.1244360084590832</c:v>
                </c:pt>
                <c:pt idx="39">
                  <c:v>0.12224083915887329</c:v>
                </c:pt>
                <c:pt idx="40">
                  <c:v>0.1219327444047168</c:v>
                </c:pt>
                <c:pt idx="41">
                  <c:v>0.1250560323566518</c:v>
                </c:pt>
                <c:pt idx="42">
                  <c:v>0.12745512740440279</c:v>
                </c:pt>
                <c:pt idx="43">
                  <c:v>0.1211984894858895</c:v>
                </c:pt>
                <c:pt idx="44">
                  <c:v>0.1258670226690102</c:v>
                </c:pt>
                <c:pt idx="45">
                  <c:v>0.1272339848348821</c:v>
                </c:pt>
                <c:pt idx="46">
                  <c:v>0.13490346412193621</c:v>
                </c:pt>
                <c:pt idx="47">
                  <c:v>0.1232399985423943</c:v>
                </c:pt>
                <c:pt idx="48">
                  <c:v>0.12311641114157899</c:v>
                </c:pt>
                <c:pt idx="49">
                  <c:v>0.1234350759255986</c:v>
                </c:pt>
                <c:pt idx="50">
                  <c:v>0.12419744604278141</c:v>
                </c:pt>
                <c:pt idx="51">
                  <c:v>0.13145508336915421</c:v>
                </c:pt>
                <c:pt idx="52">
                  <c:v>0.13109930113357529</c:v>
                </c:pt>
                <c:pt idx="53">
                  <c:v>0.13568928560863899</c:v>
                </c:pt>
                <c:pt idx="54">
                  <c:v>0.1285210371531505</c:v>
                </c:pt>
                <c:pt idx="55">
                  <c:v>0.1300753516373136</c:v>
                </c:pt>
                <c:pt idx="56">
                  <c:v>0.12489749950473671</c:v>
                </c:pt>
                <c:pt idx="57">
                  <c:v>0.10266521645136149</c:v>
                </c:pt>
                <c:pt idx="58">
                  <c:v>9.4621929093130358E-2</c:v>
                </c:pt>
                <c:pt idx="59">
                  <c:v>9.8212612965823731E-2</c:v>
                </c:pt>
                <c:pt idx="60">
                  <c:v>0.1102654339127445</c:v>
                </c:pt>
                <c:pt idx="61">
                  <c:v>0.1086326326560431</c:v>
                </c:pt>
                <c:pt idx="62">
                  <c:v>0.10273100071317991</c:v>
                </c:pt>
                <c:pt idx="63">
                  <c:v>0.1056131313298932</c:v>
                </c:pt>
                <c:pt idx="64">
                  <c:v>0.116037952360732</c:v>
                </c:pt>
                <c:pt idx="65">
                  <c:v>0.13065683342069531</c:v>
                </c:pt>
                <c:pt idx="66">
                  <c:v>0.132712182958446</c:v>
                </c:pt>
                <c:pt idx="67">
                  <c:v>0.12498087731066</c:v>
                </c:pt>
                <c:pt idx="68">
                  <c:v>0.1318623648264734</c:v>
                </c:pt>
                <c:pt idx="69">
                  <c:v>0.13405085209231629</c:v>
                </c:pt>
                <c:pt idx="70">
                  <c:v>0.12663942767242409</c:v>
                </c:pt>
                <c:pt idx="71">
                  <c:v>0.13715997078444109</c:v>
                </c:pt>
                <c:pt idx="72">
                  <c:v>0.1312699287114284</c:v>
                </c:pt>
                <c:pt idx="73">
                  <c:v>0.1290474255800157</c:v>
                </c:pt>
                <c:pt idx="74">
                  <c:v>0.12976627424972709</c:v>
                </c:pt>
                <c:pt idx="75">
                  <c:v>0.12686829869724861</c:v>
                </c:pt>
                <c:pt idx="76">
                  <c:v>0.1253623579280761</c:v>
                </c:pt>
                <c:pt idx="77">
                  <c:v>0.12968156222074531</c:v>
                </c:pt>
                <c:pt idx="78">
                  <c:v>0.12750329032649099</c:v>
                </c:pt>
                <c:pt idx="79">
                  <c:v>0.12461050546445129</c:v>
                </c:pt>
                <c:pt idx="80">
                  <c:v>0.12900335189603049</c:v>
                </c:pt>
                <c:pt idx="81">
                  <c:v>0.12741746962889991</c:v>
                </c:pt>
                <c:pt idx="82">
                  <c:v>0.1227246355993528</c:v>
                </c:pt>
                <c:pt idx="83">
                  <c:v>0.12325497363003669</c:v>
                </c:pt>
                <c:pt idx="84">
                  <c:v>0.1237777050026681</c:v>
                </c:pt>
                <c:pt idx="85">
                  <c:v>0.1227618684932686</c:v>
                </c:pt>
                <c:pt idx="86">
                  <c:v>0.12625273778634091</c:v>
                </c:pt>
                <c:pt idx="87">
                  <c:v>0.12848401925218161</c:v>
                </c:pt>
                <c:pt idx="88">
                  <c:v>0.12808991008793849</c:v>
                </c:pt>
                <c:pt idx="89">
                  <c:v>0.12669599383578639</c:v>
                </c:pt>
                <c:pt idx="90">
                  <c:v>0.128457244567205</c:v>
                </c:pt>
                <c:pt idx="91">
                  <c:v>0.1287495738807907</c:v>
                </c:pt>
                <c:pt idx="92">
                  <c:v>0.12753778198649329</c:v>
                </c:pt>
                <c:pt idx="93">
                  <c:v>0.12858384689357691</c:v>
                </c:pt>
                <c:pt idx="94">
                  <c:v>0.13053873342212541</c:v>
                </c:pt>
                <c:pt idx="95">
                  <c:v>0.1283681251237693</c:v>
                </c:pt>
                <c:pt idx="96">
                  <c:v>0.12712219330013799</c:v>
                </c:pt>
                <c:pt idx="97">
                  <c:v>0.12537888942730019</c:v>
                </c:pt>
                <c:pt idx="98">
                  <c:v>0.12745921704595151</c:v>
                </c:pt>
                <c:pt idx="99">
                  <c:v>0.1212266665697815</c:v>
                </c:pt>
                <c:pt idx="100">
                  <c:v>0.1141728668578047</c:v>
                </c:pt>
                <c:pt idx="101">
                  <c:v>0.115957494325048</c:v>
                </c:pt>
              </c:numCache>
            </c:numRef>
          </c:xVal>
          <c:yVal>
            <c:numRef>
              <c:f>Sheet1!$B$2:$B$103</c:f>
              <c:numCache>
                <c:formatCode>General</c:formatCode>
                <c:ptCount val="102"/>
                <c:pt idx="0">
                  <c:v>3.1549194168607013E-2</c:v>
                </c:pt>
                <c:pt idx="1">
                  <c:v>2.5925076493376501E-2</c:v>
                </c:pt>
                <c:pt idx="2">
                  <c:v>1.9457371147598559E-2</c:v>
                </c:pt>
                <c:pt idx="3">
                  <c:v>2.1005226955186751E-2</c:v>
                </c:pt>
                <c:pt idx="4">
                  <c:v>2.3683174888924512E-2</c:v>
                </c:pt>
                <c:pt idx="5">
                  <c:v>2.481491169212223E-2</c:v>
                </c:pt>
                <c:pt idx="6">
                  <c:v>2.2966901329024649E-2</c:v>
                </c:pt>
                <c:pt idx="7">
                  <c:v>2.1693356757167159E-2</c:v>
                </c:pt>
                <c:pt idx="8">
                  <c:v>2.508474647577718E-2</c:v>
                </c:pt>
                <c:pt idx="9">
                  <c:v>3.2219360006132687E-2</c:v>
                </c:pt>
                <c:pt idx="10">
                  <c:v>3.3455366889535383E-2</c:v>
                </c:pt>
                <c:pt idx="11">
                  <c:v>3.077420503855852E-2</c:v>
                </c:pt>
                <c:pt idx="12">
                  <c:v>3.166311843777065E-2</c:v>
                </c:pt>
                <c:pt idx="13">
                  <c:v>2.9573633835338661E-2</c:v>
                </c:pt>
                <c:pt idx="14">
                  <c:v>2.943829474961886E-2</c:v>
                </c:pt>
                <c:pt idx="15">
                  <c:v>3.2326555355538883E-2</c:v>
                </c:pt>
                <c:pt idx="16">
                  <c:v>3.045418321235838E-2</c:v>
                </c:pt>
                <c:pt idx="17">
                  <c:v>3.0177244147381321E-2</c:v>
                </c:pt>
                <c:pt idx="18">
                  <c:v>3.0949579617420529E-2</c:v>
                </c:pt>
                <c:pt idx="19">
                  <c:v>3.3044676701229417E-2</c:v>
                </c:pt>
                <c:pt idx="20">
                  <c:v>3.4502368865567047E-2</c:v>
                </c:pt>
                <c:pt idx="21">
                  <c:v>3.8171203781773647E-2</c:v>
                </c:pt>
                <c:pt idx="22">
                  <c:v>3.2633840746857157E-2</c:v>
                </c:pt>
                <c:pt idx="23">
                  <c:v>3.22851825867847E-2</c:v>
                </c:pt>
                <c:pt idx="24">
                  <c:v>3.4293774474369272E-2</c:v>
                </c:pt>
                <c:pt idx="25">
                  <c:v>3.3493331489235549E-2</c:v>
                </c:pt>
                <c:pt idx="26">
                  <c:v>3.2256296982208908E-2</c:v>
                </c:pt>
                <c:pt idx="27">
                  <c:v>3.256327154323236E-2</c:v>
                </c:pt>
                <c:pt idx="28">
                  <c:v>3.0215972855570969E-2</c:v>
                </c:pt>
                <c:pt idx="29">
                  <c:v>2.971323515475446E-2</c:v>
                </c:pt>
                <c:pt idx="30">
                  <c:v>2.9886044202056931E-2</c:v>
                </c:pt>
                <c:pt idx="31">
                  <c:v>3.0113049153545669E-2</c:v>
                </c:pt>
                <c:pt idx="32">
                  <c:v>3.0121682992946059E-2</c:v>
                </c:pt>
                <c:pt idx="33">
                  <c:v>2.8704102443482309E-2</c:v>
                </c:pt>
                <c:pt idx="34">
                  <c:v>3.0602403901330309E-2</c:v>
                </c:pt>
                <c:pt idx="35">
                  <c:v>3.1456536502498793E-2</c:v>
                </c:pt>
                <c:pt idx="36">
                  <c:v>3.1516667937295108E-2</c:v>
                </c:pt>
                <c:pt idx="37">
                  <c:v>3.3226585884057157E-2</c:v>
                </c:pt>
                <c:pt idx="38">
                  <c:v>3.3016326225624587E-2</c:v>
                </c:pt>
                <c:pt idx="39">
                  <c:v>3.0075909553288729E-2</c:v>
                </c:pt>
                <c:pt idx="40">
                  <c:v>3.030822714314705E-2</c:v>
                </c:pt>
                <c:pt idx="41">
                  <c:v>3.1273537834975489E-2</c:v>
                </c:pt>
                <c:pt idx="42">
                  <c:v>3.005901690014778E-2</c:v>
                </c:pt>
                <c:pt idx="43">
                  <c:v>3.0573863083611631E-2</c:v>
                </c:pt>
                <c:pt idx="44">
                  <c:v>3.254448153409624E-2</c:v>
                </c:pt>
                <c:pt idx="45">
                  <c:v>3.2420025270644671E-2</c:v>
                </c:pt>
                <c:pt idx="46">
                  <c:v>3.0841270586476861E-2</c:v>
                </c:pt>
                <c:pt idx="47">
                  <c:v>3.4545476528939613E-2</c:v>
                </c:pt>
                <c:pt idx="48">
                  <c:v>3.9378011399146942E-2</c:v>
                </c:pt>
                <c:pt idx="49">
                  <c:v>3.4585845792310457E-2</c:v>
                </c:pt>
                <c:pt idx="50">
                  <c:v>3.6889295123608737E-2</c:v>
                </c:pt>
                <c:pt idx="51">
                  <c:v>3.516974061970235E-2</c:v>
                </c:pt>
                <c:pt idx="52">
                  <c:v>3.3440411726256947E-2</c:v>
                </c:pt>
                <c:pt idx="53">
                  <c:v>3.0775515895011849E-2</c:v>
                </c:pt>
                <c:pt idx="54">
                  <c:v>2.856172806220978E-2</c:v>
                </c:pt>
                <c:pt idx="55">
                  <c:v>2.9260191711765832E-2</c:v>
                </c:pt>
                <c:pt idx="56">
                  <c:v>3.1178692703543051E-2</c:v>
                </c:pt>
                <c:pt idx="57">
                  <c:v>3.7031471681131703E-2</c:v>
                </c:pt>
                <c:pt idx="58">
                  <c:v>3.9909501581123753E-2</c:v>
                </c:pt>
                <c:pt idx="59">
                  <c:v>3.3090443177845791E-2</c:v>
                </c:pt>
                <c:pt idx="60">
                  <c:v>2.0429936026239701E-2</c:v>
                </c:pt>
                <c:pt idx="61">
                  <c:v>1.594233918003489E-2</c:v>
                </c:pt>
                <c:pt idx="62">
                  <c:v>2.6561543645322629E-2</c:v>
                </c:pt>
                <c:pt idx="63">
                  <c:v>3.5068893654044378E-2</c:v>
                </c:pt>
                <c:pt idx="64">
                  <c:v>3.0967228847484721E-2</c:v>
                </c:pt>
                <c:pt idx="65">
                  <c:v>2.602705616299417E-2</c:v>
                </c:pt>
                <c:pt idx="66">
                  <c:v>2.587150374122359E-2</c:v>
                </c:pt>
                <c:pt idx="67">
                  <c:v>2.691260699372984E-2</c:v>
                </c:pt>
                <c:pt idx="68">
                  <c:v>2.5874418970458959E-2</c:v>
                </c:pt>
                <c:pt idx="69">
                  <c:v>2.3193315376484971E-2</c:v>
                </c:pt>
                <c:pt idx="70">
                  <c:v>2.2686657383630061E-2</c:v>
                </c:pt>
                <c:pt idx="71">
                  <c:v>2.6189284143623481E-2</c:v>
                </c:pt>
                <c:pt idx="72">
                  <c:v>2.7336338114147821E-2</c:v>
                </c:pt>
                <c:pt idx="73">
                  <c:v>2.7740990571672709E-2</c:v>
                </c:pt>
                <c:pt idx="74">
                  <c:v>2.877527311984417E-2</c:v>
                </c:pt>
                <c:pt idx="75">
                  <c:v>2.8510329318482429E-2</c:v>
                </c:pt>
                <c:pt idx="76">
                  <c:v>2.7909474603405621E-2</c:v>
                </c:pt>
                <c:pt idx="77">
                  <c:v>2.354699792786898E-2</c:v>
                </c:pt>
                <c:pt idx="78">
                  <c:v>2.3516397046911521E-2</c:v>
                </c:pt>
                <c:pt idx="79">
                  <c:v>2.2115174941799771E-2</c:v>
                </c:pt>
                <c:pt idx="80">
                  <c:v>2.2268202762568419E-2</c:v>
                </c:pt>
                <c:pt idx="81">
                  <c:v>2.1244426266941788E-2</c:v>
                </c:pt>
                <c:pt idx="82">
                  <c:v>3.1177386289303839E-2</c:v>
                </c:pt>
                <c:pt idx="83">
                  <c:v>2.630647686699077E-2</c:v>
                </c:pt>
                <c:pt idx="84">
                  <c:v>2.5524833007679371E-2</c:v>
                </c:pt>
                <c:pt idx="85">
                  <c:v>2.6871534411513371E-2</c:v>
                </c:pt>
                <c:pt idx="86">
                  <c:v>2.6338851413823881E-2</c:v>
                </c:pt>
                <c:pt idx="87">
                  <c:v>2.464870108961555E-2</c:v>
                </c:pt>
                <c:pt idx="88">
                  <c:v>2.6238033764437702E-2</c:v>
                </c:pt>
                <c:pt idx="89">
                  <c:v>3.0191859532939729E-2</c:v>
                </c:pt>
                <c:pt idx="90">
                  <c:v>3.071685169632082E-2</c:v>
                </c:pt>
                <c:pt idx="91">
                  <c:v>3.1790352756617277E-2</c:v>
                </c:pt>
                <c:pt idx="92">
                  <c:v>2.9789485452214989E-2</c:v>
                </c:pt>
                <c:pt idx="93">
                  <c:v>2.7419432969366012E-2</c:v>
                </c:pt>
                <c:pt idx="94">
                  <c:v>2.5375304588112151E-2</c:v>
                </c:pt>
                <c:pt idx="95">
                  <c:v>2.727143524464504E-2</c:v>
                </c:pt>
                <c:pt idx="96">
                  <c:v>2.430072520573312E-2</c:v>
                </c:pt>
                <c:pt idx="97">
                  <c:v>2.5953063658202231E-2</c:v>
                </c:pt>
                <c:pt idx="98">
                  <c:v>2.870484051773789E-2</c:v>
                </c:pt>
                <c:pt idx="99">
                  <c:v>3.0161179689259059E-2</c:v>
                </c:pt>
                <c:pt idx="100">
                  <c:v>3.7558407981539428E-2</c:v>
                </c:pt>
                <c:pt idx="101">
                  <c:v>3.5796970668813113E-2</c:v>
                </c:pt>
              </c:numCache>
            </c:numRef>
          </c:yVal>
          <c:smooth val="0"/>
          <c:extLst>
            <c:ext xmlns:c16="http://schemas.microsoft.com/office/drawing/2014/chart" uri="{C3380CC4-5D6E-409C-BE32-E72D297353CC}">
              <c16:uniqueId val="{00000000-096C-4121-9522-6AB7243CCAAE}"/>
            </c:ext>
          </c:extLst>
        </c:ser>
        <c:ser>
          <c:idx val="1"/>
          <c:order val="1"/>
          <c:tx>
            <c:strRef>
              <c:f>Sheet1!$B$10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6:$A$157</c:f>
              <c:numCache>
                <c:formatCode>General</c:formatCode>
                <c:ptCount val="52"/>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numCache>
            </c:numRef>
          </c:xVal>
          <c:yVal>
            <c:numRef>
              <c:f>Sheet1!$B$106:$B$157</c:f>
              <c:numCache>
                <c:formatCode>General</c:formatCode>
                <c:ptCount val="52"/>
                <c:pt idx="0">
                  <c:v>3.3379430772150658E-2</c:v>
                </c:pt>
                <c:pt idx="1">
                  <c:v>3.5297770608354727E-2</c:v>
                </c:pt>
                <c:pt idx="2">
                  <c:v>3.603152077608085E-2</c:v>
                </c:pt>
                <c:pt idx="3">
                  <c:v>3.0978674639028671E-2</c:v>
                </c:pt>
                <c:pt idx="4">
                  <c:v>2.8133515753956471E-2</c:v>
                </c:pt>
                <c:pt idx="5">
                  <c:v>2.7512069607189622E-2</c:v>
                </c:pt>
                <c:pt idx="6">
                  <c:v>2.753590860107619E-2</c:v>
                </c:pt>
                <c:pt idx="7">
                  <c:v>2.7306049137985969E-2</c:v>
                </c:pt>
                <c:pt idx="8">
                  <c:v>2.683860754587173E-2</c:v>
                </c:pt>
                <c:pt idx="9">
                  <c:v>2.8577136215520639E-2</c:v>
                </c:pt>
                <c:pt idx="10">
                  <c:v>2.9045708307140341E-2</c:v>
                </c:pt>
                <c:pt idx="11">
                  <c:v>3.0151694267354031E-2</c:v>
                </c:pt>
                <c:pt idx="12">
                  <c:v>3.1278274774940933E-2</c:v>
                </c:pt>
                <c:pt idx="13">
                  <c:v>3.2623144271831599E-2</c:v>
                </c:pt>
                <c:pt idx="14">
                  <c:v>3.2081452766552027E-2</c:v>
                </c:pt>
                <c:pt idx="15">
                  <c:v>2.8476513020004542E-2</c:v>
                </c:pt>
                <c:pt idx="16">
                  <c:v>2.889792926206242E-2</c:v>
                </c:pt>
                <c:pt idx="17">
                  <c:v>2.8572345272906731E-2</c:v>
                </c:pt>
                <c:pt idx="18">
                  <c:v>2.758215728763419E-2</c:v>
                </c:pt>
                <c:pt idx="19">
                  <c:v>2.6684207925807661E-2</c:v>
                </c:pt>
                <c:pt idx="20">
                  <c:v>2.507409816863837E-2</c:v>
                </c:pt>
                <c:pt idx="21">
                  <c:v>3.7053775555914388E-2</c:v>
                </c:pt>
                <c:pt idx="22">
                  <c:v>4.1201839145334811E-2</c:v>
                </c:pt>
                <c:pt idx="23">
                  <c:v>3.952108516249337E-2</c:v>
                </c:pt>
                <c:pt idx="24">
                  <c:v>3.301132678213544E-2</c:v>
                </c:pt>
                <c:pt idx="25">
                  <c:v>3.4672282379825628E-2</c:v>
                </c:pt>
                <c:pt idx="26">
                  <c:v>3.6478521099227869E-2</c:v>
                </c:pt>
                <c:pt idx="27">
                  <c:v>3.1719960612283417E-2</c:v>
                </c:pt>
                <c:pt idx="28">
                  <c:v>2.9844699099281859E-2</c:v>
                </c:pt>
                <c:pt idx="29">
                  <c:v>2.824703792935155E-2</c:v>
                </c:pt>
                <c:pt idx="30">
                  <c:v>2.3926861689124789E-2</c:v>
                </c:pt>
                <c:pt idx="31">
                  <c:v>2.077067140814904E-2</c:v>
                </c:pt>
                <c:pt idx="32">
                  <c:v>2.3460558709885782E-2</c:v>
                </c:pt>
                <c:pt idx="33">
                  <c:v>3.042796286207031E-2</c:v>
                </c:pt>
                <c:pt idx="34">
                  <c:v>3.1037706913624011E-2</c:v>
                </c:pt>
                <c:pt idx="35">
                  <c:v>2.928997264422914E-2</c:v>
                </c:pt>
                <c:pt idx="36">
                  <c:v>2.9697936908540851E-2</c:v>
                </c:pt>
                <c:pt idx="37">
                  <c:v>3.0248130900335801E-2</c:v>
                </c:pt>
                <c:pt idx="38">
                  <c:v>3.5070387750061743E-2</c:v>
                </c:pt>
                <c:pt idx="39">
                  <c:v>3.120833777020552E-2</c:v>
                </c:pt>
                <c:pt idx="40">
                  <c:v>2.682679016675503E-2</c:v>
                </c:pt>
                <c:pt idx="41">
                  <c:v>2.4203784771293649E-2</c:v>
                </c:pt>
                <c:pt idx="42">
                  <c:v>2.4098053977022381E-2</c:v>
                </c:pt>
                <c:pt idx="43">
                  <c:v>2.4523754132153151E-2</c:v>
                </c:pt>
                <c:pt idx="44">
                  <c:v>2.2379504666963371E-2</c:v>
                </c:pt>
                <c:pt idx="45">
                  <c:v>2.104065524243157E-2</c:v>
                </c:pt>
                <c:pt idx="46">
                  <c:v>2.202824012890214E-2</c:v>
                </c:pt>
                <c:pt idx="47">
                  <c:v>2.3321641522021069E-2</c:v>
                </c:pt>
                <c:pt idx="48">
                  <c:v>2.5721900660138009E-2</c:v>
                </c:pt>
                <c:pt idx="49">
                  <c:v>2.4967370312040962E-2</c:v>
                </c:pt>
                <c:pt idx="50">
                  <c:v>2.603335979145837E-2</c:v>
                </c:pt>
                <c:pt idx="51">
                  <c:v>2.5702227757022279E-2</c:v>
                </c:pt>
              </c:numCache>
            </c:numRef>
          </c:yVal>
          <c:smooth val="0"/>
          <c:extLst>
            <c:ext xmlns:c16="http://schemas.microsoft.com/office/drawing/2014/chart" uri="{C3380CC4-5D6E-409C-BE32-E72D297353CC}">
              <c16:uniqueId val="{00000002-096C-4121-9522-6AB7243CCAAE}"/>
            </c:ext>
          </c:extLst>
        </c:ser>
        <c:ser>
          <c:idx val="2"/>
          <c:order val="2"/>
          <c:tx>
            <c:strRef>
              <c:f>Sheet1!$B$15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0:$A$161</c:f>
              <c:numCache>
                <c:formatCode>General</c:formatCode>
                <c:ptCount val="2"/>
                <c:pt idx="0">
                  <c:v>0</c:v>
                </c:pt>
                <c:pt idx="1">
                  <c:v>0.1108820277239114</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5-096C-4121-9522-6AB7243CCAAE}"/>
            </c:ext>
          </c:extLst>
        </c:ser>
        <c:ser>
          <c:idx val="3"/>
          <c:order val="3"/>
          <c:tx>
            <c:strRef>
              <c:f>Sheet1!$B$16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0.1108820277239114</c:v>
                </c:pt>
                <c:pt idx="1">
                  <c:v>0.1108820277239114</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8:$A$169</c:f>
              <c:numCache>
                <c:formatCode>General</c:formatCode>
                <c:ptCount val="2"/>
                <c:pt idx="0">
                  <c:v>0</c:v>
                </c:pt>
                <c:pt idx="1">
                  <c:v>0.11732114474802791</c:v>
                </c:pt>
              </c:numCache>
            </c:numRef>
          </c:xVal>
          <c:yVal>
            <c:numRef>
              <c:f>Sheet1!$B$168:$B$169</c:f>
              <c:numCache>
                <c:formatCode>General</c:formatCode>
                <c:ptCount val="2"/>
                <c:pt idx="0">
                  <c:v>3.1101577984060609E-2</c:v>
                </c:pt>
                <c:pt idx="1">
                  <c:v>3.1101577984060609E-2</c:v>
                </c:pt>
              </c:numCache>
            </c:numRef>
          </c:yVal>
          <c:smooth val="0"/>
          <c:extLst>
            <c:ext xmlns:c16="http://schemas.microsoft.com/office/drawing/2014/chart" uri="{C3380CC4-5D6E-409C-BE32-E72D297353CC}">
              <c16:uniqueId val="{0000000D-096C-4121-9522-6AB7243CCAAE}"/>
            </c:ext>
          </c:extLst>
        </c:ser>
        <c:ser>
          <c:idx val="5"/>
          <c:order val="5"/>
          <c:tx>
            <c:strRef>
              <c:f>Sheet1!$B$17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0.11732114474802791</c:v>
                </c:pt>
                <c:pt idx="1">
                  <c:v>0.11732114474802791</c:v>
                </c:pt>
              </c:numCache>
            </c:numRef>
          </c:xVal>
          <c:yVal>
            <c:numRef>
              <c:f>Sheet1!$B$172:$B$173</c:f>
              <c:numCache>
                <c:formatCode>General</c:formatCode>
                <c:ptCount val="2"/>
                <c:pt idx="0">
                  <c:v>3.1101577984060609E-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6:$A$177</c:f>
              <c:numCache>
                <c:formatCode>General</c:formatCode>
                <c:ptCount val="2"/>
                <c:pt idx="0">
                  <c:v>0</c:v>
                </c:pt>
                <c:pt idx="1">
                  <c:v>0.13512234665834599</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5-096C-4121-9522-6AB7243CCAAE}"/>
            </c:ext>
          </c:extLst>
        </c:ser>
        <c:ser>
          <c:idx val="7"/>
          <c:order val="7"/>
          <c:tx>
            <c:strRef>
              <c:f>Sheet1!$B$17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0:$A$181</c:f>
              <c:numCache>
                <c:formatCode>General</c:formatCode>
                <c:ptCount val="2"/>
                <c:pt idx="0">
                  <c:v>0.13512234665834599</c:v>
                </c:pt>
                <c:pt idx="1">
                  <c:v>0.13512234665834599</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4:$A$238</c:f>
              <c:numCache>
                <c:formatCode>General</c:formatCode>
                <c:ptCount val="55"/>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pt idx="52">
                  <c:v>0.11732114474802791</c:v>
                </c:pt>
                <c:pt idx="53">
                  <c:v>0.1108820277239114</c:v>
                </c:pt>
                <c:pt idx="54">
                  <c:v>0.13512234665834599</c:v>
                </c:pt>
              </c:numCache>
            </c:numRef>
          </c:xVal>
          <c:yVal>
            <c:numRef>
              <c:f>Sheet1!$B$184:$B$238</c:f>
              <c:numCache>
                <c:formatCode>General</c:formatCode>
                <c:ptCount val="55"/>
                <c:pt idx="0">
                  <c:v>3.1620668745252142E-2</c:v>
                </c:pt>
                <c:pt idx="1">
                  <c:v>3.1654790245678951E-2</c:v>
                </c:pt>
                <c:pt idx="2">
                  <c:v>3.2783325344754151E-2</c:v>
                </c:pt>
                <c:pt idx="3">
                  <c:v>3.022688607526958E-2</c:v>
                </c:pt>
                <c:pt idx="4">
                  <c:v>2.8540776744242852E-2</c:v>
                </c:pt>
                <c:pt idx="5">
                  <c:v>2.8198639317480349E-2</c:v>
                </c:pt>
                <c:pt idx="6">
                  <c:v>2.8149354774764782E-2</c:v>
                </c:pt>
                <c:pt idx="7">
                  <c:v>2.8199004366077019E-2</c:v>
                </c:pt>
                <c:pt idx="8">
                  <c:v>3.0157282303857849E-2</c:v>
                </c:pt>
                <c:pt idx="9">
                  <c:v>2.9717490317624731E-2</c:v>
                </c:pt>
                <c:pt idx="10">
                  <c:v>2.880162617160174E-2</c:v>
                </c:pt>
                <c:pt idx="11">
                  <c:v>3.0799476543192809E-2</c:v>
                </c:pt>
                <c:pt idx="12">
                  <c:v>2.8080121278043681E-2</c:v>
                </c:pt>
                <c:pt idx="13">
                  <c:v>2.8247092051713919E-2</c:v>
                </c:pt>
                <c:pt idx="14">
                  <c:v>2.639540124703324E-2</c:v>
                </c:pt>
                <c:pt idx="15">
                  <c:v>1.9220157910636009E-2</c:v>
                </c:pt>
                <c:pt idx="16">
                  <c:v>2.9292926757015069E-2</c:v>
                </c:pt>
                <c:pt idx="17">
                  <c:v>2.9541107656935999E-2</c:v>
                </c:pt>
                <c:pt idx="18">
                  <c:v>3.1154431279754719E-2</c:v>
                </c:pt>
                <c:pt idx="19">
                  <c:v>2.9461129531890291E-2</c:v>
                </c:pt>
                <c:pt idx="20">
                  <c:v>3.0313783713891131E-2</c:v>
                </c:pt>
                <c:pt idx="21">
                  <c:v>3.3508822667282862E-2</c:v>
                </c:pt>
                <c:pt idx="22">
                  <c:v>3.4739165058279807E-2</c:v>
                </c:pt>
                <c:pt idx="23">
                  <c:v>3.3561500120319547E-2</c:v>
                </c:pt>
                <c:pt idx="24">
                  <c:v>3.0961282548418428E-2</c:v>
                </c:pt>
                <c:pt idx="25">
                  <c:v>3.325613118609181E-2</c:v>
                </c:pt>
                <c:pt idx="26">
                  <c:v>3.230935798656305E-2</c:v>
                </c:pt>
                <c:pt idx="27">
                  <c:v>3.0186042242885399E-2</c:v>
                </c:pt>
                <c:pt idx="28">
                  <c:v>2.9826699740302571E-2</c:v>
                </c:pt>
                <c:pt idx="29">
                  <c:v>2.8461825588360749E-2</c:v>
                </c:pt>
                <c:pt idx="30">
                  <c:v>2.6667445839888119E-2</c:v>
                </c:pt>
                <c:pt idx="31">
                  <c:v>2.9333797528733729E-2</c:v>
                </c:pt>
                <c:pt idx="32">
                  <c:v>2.8469462201818171E-2</c:v>
                </c:pt>
                <c:pt idx="33">
                  <c:v>3.1278574864500211E-2</c:v>
                </c:pt>
                <c:pt idx="34">
                  <c:v>3.362517184260494E-2</c:v>
                </c:pt>
                <c:pt idx="35">
                  <c:v>3.1259339751075838E-2</c:v>
                </c:pt>
                <c:pt idx="36">
                  <c:v>3.2466678789921898E-2</c:v>
                </c:pt>
                <c:pt idx="37">
                  <c:v>3.336561461501103E-2</c:v>
                </c:pt>
                <c:pt idx="38">
                  <c:v>3.1897061212580187E-2</c:v>
                </c:pt>
                <c:pt idx="39">
                  <c:v>3.0591232179052279E-2</c:v>
                </c:pt>
                <c:pt idx="40">
                  <c:v>2.6490890509876141E-2</c:v>
                </c:pt>
                <c:pt idx="41">
                  <c:v>2.5005655171483909E-2</c:v>
                </c:pt>
                <c:pt idx="42">
                  <c:v>2.471524594195228E-2</c:v>
                </c:pt>
                <c:pt idx="43">
                  <c:v>2.5740688254943609E-2</c:v>
                </c:pt>
                <c:pt idx="44">
                  <c:v>2.534241769031121E-2</c:v>
                </c:pt>
                <c:pt idx="45">
                  <c:v>2.5785004878787769E-2</c:v>
                </c:pt>
                <c:pt idx="46">
                  <c:v>2.6712805427711591E-2</c:v>
                </c:pt>
                <c:pt idx="47">
                  <c:v>2.6016063432124481E-2</c:v>
                </c:pt>
                <c:pt idx="48">
                  <c:v>2.645901837190287E-2</c:v>
                </c:pt>
                <c:pt idx="49">
                  <c:v>2.253097533810856E-2</c:v>
                </c:pt>
                <c:pt idx="50">
                  <c:v>2.3407974477709061E-2</c:v>
                </c:pt>
                <c:pt idx="51">
                  <c:v>2.5267129597052979E-2</c:v>
                </c:pt>
                <c:pt idx="52">
                  <c:v>3.1101577984060599E-2</c:v>
                </c:pt>
                <c:pt idx="53">
                  <c:v>3.3390590546211449E-2</c:v>
                </c:pt>
                <c:pt idx="54">
                  <c:v>2.47735092998775E-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18089307194123574"/>
          <c:min val="7.5697543274504286E-2"/>
        </c:scaling>
        <c:delete val="0"/>
        <c:axPos val="b"/>
        <c:title>
          <c:tx>
            <c:rich>
              <a:bodyPr rot="0" spcFirstLastPara="1" vertOverflow="ellipsis" vert="horz" wrap="square" anchor="ctr" anchorCtr="1"/>
              <a:lstStyle/>
              <a:p>
                <a:pPr>
                  <a:defRPr sz="800" b="0">
                    <a:solidFill>
                      <a:srgbClr val="575555"/>
                    </a:solidFill>
                    <a:latin typeface="Nexa Bold"/>
                  </a:defRPr>
                </a:pPr>
                <a:r>
                  <a:rPr lang="en-US"/>
                  <a:t>Price Ix vs. Gillette Fusion5</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3084051742229012</c:v>
                </c:pt>
                <c:pt idx="1">
                  <c:v>0.31591786351078627</c:v>
                </c:pt>
                <c:pt idx="2">
                  <c:v>0.32058023334902946</c:v>
                </c:pt>
                <c:pt idx="3">
                  <c:v>0.31551466024025998</c:v>
                </c:pt>
                <c:pt idx="4">
                  <c:v>0.31248983133575575</c:v>
                </c:pt>
                <c:pt idx="5">
                  <c:v>0.31209899175068745</c:v>
                </c:pt>
                <c:pt idx="6">
                  <c:v>0.31243915630070307</c:v>
                </c:pt>
                <c:pt idx="7">
                  <c:v>0.3133619793471481</c:v>
                </c:pt>
                <c:pt idx="8">
                  <c:v>0.31671907756813417</c:v>
                </c:pt>
                <c:pt idx="9">
                  <c:v>0.31082322826247477</c:v>
                </c:pt>
                <c:pt idx="10">
                  <c:v>0.31047212859141043</c:v>
                </c:pt>
                <c:pt idx="11">
                  <c:v>0.30851195946449417</c:v>
                </c:pt>
                <c:pt idx="12">
                  <c:v>0.30743476600274672</c:v>
                </c:pt>
                <c:pt idx="13">
                  <c:v>0.30557876018361524</c:v>
                </c:pt>
                <c:pt idx="14">
                  <c:v>0.30608180521683359</c:v>
                </c:pt>
                <c:pt idx="15">
                  <c:v>0.30537959003209308</c:v>
                </c:pt>
                <c:pt idx="16">
                  <c:v>0.30479028449342177</c:v>
                </c:pt>
                <c:pt idx="17">
                  <c:v>0.30535697989231286</c:v>
                </c:pt>
                <c:pt idx="18">
                  <c:v>0.30758733419811496</c:v>
                </c:pt>
                <c:pt idx="19">
                  <c:v>0.30384356418742708</c:v>
                </c:pt>
                <c:pt idx="20">
                  <c:v>0.30255871389344829</c:v>
                </c:pt>
                <c:pt idx="21">
                  <c:v>0.30131492720175512</c:v>
                </c:pt>
                <c:pt idx="22">
                  <c:v>0.30402402402402401</c:v>
                </c:pt>
                <c:pt idx="23">
                  <c:v>0.3041818228723267</c:v>
                </c:pt>
                <c:pt idx="24">
                  <c:v>0.30380595989557657</c:v>
                </c:pt>
                <c:pt idx="25">
                  <c:v>0.30266464709715091</c:v>
                </c:pt>
                <c:pt idx="26">
                  <c:v>0.30198090992432275</c:v>
                </c:pt>
                <c:pt idx="27">
                  <c:v>0.30261018186645428</c:v>
                </c:pt>
                <c:pt idx="28">
                  <c:v>0.30379475941413642</c:v>
                </c:pt>
                <c:pt idx="29">
                  <c:v>0.30510575091808745</c:v>
                </c:pt>
                <c:pt idx="30">
                  <c:v>0.30547263681592041</c:v>
                </c:pt>
                <c:pt idx="31">
                  <c:v>0.30191808942530629</c:v>
                </c:pt>
                <c:pt idx="32">
                  <c:v>0.30004016835781272</c:v>
                </c:pt>
                <c:pt idx="33">
                  <c:v>0.30140260803244229</c:v>
                </c:pt>
                <c:pt idx="34">
                  <c:v>0.30315931183998879</c:v>
                </c:pt>
                <c:pt idx="35">
                  <c:v>0.30423707530585153</c:v>
                </c:pt>
                <c:pt idx="36">
                  <c:v>0.30339368848493503</c:v>
                </c:pt>
                <c:pt idx="37">
                  <c:v>0.30312142377964563</c:v>
                </c:pt>
                <c:pt idx="38">
                  <c:v>0.30421477922015827</c:v>
                </c:pt>
                <c:pt idx="39">
                  <c:v>0.30360700245050509</c:v>
                </c:pt>
                <c:pt idx="40">
                  <c:v>0.30482776067799466</c:v>
                </c:pt>
                <c:pt idx="41">
                  <c:v>0.30496561046396053</c:v>
                </c:pt>
                <c:pt idx="42">
                  <c:v>0.30474260101509459</c:v>
                </c:pt>
                <c:pt idx="43">
                  <c:v>0.30487658997567685</c:v>
                </c:pt>
                <c:pt idx="44">
                  <c:v>0.30417377406912238</c:v>
                </c:pt>
                <c:pt idx="45">
                  <c:v>0.30429474182711519</c:v>
                </c:pt>
                <c:pt idx="46">
                  <c:v>0.30416987037597953</c:v>
                </c:pt>
                <c:pt idx="47">
                  <c:v>0.30177142857142858</c:v>
                </c:pt>
                <c:pt idx="48">
                  <c:v>0.30034428178139644</c:v>
                </c:pt>
                <c:pt idx="49">
                  <c:v>0.30020553910468561</c:v>
                </c:pt>
                <c:pt idx="50">
                  <c:v>0.30020393921120919</c:v>
                </c:pt>
                <c:pt idx="51">
                  <c:v>0.30029572161037082</c:v>
                </c:pt>
                <c:pt idx="52">
                  <c:v>0.30085731375024921</c:v>
                </c:pt>
                <c:pt idx="53">
                  <c:v>0.30374794069192751</c:v>
                </c:pt>
                <c:pt idx="54">
                  <c:v>0.30475569923731716</c:v>
                </c:pt>
                <c:pt idx="55">
                  <c:v>0.30484411191281596</c:v>
                </c:pt>
                <c:pt idx="56">
                  <c:v>0.29666067320451317</c:v>
                </c:pt>
                <c:pt idx="57">
                  <c:v>0.25400835544515327</c:v>
                </c:pt>
                <c:pt idx="58">
                  <c:v>0.23382400369980466</c:v>
                </c:pt>
                <c:pt idx="59">
                  <c:v>0.23943026116791946</c:v>
                </c:pt>
                <c:pt idx="60">
                  <c:v>0.25369491863085675</c:v>
                </c:pt>
                <c:pt idx="61">
                  <c:v>0.26335839430757868</c:v>
                </c:pt>
                <c:pt idx="62">
                  <c:v>0.24811366501794199</c:v>
                </c:pt>
                <c:pt idx="63">
                  <c:v>0.25331883600138116</c:v>
                </c:pt>
                <c:pt idx="64">
                  <c:v>0.27606841827999473</c:v>
                </c:pt>
                <c:pt idx="65">
                  <c:v>0.28160478817918266</c:v>
                </c:pt>
                <c:pt idx="66">
                  <c:v>0.29229782021117312</c:v>
                </c:pt>
                <c:pt idx="67">
                  <c:v>0.30127414335954045</c:v>
                </c:pt>
                <c:pt idx="68">
                  <c:v>0.30305886879569066</c:v>
                </c:pt>
                <c:pt idx="69">
                  <c:v>0.30492991022208221</c:v>
                </c:pt>
                <c:pt idx="70">
                  <c:v>0.30628978911194849</c:v>
                </c:pt>
                <c:pt idx="71">
                  <c:v>0.30507690665654685</c:v>
                </c:pt>
                <c:pt idx="72">
                  <c:v>0.30607670596048481</c:v>
                </c:pt>
                <c:pt idx="73">
                  <c:v>0.3116373241246056</c:v>
                </c:pt>
                <c:pt idx="74">
                  <c:v>0.31424842998124136</c:v>
                </c:pt>
                <c:pt idx="75">
                  <c:v>0.31320176754871626</c:v>
                </c:pt>
                <c:pt idx="76">
                  <c:v>0.31380953870863448</c:v>
                </c:pt>
                <c:pt idx="77">
                  <c:v>0.32590348409435188</c:v>
                </c:pt>
                <c:pt idx="78">
                  <c:v>0.33061711871301291</c:v>
                </c:pt>
                <c:pt idx="79">
                  <c:v>0.33376024237416513</c:v>
                </c:pt>
                <c:pt idx="80">
                  <c:v>0.334863282523373</c:v>
                </c:pt>
                <c:pt idx="81">
                  <c:v>0.33732775797715603</c:v>
                </c:pt>
                <c:pt idx="82">
                  <c:v>0.3340239432262419</c:v>
                </c:pt>
                <c:pt idx="83">
                  <c:v>0.32813911724353323</c:v>
                </c:pt>
                <c:pt idx="84">
                  <c:v>0.32451377453380215</c:v>
                </c:pt>
                <c:pt idx="85">
                  <c:v>0.3242920313313794</c:v>
                </c:pt>
                <c:pt idx="86">
                  <c:v>0.32834757834757833</c:v>
                </c:pt>
                <c:pt idx="87">
                  <c:v>0.33024565689467972</c:v>
                </c:pt>
                <c:pt idx="88">
                  <c:v>0.33047076978575868</c:v>
                </c:pt>
                <c:pt idx="89">
                  <c:v>0.32960364974033468</c:v>
                </c:pt>
                <c:pt idx="90">
                  <c:v>0.32877782475231143</c:v>
                </c:pt>
                <c:pt idx="91">
                  <c:v>0.33265505668454848</c:v>
                </c:pt>
                <c:pt idx="92">
                  <c:v>0.33383080669232584</c:v>
                </c:pt>
                <c:pt idx="93">
                  <c:v>0.33445095599479496</c:v>
                </c:pt>
                <c:pt idx="94">
                  <c:v>0.33425385899470356</c:v>
                </c:pt>
                <c:pt idx="95">
                  <c:v>0.33302358553829059</c:v>
                </c:pt>
                <c:pt idx="96">
                  <c:v>0.3331230702831911</c:v>
                </c:pt>
                <c:pt idx="97">
                  <c:v>0.33248279672509923</c:v>
                </c:pt>
                <c:pt idx="98">
                  <c:v>0.33184443040565192</c:v>
                </c:pt>
                <c:pt idx="99">
                  <c:v>0.31234357273380736</c:v>
                </c:pt>
                <c:pt idx="100">
                  <c:v>0.30123106937136429</c:v>
                </c:pt>
                <c:pt idx="101">
                  <c:v>0.30056872662328632</c:v>
                </c:pt>
              </c:numCache>
            </c:numRef>
          </c:xVal>
          <c:yVal>
            <c:numRef>
              <c:f>Sheet1!$B$2:$B$103</c:f>
              <c:numCache>
                <c:formatCode>General</c:formatCode>
                <c:ptCount val="102"/>
                <c:pt idx="0">
                  <c:v>3.1549194168607006E-2</c:v>
                </c:pt>
                <c:pt idx="1">
                  <c:v>2.5925076493376501E-2</c:v>
                </c:pt>
                <c:pt idx="2">
                  <c:v>1.9457371147598559E-2</c:v>
                </c:pt>
                <c:pt idx="3">
                  <c:v>2.1005226955186754E-2</c:v>
                </c:pt>
                <c:pt idx="4">
                  <c:v>2.3683174888924508E-2</c:v>
                </c:pt>
                <c:pt idx="5">
                  <c:v>2.4814911692122233E-2</c:v>
                </c:pt>
                <c:pt idx="6">
                  <c:v>2.2966901329024649E-2</c:v>
                </c:pt>
                <c:pt idx="7">
                  <c:v>2.1693356757167159E-2</c:v>
                </c:pt>
                <c:pt idx="8">
                  <c:v>2.508474647577718E-2</c:v>
                </c:pt>
                <c:pt idx="9">
                  <c:v>3.2219360006132694E-2</c:v>
                </c:pt>
                <c:pt idx="10">
                  <c:v>3.3455366889535383E-2</c:v>
                </c:pt>
                <c:pt idx="11">
                  <c:v>3.0774205038558523E-2</c:v>
                </c:pt>
                <c:pt idx="12">
                  <c:v>3.166311843777065E-2</c:v>
                </c:pt>
                <c:pt idx="13">
                  <c:v>2.9573633835338665E-2</c:v>
                </c:pt>
                <c:pt idx="14">
                  <c:v>2.9438294749618857E-2</c:v>
                </c:pt>
                <c:pt idx="15">
                  <c:v>3.2326555355538883E-2</c:v>
                </c:pt>
                <c:pt idx="16">
                  <c:v>3.0454183212358377E-2</c:v>
                </c:pt>
                <c:pt idx="17">
                  <c:v>3.0177244147381318E-2</c:v>
                </c:pt>
                <c:pt idx="18">
                  <c:v>3.0949579617420526E-2</c:v>
                </c:pt>
                <c:pt idx="19">
                  <c:v>3.3044676701229417E-2</c:v>
                </c:pt>
                <c:pt idx="20">
                  <c:v>3.4502368865567047E-2</c:v>
                </c:pt>
                <c:pt idx="21">
                  <c:v>3.8171203781773647E-2</c:v>
                </c:pt>
                <c:pt idx="22">
                  <c:v>3.2633840746857157E-2</c:v>
                </c:pt>
                <c:pt idx="23">
                  <c:v>3.22851825867847E-2</c:v>
                </c:pt>
                <c:pt idx="24">
                  <c:v>3.4293774474369265E-2</c:v>
                </c:pt>
                <c:pt idx="25">
                  <c:v>3.3493331489235549E-2</c:v>
                </c:pt>
                <c:pt idx="26">
                  <c:v>3.2256296982208908E-2</c:v>
                </c:pt>
                <c:pt idx="27">
                  <c:v>3.256327154323236E-2</c:v>
                </c:pt>
                <c:pt idx="28">
                  <c:v>3.0215972855570965E-2</c:v>
                </c:pt>
                <c:pt idx="29">
                  <c:v>2.971323515475446E-2</c:v>
                </c:pt>
                <c:pt idx="30">
                  <c:v>2.9886044202056927E-2</c:v>
                </c:pt>
                <c:pt idx="31">
                  <c:v>3.0113049153545669E-2</c:v>
                </c:pt>
                <c:pt idx="32">
                  <c:v>3.0121682992946059E-2</c:v>
                </c:pt>
                <c:pt idx="33">
                  <c:v>2.8704102443482309E-2</c:v>
                </c:pt>
                <c:pt idx="34">
                  <c:v>3.0602403901330309E-2</c:v>
                </c:pt>
                <c:pt idx="35">
                  <c:v>3.1456536502498786E-2</c:v>
                </c:pt>
                <c:pt idx="36">
                  <c:v>3.1516667937295108E-2</c:v>
                </c:pt>
                <c:pt idx="37">
                  <c:v>3.3226585884057164E-2</c:v>
                </c:pt>
                <c:pt idx="38">
                  <c:v>3.3016326225624587E-2</c:v>
                </c:pt>
                <c:pt idx="39">
                  <c:v>3.0075909553288729E-2</c:v>
                </c:pt>
                <c:pt idx="40">
                  <c:v>3.0308227143147046E-2</c:v>
                </c:pt>
                <c:pt idx="41">
                  <c:v>3.1273537834975489E-2</c:v>
                </c:pt>
                <c:pt idx="42">
                  <c:v>3.0059016900147784E-2</c:v>
                </c:pt>
                <c:pt idx="43">
                  <c:v>3.0573863083611635E-2</c:v>
                </c:pt>
                <c:pt idx="44">
                  <c:v>3.254448153409624E-2</c:v>
                </c:pt>
                <c:pt idx="45">
                  <c:v>3.2420025270644671E-2</c:v>
                </c:pt>
                <c:pt idx="46">
                  <c:v>3.0841270586476857E-2</c:v>
                </c:pt>
                <c:pt idx="47">
                  <c:v>3.4545476528939606E-2</c:v>
                </c:pt>
                <c:pt idx="48">
                  <c:v>3.9378011399146942E-2</c:v>
                </c:pt>
                <c:pt idx="49">
                  <c:v>3.4585845792310457E-2</c:v>
                </c:pt>
                <c:pt idx="50">
                  <c:v>3.6889295123608744E-2</c:v>
                </c:pt>
                <c:pt idx="51">
                  <c:v>3.516974061970235E-2</c:v>
                </c:pt>
                <c:pt idx="52">
                  <c:v>3.3440411726256954E-2</c:v>
                </c:pt>
                <c:pt idx="53">
                  <c:v>3.0775515895011849E-2</c:v>
                </c:pt>
                <c:pt idx="54">
                  <c:v>2.856172806220978E-2</c:v>
                </c:pt>
                <c:pt idx="55">
                  <c:v>2.9260191711765828E-2</c:v>
                </c:pt>
                <c:pt idx="56">
                  <c:v>3.1178692703543048E-2</c:v>
                </c:pt>
                <c:pt idx="57">
                  <c:v>3.7031471681131703E-2</c:v>
                </c:pt>
                <c:pt idx="58">
                  <c:v>3.9909501581123753E-2</c:v>
                </c:pt>
                <c:pt idx="59">
                  <c:v>3.3090443177845791E-2</c:v>
                </c:pt>
                <c:pt idx="60">
                  <c:v>2.0429936026239697E-2</c:v>
                </c:pt>
                <c:pt idx="61">
                  <c:v>1.5942339180034886E-2</c:v>
                </c:pt>
                <c:pt idx="62">
                  <c:v>2.6561543645322632E-2</c:v>
                </c:pt>
                <c:pt idx="63">
                  <c:v>3.5068893654044385E-2</c:v>
                </c:pt>
                <c:pt idx="64">
                  <c:v>3.0967228847484717E-2</c:v>
                </c:pt>
                <c:pt idx="65">
                  <c:v>2.6027056162994167E-2</c:v>
                </c:pt>
                <c:pt idx="66">
                  <c:v>2.5871503741223587E-2</c:v>
                </c:pt>
                <c:pt idx="67">
                  <c:v>2.691260699372984E-2</c:v>
                </c:pt>
                <c:pt idx="68">
                  <c:v>2.5874418970458959E-2</c:v>
                </c:pt>
                <c:pt idx="69">
                  <c:v>2.3193315376484971E-2</c:v>
                </c:pt>
                <c:pt idx="70">
                  <c:v>2.2686657383630057E-2</c:v>
                </c:pt>
                <c:pt idx="71">
                  <c:v>2.6189284143623485E-2</c:v>
                </c:pt>
                <c:pt idx="72">
                  <c:v>2.7336338114147821E-2</c:v>
                </c:pt>
                <c:pt idx="73">
                  <c:v>2.7740990571672709E-2</c:v>
                </c:pt>
                <c:pt idx="74">
                  <c:v>2.8775273119844166E-2</c:v>
                </c:pt>
                <c:pt idx="75">
                  <c:v>2.8510329318482425E-2</c:v>
                </c:pt>
                <c:pt idx="76">
                  <c:v>2.7909474603405617E-2</c:v>
                </c:pt>
                <c:pt idx="77">
                  <c:v>2.354699792786898E-2</c:v>
                </c:pt>
                <c:pt idx="78">
                  <c:v>2.3516397046911525E-2</c:v>
                </c:pt>
                <c:pt idx="79">
                  <c:v>2.2115174941799768E-2</c:v>
                </c:pt>
                <c:pt idx="80">
                  <c:v>2.2268202762568419E-2</c:v>
                </c:pt>
                <c:pt idx="81">
                  <c:v>2.1244426266941792E-2</c:v>
                </c:pt>
                <c:pt idx="82">
                  <c:v>3.1177386289303839E-2</c:v>
                </c:pt>
                <c:pt idx="83">
                  <c:v>2.6306476866990773E-2</c:v>
                </c:pt>
                <c:pt idx="84">
                  <c:v>2.5524833007679375E-2</c:v>
                </c:pt>
                <c:pt idx="85">
                  <c:v>2.6871534411513368E-2</c:v>
                </c:pt>
                <c:pt idx="86">
                  <c:v>2.6338851413823878E-2</c:v>
                </c:pt>
                <c:pt idx="87">
                  <c:v>2.4648701089615546E-2</c:v>
                </c:pt>
                <c:pt idx="88">
                  <c:v>2.6238033764437702E-2</c:v>
                </c:pt>
                <c:pt idx="89">
                  <c:v>3.0191859532939729E-2</c:v>
                </c:pt>
                <c:pt idx="90">
                  <c:v>3.0716851696320817E-2</c:v>
                </c:pt>
                <c:pt idx="91">
                  <c:v>3.1790352756617284E-2</c:v>
                </c:pt>
                <c:pt idx="92">
                  <c:v>2.9789485452214992E-2</c:v>
                </c:pt>
                <c:pt idx="93">
                  <c:v>2.7419432969366012E-2</c:v>
                </c:pt>
                <c:pt idx="94">
                  <c:v>2.5375304588112154E-2</c:v>
                </c:pt>
                <c:pt idx="95">
                  <c:v>2.7271435244645044E-2</c:v>
                </c:pt>
                <c:pt idx="96">
                  <c:v>2.4300725205733124E-2</c:v>
                </c:pt>
                <c:pt idx="97">
                  <c:v>2.5953063658202231E-2</c:v>
                </c:pt>
                <c:pt idx="98">
                  <c:v>2.870484051773789E-2</c:v>
                </c:pt>
                <c:pt idx="99">
                  <c:v>3.0161179689259059E-2</c:v>
                </c:pt>
                <c:pt idx="100">
                  <c:v>3.7558407981539428E-2</c:v>
                </c:pt>
                <c:pt idx="101">
                  <c:v>3.5796970668813106E-2</c:v>
                </c:pt>
              </c:numCache>
            </c:numRef>
          </c:yVal>
          <c:smooth val="0"/>
          <c:extLst>
            <c:ext xmlns:c16="http://schemas.microsoft.com/office/drawing/2014/chart" uri="{C3380CC4-5D6E-409C-BE32-E72D297353CC}">
              <c16:uniqueId val="{00000000-F32D-48B7-BC20-E66FC6253BAD}"/>
            </c:ext>
          </c:extLst>
        </c:ser>
        <c:ser>
          <c:idx val="1"/>
          <c:order val="1"/>
          <c:tx>
            <c:strRef>
              <c:f>Sheet1!$B$10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6:$A$157</c:f>
              <c:numCache>
                <c:formatCode>General</c:formatCode>
                <c:ptCount val="52"/>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numCache>
            </c:numRef>
          </c:xVal>
          <c:yVal>
            <c:numRef>
              <c:f>Sheet1!$B$106:$B$157</c:f>
              <c:numCache>
                <c:formatCode>General</c:formatCode>
                <c:ptCount val="52"/>
                <c:pt idx="0">
                  <c:v>3.3379430772150658E-2</c:v>
                </c:pt>
                <c:pt idx="1">
                  <c:v>3.5297770608354727E-2</c:v>
                </c:pt>
                <c:pt idx="2">
                  <c:v>3.603152077608085E-2</c:v>
                </c:pt>
                <c:pt idx="3">
                  <c:v>3.0978674639028675E-2</c:v>
                </c:pt>
                <c:pt idx="4">
                  <c:v>2.8133515753956471E-2</c:v>
                </c:pt>
                <c:pt idx="5">
                  <c:v>2.7512069607189618E-2</c:v>
                </c:pt>
                <c:pt idx="6">
                  <c:v>2.7535908601076187E-2</c:v>
                </c:pt>
                <c:pt idx="7">
                  <c:v>2.7306049137985969E-2</c:v>
                </c:pt>
                <c:pt idx="8">
                  <c:v>2.6838607545871734E-2</c:v>
                </c:pt>
                <c:pt idx="9">
                  <c:v>2.8577136215520643E-2</c:v>
                </c:pt>
                <c:pt idx="10">
                  <c:v>2.9045708307140341E-2</c:v>
                </c:pt>
                <c:pt idx="11">
                  <c:v>3.0151694267354034E-2</c:v>
                </c:pt>
                <c:pt idx="12">
                  <c:v>3.1278274774940926E-2</c:v>
                </c:pt>
                <c:pt idx="13">
                  <c:v>3.2623144271831599E-2</c:v>
                </c:pt>
                <c:pt idx="14">
                  <c:v>3.2081452766552027E-2</c:v>
                </c:pt>
                <c:pt idx="15">
                  <c:v>2.8476513020004538E-2</c:v>
                </c:pt>
                <c:pt idx="16">
                  <c:v>2.8897929262062423E-2</c:v>
                </c:pt>
                <c:pt idx="17">
                  <c:v>2.8572345272906727E-2</c:v>
                </c:pt>
                <c:pt idx="18">
                  <c:v>2.7582157287634194E-2</c:v>
                </c:pt>
                <c:pt idx="19">
                  <c:v>2.6684207925807661E-2</c:v>
                </c:pt>
                <c:pt idx="20">
                  <c:v>2.5074098168638374E-2</c:v>
                </c:pt>
                <c:pt idx="21">
                  <c:v>3.7053775555914395E-2</c:v>
                </c:pt>
                <c:pt idx="22">
                  <c:v>4.1201839145334811E-2</c:v>
                </c:pt>
                <c:pt idx="23">
                  <c:v>3.952108516249337E-2</c:v>
                </c:pt>
                <c:pt idx="24">
                  <c:v>3.301132678213544E-2</c:v>
                </c:pt>
                <c:pt idx="25">
                  <c:v>3.4672282379825628E-2</c:v>
                </c:pt>
                <c:pt idx="26">
                  <c:v>3.6478521099227869E-2</c:v>
                </c:pt>
                <c:pt idx="27">
                  <c:v>3.1719960612283417E-2</c:v>
                </c:pt>
                <c:pt idx="28">
                  <c:v>2.9844699099281863E-2</c:v>
                </c:pt>
                <c:pt idx="29">
                  <c:v>2.8247037929351546E-2</c:v>
                </c:pt>
                <c:pt idx="30">
                  <c:v>2.3926861689124793E-2</c:v>
                </c:pt>
                <c:pt idx="31">
                  <c:v>2.0770671408149036E-2</c:v>
                </c:pt>
                <c:pt idx="32">
                  <c:v>2.3460558709885785E-2</c:v>
                </c:pt>
                <c:pt idx="33">
                  <c:v>3.0427962862070307E-2</c:v>
                </c:pt>
                <c:pt idx="34">
                  <c:v>3.1037706913624008E-2</c:v>
                </c:pt>
                <c:pt idx="35">
                  <c:v>2.928997264422914E-2</c:v>
                </c:pt>
                <c:pt idx="36">
                  <c:v>2.9697936908540855E-2</c:v>
                </c:pt>
                <c:pt idx="37">
                  <c:v>3.0248130900335804E-2</c:v>
                </c:pt>
                <c:pt idx="38">
                  <c:v>3.5070387750061743E-2</c:v>
                </c:pt>
                <c:pt idx="39">
                  <c:v>3.1208337770205517E-2</c:v>
                </c:pt>
                <c:pt idx="40">
                  <c:v>2.6826790166755026E-2</c:v>
                </c:pt>
                <c:pt idx="41">
                  <c:v>2.4203784771293646E-2</c:v>
                </c:pt>
                <c:pt idx="42">
                  <c:v>2.4098053977022377E-2</c:v>
                </c:pt>
                <c:pt idx="43">
                  <c:v>2.4523754132153155E-2</c:v>
                </c:pt>
                <c:pt idx="44">
                  <c:v>2.2379504666963371E-2</c:v>
                </c:pt>
                <c:pt idx="45">
                  <c:v>2.104065524243157E-2</c:v>
                </c:pt>
                <c:pt idx="46">
                  <c:v>2.2028240128902143E-2</c:v>
                </c:pt>
                <c:pt idx="47">
                  <c:v>2.3321641522021073E-2</c:v>
                </c:pt>
                <c:pt idx="48">
                  <c:v>2.5721900660138006E-2</c:v>
                </c:pt>
                <c:pt idx="49">
                  <c:v>2.4967370312040958E-2</c:v>
                </c:pt>
                <c:pt idx="50">
                  <c:v>2.6033359791458374E-2</c:v>
                </c:pt>
                <c:pt idx="51">
                  <c:v>2.5702227757022279E-2</c:v>
                </c:pt>
              </c:numCache>
            </c:numRef>
          </c:yVal>
          <c:smooth val="0"/>
          <c:extLst>
            <c:ext xmlns:c16="http://schemas.microsoft.com/office/drawing/2014/chart" uri="{C3380CC4-5D6E-409C-BE32-E72D297353CC}">
              <c16:uniqueId val="{00000002-F32D-48B7-BC20-E66FC6253BAD}"/>
            </c:ext>
          </c:extLst>
        </c:ser>
        <c:ser>
          <c:idx val="2"/>
          <c:order val="2"/>
          <c:tx>
            <c:strRef>
              <c:f>Sheet1!$B$159</c:f>
              <c:strCache>
                <c:ptCount val="1"/>
                <c:pt idx="0">
                  <c:v>Custom Linep3yQ</c:v>
                </c:pt>
              </c:strCache>
            </c:strRef>
          </c:tx>
          <c:spPr>
            <a:ln w="19050" cap="rnd">
              <a:solidFill>
                <a:srgbClr val="C00000"/>
              </a:solidFill>
              <a:prstDash val="sysDot"/>
              <a:round/>
            </a:ln>
            <a:effectLst/>
          </c:spPr>
          <c:marker>
            <c:symbol val="none"/>
          </c:marker>
          <c:xVal>
            <c:numRef>
              <c:f>Sheet1!$A$160:$A$161</c:f>
              <c:numCache>
                <c:formatCode>General</c:formatCode>
                <c:ptCount val="2"/>
                <c:pt idx="0">
                  <c:v>0</c:v>
                </c:pt>
                <c:pt idx="1">
                  <c:v>0.27575744047645689</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3-F32D-48B7-BC20-E66FC6253BAD}"/>
            </c:ext>
          </c:extLst>
        </c:ser>
        <c:ser>
          <c:idx val="3"/>
          <c:order val="3"/>
          <c:tx>
            <c:strRef>
              <c:f>Sheet1!$B$16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0.27575744047645689</c:v>
                </c:pt>
                <c:pt idx="1">
                  <c:v>0.27575744047645689</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8:$A$169</c:f>
              <c:numCache>
                <c:formatCode>General</c:formatCode>
                <c:ptCount val="2"/>
                <c:pt idx="0">
                  <c:v>0</c:v>
                </c:pt>
                <c:pt idx="1">
                  <c:v>0.28987004975079905</c:v>
                </c:pt>
              </c:numCache>
            </c:numRef>
          </c:xVal>
          <c:yVal>
            <c:numRef>
              <c:f>Sheet1!$B$168:$B$169</c:f>
              <c:numCache>
                <c:formatCode>General</c:formatCode>
                <c:ptCount val="2"/>
                <c:pt idx="0">
                  <c:v>3.1101577984060606E-2</c:v>
                </c:pt>
                <c:pt idx="1">
                  <c:v>3.1101577984060606E-2</c:v>
                </c:pt>
              </c:numCache>
            </c:numRef>
          </c:yVal>
          <c:smooth val="0"/>
          <c:extLst>
            <c:ext xmlns:c16="http://schemas.microsoft.com/office/drawing/2014/chart" uri="{C3380CC4-5D6E-409C-BE32-E72D297353CC}">
              <c16:uniqueId val="{0000000A-F32D-48B7-BC20-E66FC6253BAD}"/>
            </c:ext>
          </c:extLst>
        </c:ser>
        <c:ser>
          <c:idx val="5"/>
          <c:order val="5"/>
          <c:tx>
            <c:strRef>
              <c:f>Sheet1!$B$17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0.28987004975079905</c:v>
                </c:pt>
                <c:pt idx="1">
                  <c:v>0.28987004975079905</c:v>
                </c:pt>
              </c:numCache>
            </c:numRef>
          </c:xVal>
          <c:yVal>
            <c:numRef>
              <c:f>Sheet1!$B$172:$B$173</c:f>
              <c:numCache>
                <c:formatCode>General</c:formatCode>
                <c:ptCount val="2"/>
                <c:pt idx="0">
                  <c:v>3.1101577984060606E-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6:$A$177</c:f>
              <c:numCache>
                <c:formatCode>General</c:formatCode>
                <c:ptCount val="2"/>
                <c:pt idx="0">
                  <c:v>0</c:v>
                </c:pt>
                <c:pt idx="1">
                  <c:v>0.32888493428125432</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1-F32D-48B7-BC20-E66FC6253BAD}"/>
            </c:ext>
          </c:extLst>
        </c:ser>
        <c:ser>
          <c:idx val="7"/>
          <c:order val="7"/>
          <c:tx>
            <c:strRef>
              <c:f>Sheet1!$B$17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0:$A$181</c:f>
              <c:numCache>
                <c:formatCode>General</c:formatCode>
                <c:ptCount val="2"/>
                <c:pt idx="0">
                  <c:v>0.32888493428125432</c:v>
                </c:pt>
                <c:pt idx="1">
                  <c:v>0.32888493428125432</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4:$A$238</c:f>
              <c:numCache>
                <c:formatCode>General</c:formatCode>
                <c:ptCount val="55"/>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pt idx="52">
                  <c:v>0.28987004975079905</c:v>
                </c:pt>
                <c:pt idx="53">
                  <c:v>0.27575744047645689</c:v>
                </c:pt>
                <c:pt idx="54">
                  <c:v>0.32888493428125432</c:v>
                </c:pt>
              </c:numCache>
            </c:numRef>
          </c:xVal>
          <c:yVal>
            <c:numRef>
              <c:f>Sheet1!$B$184:$B$238</c:f>
              <c:numCache>
                <c:formatCode>General</c:formatCode>
                <c:ptCount val="55"/>
                <c:pt idx="0">
                  <c:v>2.9413873016704839E-2</c:v>
                </c:pt>
                <c:pt idx="1">
                  <c:v>2.9896344890080709E-2</c:v>
                </c:pt>
                <c:pt idx="2">
                  <c:v>3.0155656486461964E-2</c:v>
                </c:pt>
                <c:pt idx="3">
                  <c:v>2.7109900331363727E-2</c:v>
                </c:pt>
                <c:pt idx="4">
                  <c:v>2.4371775225560388E-2</c:v>
                </c:pt>
                <c:pt idx="5">
                  <c:v>2.4094268404047922E-2</c:v>
                </c:pt>
                <c:pt idx="6">
                  <c:v>2.4322183284519114E-2</c:v>
                </c:pt>
                <c:pt idx="7">
                  <c:v>2.5263903460272262E-2</c:v>
                </c:pt>
                <c:pt idx="8">
                  <c:v>2.7533717749061021E-2</c:v>
                </c:pt>
                <c:pt idx="9">
                  <c:v>2.9136059572005948E-2</c:v>
                </c:pt>
                <c:pt idx="10">
                  <c:v>2.8439725189245424E-2</c:v>
                </c:pt>
                <c:pt idx="11">
                  <c:v>2.8481575446516888E-2</c:v>
                </c:pt>
                <c:pt idx="12">
                  <c:v>3.0108594349578348E-2</c:v>
                </c:pt>
                <c:pt idx="13">
                  <c:v>3.169054387055209E-2</c:v>
                </c:pt>
                <c:pt idx="14">
                  <c:v>3.1465934595702259E-2</c:v>
                </c:pt>
                <c:pt idx="15">
                  <c:v>3.1477667841337743E-2</c:v>
                </c:pt>
                <c:pt idx="16">
                  <c:v>3.1573121681829512E-2</c:v>
                </c:pt>
                <c:pt idx="17">
                  <c:v>3.1532924296196564E-2</c:v>
                </c:pt>
                <c:pt idx="18">
                  <c:v>3.0515660900336583E-2</c:v>
                </c:pt>
                <c:pt idx="19">
                  <c:v>3.0211789143868836E-2</c:v>
                </c:pt>
                <c:pt idx="20">
                  <c:v>2.8955614795748236E-2</c:v>
                </c:pt>
                <c:pt idx="21">
                  <c:v>3.2772131418724967E-2</c:v>
                </c:pt>
                <c:pt idx="22">
                  <c:v>3.3542665870490845E-2</c:v>
                </c:pt>
                <c:pt idx="23">
                  <c:v>3.3435184307609174E-2</c:v>
                </c:pt>
                <c:pt idx="24">
                  <c:v>3.268271460365052E-2</c:v>
                </c:pt>
                <c:pt idx="25">
                  <c:v>3.3870059534782497E-2</c:v>
                </c:pt>
                <c:pt idx="26">
                  <c:v>3.3073079926514877E-2</c:v>
                </c:pt>
                <c:pt idx="27">
                  <c:v>3.1808643842456727E-2</c:v>
                </c:pt>
                <c:pt idx="28">
                  <c:v>3.0502176751221188E-2</c:v>
                </c:pt>
                <c:pt idx="29">
                  <c:v>2.7906678470255915E-2</c:v>
                </c:pt>
                <c:pt idx="30">
                  <c:v>2.5033266393526828E-2</c:v>
                </c:pt>
                <c:pt idx="31">
                  <c:v>2.630903103630991E-2</c:v>
                </c:pt>
                <c:pt idx="32">
                  <c:v>2.8693045313762239E-2</c:v>
                </c:pt>
                <c:pt idx="33">
                  <c:v>3.2596808075387743E-2</c:v>
                </c:pt>
                <c:pt idx="34">
                  <c:v>3.3462836223474769E-2</c:v>
                </c:pt>
                <c:pt idx="35">
                  <c:v>3.1780988069129081E-2</c:v>
                </c:pt>
                <c:pt idx="36">
                  <c:v>3.2997078119396075E-2</c:v>
                </c:pt>
                <c:pt idx="37">
                  <c:v>3.4241810296995578E-2</c:v>
                </c:pt>
                <c:pt idx="38">
                  <c:v>3.5259393566231922E-2</c:v>
                </c:pt>
                <c:pt idx="39">
                  <c:v>3.2524924643797831E-2</c:v>
                </c:pt>
                <c:pt idx="40">
                  <c:v>2.8308242375685959E-2</c:v>
                </c:pt>
                <c:pt idx="41">
                  <c:v>2.54404048951909E-2</c:v>
                </c:pt>
                <c:pt idx="42">
                  <c:v>2.3287513921568817E-2</c:v>
                </c:pt>
                <c:pt idx="43">
                  <c:v>2.3365554652546534E-2</c:v>
                </c:pt>
                <c:pt idx="44">
                  <c:v>2.3054756675168077E-2</c:v>
                </c:pt>
                <c:pt idx="45">
                  <c:v>2.3566114628330095E-2</c:v>
                </c:pt>
                <c:pt idx="46">
                  <c:v>2.5888630394799238E-2</c:v>
                </c:pt>
                <c:pt idx="47">
                  <c:v>2.6265547596405793E-2</c:v>
                </c:pt>
                <c:pt idx="48">
                  <c:v>2.7412822111043234E-2</c:v>
                </c:pt>
                <c:pt idx="49">
                  <c:v>2.5962622488181153E-2</c:v>
                </c:pt>
                <c:pt idx="50">
                  <c:v>2.4525712064247307E-2</c:v>
                </c:pt>
                <c:pt idx="51">
                  <c:v>2.4473274634488791E-2</c:v>
                </c:pt>
                <c:pt idx="52">
                  <c:v>3.1101577984060602E-2</c:v>
                </c:pt>
                <c:pt idx="53">
                  <c:v>3.3390590546211449E-2</c:v>
                </c:pt>
                <c:pt idx="54">
                  <c:v>2.4773509299877497E-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40737801608579088"/>
          <c:min val="0.18705920295984374"/>
        </c:scaling>
        <c:delete val="0"/>
        <c:axPos val="b"/>
        <c:title>
          <c:tx>
            <c:rich>
              <a:bodyPr rot="0" spcFirstLastPara="1" vertOverflow="ellipsis" vert="horz" wrap="square" anchor="ctr" anchorCtr="1"/>
              <a:lstStyle/>
              <a:p>
                <a:pPr>
                  <a:defRPr sz="800" b="0">
                    <a:latin typeface="Nexa Bold"/>
                  </a:defRPr>
                </a:pPr>
                <a:r>
                  <a:rPr lang="en-US"/>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1291069944164441</c:v>
                </c:pt>
                <c:pt idx="1">
                  <c:v>0.13485892486555889</c:v>
                </c:pt>
                <c:pt idx="2">
                  <c:v>0.13361697278764331</c:v>
                </c:pt>
                <c:pt idx="3">
                  <c:v>0.13181455947245191</c:v>
                </c:pt>
                <c:pt idx="4">
                  <c:v>0.13079849733141291</c:v>
                </c:pt>
                <c:pt idx="5">
                  <c:v>0.12786527339341361</c:v>
                </c:pt>
                <c:pt idx="6">
                  <c:v>0.13389772495720559</c:v>
                </c:pt>
                <c:pt idx="7">
                  <c:v>0.1359519354250221</c:v>
                </c:pt>
                <c:pt idx="8">
                  <c:v>0.13408395448492219</c:v>
                </c:pt>
                <c:pt idx="9">
                  <c:v>0.1272173036352085</c:v>
                </c:pt>
                <c:pt idx="10">
                  <c:v>0.12580154817273331</c:v>
                </c:pt>
                <c:pt idx="11">
                  <c:v>0.1247833670603628</c:v>
                </c:pt>
                <c:pt idx="12">
                  <c:v>0.12616612542700109</c:v>
                </c:pt>
                <c:pt idx="13">
                  <c:v>0.13426073846412021</c:v>
                </c:pt>
                <c:pt idx="14">
                  <c:v>0.13040345544745011</c:v>
                </c:pt>
                <c:pt idx="15">
                  <c:v>0.12568196098787579</c:v>
                </c:pt>
                <c:pt idx="16">
                  <c:v>0.1284543866213313</c:v>
                </c:pt>
                <c:pt idx="17">
                  <c:v>0.13252000199740169</c:v>
                </c:pt>
                <c:pt idx="18">
                  <c:v>0.12612196270786419</c:v>
                </c:pt>
                <c:pt idx="19">
                  <c:v>0.13496886950214251</c:v>
                </c:pt>
                <c:pt idx="20">
                  <c:v>0.13064933940560819</c:v>
                </c:pt>
                <c:pt idx="21">
                  <c:v>0.12635635491031241</c:v>
                </c:pt>
                <c:pt idx="22">
                  <c:v>0.12863609693980929</c:v>
                </c:pt>
                <c:pt idx="23">
                  <c:v>0.13116494310893009</c:v>
                </c:pt>
                <c:pt idx="24">
                  <c:v>0.1278058186678292</c:v>
                </c:pt>
                <c:pt idx="25">
                  <c:v>0.1235932293079324</c:v>
                </c:pt>
                <c:pt idx="26">
                  <c:v>0.12290934252239009</c:v>
                </c:pt>
                <c:pt idx="27">
                  <c:v>0.12109503765009599</c:v>
                </c:pt>
                <c:pt idx="28">
                  <c:v>0.12207135397276341</c:v>
                </c:pt>
                <c:pt idx="29">
                  <c:v>0.1263122981136704</c:v>
                </c:pt>
                <c:pt idx="30">
                  <c:v>0.1263263635992006</c:v>
                </c:pt>
                <c:pt idx="31">
                  <c:v>0.12476889875077329</c:v>
                </c:pt>
                <c:pt idx="32">
                  <c:v>0.12674353123399981</c:v>
                </c:pt>
                <c:pt idx="33">
                  <c:v>0.12588695742723971</c:v>
                </c:pt>
                <c:pt idx="34">
                  <c:v>0.12390000002667199</c:v>
                </c:pt>
                <c:pt idx="35">
                  <c:v>0.12440850519118039</c:v>
                </c:pt>
                <c:pt idx="36">
                  <c:v>0.12336288941275771</c:v>
                </c:pt>
                <c:pt idx="37">
                  <c:v>0.1236579395008299</c:v>
                </c:pt>
                <c:pt idx="38">
                  <c:v>0.1244360084590832</c:v>
                </c:pt>
                <c:pt idx="39">
                  <c:v>0.12224083915887329</c:v>
                </c:pt>
                <c:pt idx="40">
                  <c:v>0.1219327444047168</c:v>
                </c:pt>
                <c:pt idx="41">
                  <c:v>0.1250560323566518</c:v>
                </c:pt>
                <c:pt idx="42">
                  <c:v>0.12745512740440279</c:v>
                </c:pt>
                <c:pt idx="43">
                  <c:v>0.1211984894858895</c:v>
                </c:pt>
                <c:pt idx="44">
                  <c:v>0.1258670226690102</c:v>
                </c:pt>
                <c:pt idx="45">
                  <c:v>0.1272339848348821</c:v>
                </c:pt>
                <c:pt idx="46">
                  <c:v>0.13490346412193621</c:v>
                </c:pt>
                <c:pt idx="47">
                  <c:v>0.1232399985423943</c:v>
                </c:pt>
                <c:pt idx="48">
                  <c:v>0.12311641114157899</c:v>
                </c:pt>
                <c:pt idx="49">
                  <c:v>0.1234350759255986</c:v>
                </c:pt>
                <c:pt idx="50">
                  <c:v>0.12419744604278141</c:v>
                </c:pt>
                <c:pt idx="51">
                  <c:v>0.13145508336915421</c:v>
                </c:pt>
                <c:pt idx="52">
                  <c:v>0.13109930113357529</c:v>
                </c:pt>
                <c:pt idx="53">
                  <c:v>0.13568928560863899</c:v>
                </c:pt>
                <c:pt idx="54">
                  <c:v>0.1285210371531505</c:v>
                </c:pt>
                <c:pt idx="55">
                  <c:v>0.1300753516373136</c:v>
                </c:pt>
                <c:pt idx="56">
                  <c:v>0.12489749950473671</c:v>
                </c:pt>
                <c:pt idx="57">
                  <c:v>0.10266521645136149</c:v>
                </c:pt>
                <c:pt idx="58">
                  <c:v>9.4621929093130358E-2</c:v>
                </c:pt>
                <c:pt idx="59">
                  <c:v>9.8212612965823731E-2</c:v>
                </c:pt>
                <c:pt idx="60">
                  <c:v>0.1102654339127445</c:v>
                </c:pt>
                <c:pt idx="61">
                  <c:v>0.1086326326560431</c:v>
                </c:pt>
                <c:pt idx="62">
                  <c:v>0.10273100071317991</c:v>
                </c:pt>
                <c:pt idx="63">
                  <c:v>0.1056131313298932</c:v>
                </c:pt>
                <c:pt idx="64">
                  <c:v>0.116037952360732</c:v>
                </c:pt>
                <c:pt idx="65">
                  <c:v>0.13065683342069531</c:v>
                </c:pt>
                <c:pt idx="66">
                  <c:v>0.132712182958446</c:v>
                </c:pt>
                <c:pt idx="67">
                  <c:v>0.12498087731066</c:v>
                </c:pt>
                <c:pt idx="68">
                  <c:v>0.1318623648264734</c:v>
                </c:pt>
                <c:pt idx="69">
                  <c:v>0.13405085209231629</c:v>
                </c:pt>
                <c:pt idx="70">
                  <c:v>0.12663942767242409</c:v>
                </c:pt>
                <c:pt idx="71">
                  <c:v>0.13715997078444109</c:v>
                </c:pt>
                <c:pt idx="72">
                  <c:v>0.1312699287114284</c:v>
                </c:pt>
                <c:pt idx="73">
                  <c:v>0.1290474255800157</c:v>
                </c:pt>
                <c:pt idx="74">
                  <c:v>0.12976627424972709</c:v>
                </c:pt>
                <c:pt idx="75">
                  <c:v>0.12686829869724861</c:v>
                </c:pt>
                <c:pt idx="76">
                  <c:v>0.1253623579280761</c:v>
                </c:pt>
                <c:pt idx="77">
                  <c:v>0.12968156222074531</c:v>
                </c:pt>
                <c:pt idx="78">
                  <c:v>0.12750329032649099</c:v>
                </c:pt>
                <c:pt idx="79">
                  <c:v>0.12461050546445129</c:v>
                </c:pt>
                <c:pt idx="80">
                  <c:v>0.12900335189603049</c:v>
                </c:pt>
                <c:pt idx="81">
                  <c:v>0.12741746962889991</c:v>
                </c:pt>
                <c:pt idx="82">
                  <c:v>0.1227246355993528</c:v>
                </c:pt>
                <c:pt idx="83">
                  <c:v>0.12325497363003669</c:v>
                </c:pt>
                <c:pt idx="84">
                  <c:v>0.1237777050026681</c:v>
                </c:pt>
                <c:pt idx="85">
                  <c:v>0.1227618684932686</c:v>
                </c:pt>
                <c:pt idx="86">
                  <c:v>0.12625273778634091</c:v>
                </c:pt>
                <c:pt idx="87">
                  <c:v>0.12848401925218161</c:v>
                </c:pt>
                <c:pt idx="88">
                  <c:v>0.12808991008793849</c:v>
                </c:pt>
                <c:pt idx="89">
                  <c:v>0.12669599383578639</c:v>
                </c:pt>
                <c:pt idx="90">
                  <c:v>0.128457244567205</c:v>
                </c:pt>
                <c:pt idx="91">
                  <c:v>0.1287495738807907</c:v>
                </c:pt>
                <c:pt idx="92">
                  <c:v>0.12753778198649329</c:v>
                </c:pt>
                <c:pt idx="93">
                  <c:v>0.12858384689357691</c:v>
                </c:pt>
                <c:pt idx="94">
                  <c:v>0.13053873342212541</c:v>
                </c:pt>
                <c:pt idx="95">
                  <c:v>0.1283681251237693</c:v>
                </c:pt>
                <c:pt idx="96">
                  <c:v>0.12712219330013799</c:v>
                </c:pt>
                <c:pt idx="97">
                  <c:v>0.12537888942730019</c:v>
                </c:pt>
                <c:pt idx="98">
                  <c:v>0.12745921704595151</c:v>
                </c:pt>
                <c:pt idx="99">
                  <c:v>0.1212266665697815</c:v>
                </c:pt>
                <c:pt idx="100">
                  <c:v>0.1141728668578047</c:v>
                </c:pt>
                <c:pt idx="101">
                  <c:v>0.115957494325048</c:v>
                </c:pt>
              </c:numCache>
            </c:numRef>
          </c:xVal>
          <c:yVal>
            <c:numRef>
              <c:f>Sheet1!$B$2:$B$103</c:f>
              <c:numCache>
                <c:formatCode>General</c:formatCode>
                <c:ptCount val="102"/>
                <c:pt idx="0">
                  <c:v>3.1549194168607013E-2</c:v>
                </c:pt>
                <c:pt idx="1">
                  <c:v>2.5925076493376501E-2</c:v>
                </c:pt>
                <c:pt idx="2">
                  <c:v>1.9457371147598559E-2</c:v>
                </c:pt>
                <c:pt idx="3">
                  <c:v>2.1005226955186751E-2</c:v>
                </c:pt>
                <c:pt idx="4">
                  <c:v>2.3683174888924512E-2</c:v>
                </c:pt>
                <c:pt idx="5">
                  <c:v>2.481491169212223E-2</c:v>
                </c:pt>
                <c:pt idx="6">
                  <c:v>2.2966901329024649E-2</c:v>
                </c:pt>
                <c:pt idx="7">
                  <c:v>2.1693356757167159E-2</c:v>
                </c:pt>
                <c:pt idx="8">
                  <c:v>2.508474647577718E-2</c:v>
                </c:pt>
                <c:pt idx="9">
                  <c:v>3.2219360006132687E-2</c:v>
                </c:pt>
                <c:pt idx="10">
                  <c:v>3.3455366889535383E-2</c:v>
                </c:pt>
                <c:pt idx="11">
                  <c:v>3.077420503855852E-2</c:v>
                </c:pt>
                <c:pt idx="12">
                  <c:v>3.166311843777065E-2</c:v>
                </c:pt>
                <c:pt idx="13">
                  <c:v>2.9573633835338661E-2</c:v>
                </c:pt>
                <c:pt idx="14">
                  <c:v>2.943829474961886E-2</c:v>
                </c:pt>
                <c:pt idx="15">
                  <c:v>3.2326555355538883E-2</c:v>
                </c:pt>
                <c:pt idx="16">
                  <c:v>3.045418321235838E-2</c:v>
                </c:pt>
                <c:pt idx="17">
                  <c:v>3.0177244147381321E-2</c:v>
                </c:pt>
                <c:pt idx="18">
                  <c:v>3.0949579617420529E-2</c:v>
                </c:pt>
                <c:pt idx="19">
                  <c:v>3.3044676701229417E-2</c:v>
                </c:pt>
                <c:pt idx="20">
                  <c:v>3.4502368865567047E-2</c:v>
                </c:pt>
                <c:pt idx="21">
                  <c:v>3.8171203781773647E-2</c:v>
                </c:pt>
                <c:pt idx="22">
                  <c:v>3.2633840746857157E-2</c:v>
                </c:pt>
                <c:pt idx="23">
                  <c:v>3.22851825867847E-2</c:v>
                </c:pt>
                <c:pt idx="24">
                  <c:v>3.4293774474369272E-2</c:v>
                </c:pt>
                <c:pt idx="25">
                  <c:v>3.3493331489235549E-2</c:v>
                </c:pt>
                <c:pt idx="26">
                  <c:v>3.2256296982208908E-2</c:v>
                </c:pt>
                <c:pt idx="27">
                  <c:v>3.256327154323236E-2</c:v>
                </c:pt>
                <c:pt idx="28">
                  <c:v>3.0215972855570969E-2</c:v>
                </c:pt>
                <c:pt idx="29">
                  <c:v>2.971323515475446E-2</c:v>
                </c:pt>
                <c:pt idx="30">
                  <c:v>2.9886044202056931E-2</c:v>
                </c:pt>
                <c:pt idx="31">
                  <c:v>3.0113049153545669E-2</c:v>
                </c:pt>
                <c:pt idx="32">
                  <c:v>3.0121682992946059E-2</c:v>
                </c:pt>
                <c:pt idx="33">
                  <c:v>2.8704102443482309E-2</c:v>
                </c:pt>
                <c:pt idx="34">
                  <c:v>3.0602403901330309E-2</c:v>
                </c:pt>
                <c:pt idx="35">
                  <c:v>3.1456536502498793E-2</c:v>
                </c:pt>
                <c:pt idx="36">
                  <c:v>3.1516667937295108E-2</c:v>
                </c:pt>
                <c:pt idx="37">
                  <c:v>3.3226585884057157E-2</c:v>
                </c:pt>
                <c:pt idx="38">
                  <c:v>3.3016326225624587E-2</c:v>
                </c:pt>
                <c:pt idx="39">
                  <c:v>3.0075909553288729E-2</c:v>
                </c:pt>
                <c:pt idx="40">
                  <c:v>3.030822714314705E-2</c:v>
                </c:pt>
                <c:pt idx="41">
                  <c:v>3.1273537834975489E-2</c:v>
                </c:pt>
                <c:pt idx="42">
                  <c:v>3.005901690014778E-2</c:v>
                </c:pt>
                <c:pt idx="43">
                  <c:v>3.0573863083611631E-2</c:v>
                </c:pt>
                <c:pt idx="44">
                  <c:v>3.254448153409624E-2</c:v>
                </c:pt>
                <c:pt idx="45">
                  <c:v>3.2420025270644671E-2</c:v>
                </c:pt>
                <c:pt idx="46">
                  <c:v>3.0841270586476861E-2</c:v>
                </c:pt>
                <c:pt idx="47">
                  <c:v>3.4545476528939613E-2</c:v>
                </c:pt>
                <c:pt idx="48">
                  <c:v>3.9378011399146942E-2</c:v>
                </c:pt>
                <c:pt idx="49">
                  <c:v>3.4585845792310457E-2</c:v>
                </c:pt>
                <c:pt idx="50">
                  <c:v>3.6889295123608737E-2</c:v>
                </c:pt>
                <c:pt idx="51">
                  <c:v>3.516974061970235E-2</c:v>
                </c:pt>
                <c:pt idx="52">
                  <c:v>3.3440411726256947E-2</c:v>
                </c:pt>
                <c:pt idx="53">
                  <c:v>3.0775515895011849E-2</c:v>
                </c:pt>
                <c:pt idx="54">
                  <c:v>2.856172806220978E-2</c:v>
                </c:pt>
                <c:pt idx="55">
                  <c:v>2.9260191711765832E-2</c:v>
                </c:pt>
                <c:pt idx="56">
                  <c:v>3.1178692703543051E-2</c:v>
                </c:pt>
                <c:pt idx="57">
                  <c:v>3.7031471681131703E-2</c:v>
                </c:pt>
                <c:pt idx="58">
                  <c:v>3.9909501581123753E-2</c:v>
                </c:pt>
                <c:pt idx="59">
                  <c:v>3.3090443177845791E-2</c:v>
                </c:pt>
                <c:pt idx="60">
                  <c:v>2.0429936026239701E-2</c:v>
                </c:pt>
                <c:pt idx="61">
                  <c:v>1.594233918003489E-2</c:v>
                </c:pt>
                <c:pt idx="62">
                  <c:v>2.6561543645322629E-2</c:v>
                </c:pt>
                <c:pt idx="63">
                  <c:v>3.5068893654044378E-2</c:v>
                </c:pt>
                <c:pt idx="64">
                  <c:v>3.0967228847484721E-2</c:v>
                </c:pt>
                <c:pt idx="65">
                  <c:v>2.602705616299417E-2</c:v>
                </c:pt>
                <c:pt idx="66">
                  <c:v>2.587150374122359E-2</c:v>
                </c:pt>
                <c:pt idx="67">
                  <c:v>2.691260699372984E-2</c:v>
                </c:pt>
                <c:pt idx="68">
                  <c:v>2.5874418970458959E-2</c:v>
                </c:pt>
                <c:pt idx="69">
                  <c:v>2.3193315376484971E-2</c:v>
                </c:pt>
                <c:pt idx="70">
                  <c:v>2.2686657383630061E-2</c:v>
                </c:pt>
                <c:pt idx="71">
                  <c:v>2.6189284143623481E-2</c:v>
                </c:pt>
                <c:pt idx="72">
                  <c:v>2.7336338114147821E-2</c:v>
                </c:pt>
                <c:pt idx="73">
                  <c:v>2.7740990571672709E-2</c:v>
                </c:pt>
                <c:pt idx="74">
                  <c:v>2.877527311984417E-2</c:v>
                </c:pt>
                <c:pt idx="75">
                  <c:v>2.8510329318482429E-2</c:v>
                </c:pt>
                <c:pt idx="76">
                  <c:v>2.7909474603405621E-2</c:v>
                </c:pt>
                <c:pt idx="77">
                  <c:v>2.354699792786898E-2</c:v>
                </c:pt>
                <c:pt idx="78">
                  <c:v>2.3516397046911521E-2</c:v>
                </c:pt>
                <c:pt idx="79">
                  <c:v>2.2115174941799771E-2</c:v>
                </c:pt>
                <c:pt idx="80">
                  <c:v>2.2268202762568419E-2</c:v>
                </c:pt>
                <c:pt idx="81">
                  <c:v>2.1244426266941788E-2</c:v>
                </c:pt>
                <c:pt idx="82">
                  <c:v>3.1177386289303839E-2</c:v>
                </c:pt>
                <c:pt idx="83">
                  <c:v>2.630647686699077E-2</c:v>
                </c:pt>
                <c:pt idx="84">
                  <c:v>2.5524833007679371E-2</c:v>
                </c:pt>
                <c:pt idx="85">
                  <c:v>2.6871534411513371E-2</c:v>
                </c:pt>
                <c:pt idx="86">
                  <c:v>2.6338851413823881E-2</c:v>
                </c:pt>
                <c:pt idx="87">
                  <c:v>2.464870108961555E-2</c:v>
                </c:pt>
                <c:pt idx="88">
                  <c:v>2.6238033764437702E-2</c:v>
                </c:pt>
                <c:pt idx="89">
                  <c:v>3.0191859532939729E-2</c:v>
                </c:pt>
                <c:pt idx="90">
                  <c:v>3.071685169632082E-2</c:v>
                </c:pt>
                <c:pt idx="91">
                  <c:v>3.1790352756617277E-2</c:v>
                </c:pt>
                <c:pt idx="92">
                  <c:v>2.9789485452214989E-2</c:v>
                </c:pt>
                <c:pt idx="93">
                  <c:v>2.7419432969366012E-2</c:v>
                </c:pt>
                <c:pt idx="94">
                  <c:v>2.5375304588112151E-2</c:v>
                </c:pt>
                <c:pt idx="95">
                  <c:v>2.727143524464504E-2</c:v>
                </c:pt>
                <c:pt idx="96">
                  <c:v>2.430072520573312E-2</c:v>
                </c:pt>
                <c:pt idx="97">
                  <c:v>2.5953063658202231E-2</c:v>
                </c:pt>
                <c:pt idx="98">
                  <c:v>2.870484051773789E-2</c:v>
                </c:pt>
                <c:pt idx="99">
                  <c:v>3.0161179689259059E-2</c:v>
                </c:pt>
                <c:pt idx="100">
                  <c:v>3.7558407981539428E-2</c:v>
                </c:pt>
                <c:pt idx="101">
                  <c:v>3.5796970668813113E-2</c:v>
                </c:pt>
              </c:numCache>
            </c:numRef>
          </c:yVal>
          <c:smooth val="0"/>
          <c:extLst>
            <c:ext xmlns:c16="http://schemas.microsoft.com/office/drawing/2014/chart" uri="{C3380CC4-5D6E-409C-BE32-E72D297353CC}">
              <c16:uniqueId val="{00000000-096C-4121-9522-6AB7243CCAAE}"/>
            </c:ext>
          </c:extLst>
        </c:ser>
        <c:ser>
          <c:idx val="1"/>
          <c:order val="1"/>
          <c:tx>
            <c:strRef>
              <c:f>Sheet1!$B$10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6:$A$157</c:f>
              <c:numCache>
                <c:formatCode>General</c:formatCode>
                <c:ptCount val="52"/>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numCache>
            </c:numRef>
          </c:xVal>
          <c:yVal>
            <c:numRef>
              <c:f>Sheet1!$B$106:$B$157</c:f>
              <c:numCache>
                <c:formatCode>General</c:formatCode>
                <c:ptCount val="52"/>
                <c:pt idx="0">
                  <c:v>3.3379430772150658E-2</c:v>
                </c:pt>
                <c:pt idx="1">
                  <c:v>3.5297770608354727E-2</c:v>
                </c:pt>
                <c:pt idx="2">
                  <c:v>3.603152077608085E-2</c:v>
                </c:pt>
                <c:pt idx="3">
                  <c:v>3.0978674639028671E-2</c:v>
                </c:pt>
                <c:pt idx="4">
                  <c:v>2.8133515753956471E-2</c:v>
                </c:pt>
                <c:pt idx="5">
                  <c:v>2.7512069607189622E-2</c:v>
                </c:pt>
                <c:pt idx="6">
                  <c:v>2.753590860107619E-2</c:v>
                </c:pt>
                <c:pt idx="7">
                  <c:v>2.7306049137985969E-2</c:v>
                </c:pt>
                <c:pt idx="8">
                  <c:v>2.683860754587173E-2</c:v>
                </c:pt>
                <c:pt idx="9">
                  <c:v>2.8577136215520639E-2</c:v>
                </c:pt>
                <c:pt idx="10">
                  <c:v>2.9045708307140341E-2</c:v>
                </c:pt>
                <c:pt idx="11">
                  <c:v>3.0151694267354031E-2</c:v>
                </c:pt>
                <c:pt idx="12">
                  <c:v>3.1278274774940933E-2</c:v>
                </c:pt>
                <c:pt idx="13">
                  <c:v>3.2623144271831599E-2</c:v>
                </c:pt>
                <c:pt idx="14">
                  <c:v>3.2081452766552027E-2</c:v>
                </c:pt>
                <c:pt idx="15">
                  <c:v>2.8476513020004542E-2</c:v>
                </c:pt>
                <c:pt idx="16">
                  <c:v>2.889792926206242E-2</c:v>
                </c:pt>
                <c:pt idx="17">
                  <c:v>2.8572345272906731E-2</c:v>
                </c:pt>
                <c:pt idx="18">
                  <c:v>2.758215728763419E-2</c:v>
                </c:pt>
                <c:pt idx="19">
                  <c:v>2.6684207925807661E-2</c:v>
                </c:pt>
                <c:pt idx="20">
                  <c:v>2.507409816863837E-2</c:v>
                </c:pt>
                <c:pt idx="21">
                  <c:v>3.7053775555914388E-2</c:v>
                </c:pt>
                <c:pt idx="22">
                  <c:v>4.1201839145334811E-2</c:v>
                </c:pt>
                <c:pt idx="23">
                  <c:v>3.952108516249337E-2</c:v>
                </c:pt>
                <c:pt idx="24">
                  <c:v>3.301132678213544E-2</c:v>
                </c:pt>
                <c:pt idx="25">
                  <c:v>3.4672282379825628E-2</c:v>
                </c:pt>
                <c:pt idx="26">
                  <c:v>3.6478521099227869E-2</c:v>
                </c:pt>
                <c:pt idx="27">
                  <c:v>3.1719960612283417E-2</c:v>
                </c:pt>
                <c:pt idx="28">
                  <c:v>2.9844699099281859E-2</c:v>
                </c:pt>
                <c:pt idx="29">
                  <c:v>2.824703792935155E-2</c:v>
                </c:pt>
                <c:pt idx="30">
                  <c:v>2.3926861689124789E-2</c:v>
                </c:pt>
                <c:pt idx="31">
                  <c:v>2.077067140814904E-2</c:v>
                </c:pt>
                <c:pt idx="32">
                  <c:v>2.3460558709885782E-2</c:v>
                </c:pt>
                <c:pt idx="33">
                  <c:v>3.042796286207031E-2</c:v>
                </c:pt>
                <c:pt idx="34">
                  <c:v>3.1037706913624011E-2</c:v>
                </c:pt>
                <c:pt idx="35">
                  <c:v>2.928997264422914E-2</c:v>
                </c:pt>
                <c:pt idx="36">
                  <c:v>2.9697936908540851E-2</c:v>
                </c:pt>
                <c:pt idx="37">
                  <c:v>3.0248130900335801E-2</c:v>
                </c:pt>
                <c:pt idx="38">
                  <c:v>3.5070387750061743E-2</c:v>
                </c:pt>
                <c:pt idx="39">
                  <c:v>3.120833777020552E-2</c:v>
                </c:pt>
                <c:pt idx="40">
                  <c:v>2.682679016675503E-2</c:v>
                </c:pt>
                <c:pt idx="41">
                  <c:v>2.4203784771293649E-2</c:v>
                </c:pt>
                <c:pt idx="42">
                  <c:v>2.4098053977022381E-2</c:v>
                </c:pt>
                <c:pt idx="43">
                  <c:v>2.4523754132153151E-2</c:v>
                </c:pt>
                <c:pt idx="44">
                  <c:v>2.2379504666963371E-2</c:v>
                </c:pt>
                <c:pt idx="45">
                  <c:v>2.104065524243157E-2</c:v>
                </c:pt>
                <c:pt idx="46">
                  <c:v>2.202824012890214E-2</c:v>
                </c:pt>
                <c:pt idx="47">
                  <c:v>2.3321641522021069E-2</c:v>
                </c:pt>
                <c:pt idx="48">
                  <c:v>2.5721900660138009E-2</c:v>
                </c:pt>
                <c:pt idx="49">
                  <c:v>2.4967370312040962E-2</c:v>
                </c:pt>
                <c:pt idx="50">
                  <c:v>2.603335979145837E-2</c:v>
                </c:pt>
                <c:pt idx="51">
                  <c:v>2.5702227757022279E-2</c:v>
                </c:pt>
              </c:numCache>
            </c:numRef>
          </c:yVal>
          <c:smooth val="0"/>
          <c:extLst>
            <c:ext xmlns:c16="http://schemas.microsoft.com/office/drawing/2014/chart" uri="{C3380CC4-5D6E-409C-BE32-E72D297353CC}">
              <c16:uniqueId val="{00000002-096C-4121-9522-6AB7243CCAAE}"/>
            </c:ext>
          </c:extLst>
        </c:ser>
        <c:ser>
          <c:idx val="2"/>
          <c:order val="2"/>
          <c:tx>
            <c:strRef>
              <c:f>Sheet1!$B$15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0:$A$161</c:f>
              <c:numCache>
                <c:formatCode>General</c:formatCode>
                <c:ptCount val="2"/>
                <c:pt idx="0">
                  <c:v>0</c:v>
                </c:pt>
                <c:pt idx="1">
                  <c:v>0.1108820277239114</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5-096C-4121-9522-6AB7243CCAAE}"/>
            </c:ext>
          </c:extLst>
        </c:ser>
        <c:ser>
          <c:idx val="3"/>
          <c:order val="3"/>
          <c:tx>
            <c:strRef>
              <c:f>Sheet1!$B$16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0.1108820277239114</c:v>
                </c:pt>
                <c:pt idx="1">
                  <c:v>0.1108820277239114</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8:$A$169</c:f>
              <c:numCache>
                <c:formatCode>General</c:formatCode>
                <c:ptCount val="2"/>
                <c:pt idx="0">
                  <c:v>0</c:v>
                </c:pt>
                <c:pt idx="1">
                  <c:v>0.11732114474802791</c:v>
                </c:pt>
              </c:numCache>
            </c:numRef>
          </c:xVal>
          <c:yVal>
            <c:numRef>
              <c:f>Sheet1!$B$168:$B$169</c:f>
              <c:numCache>
                <c:formatCode>General</c:formatCode>
                <c:ptCount val="2"/>
                <c:pt idx="0">
                  <c:v>3.1101577984060609E-2</c:v>
                </c:pt>
                <c:pt idx="1">
                  <c:v>3.1101577984060609E-2</c:v>
                </c:pt>
              </c:numCache>
            </c:numRef>
          </c:yVal>
          <c:smooth val="0"/>
          <c:extLst>
            <c:ext xmlns:c16="http://schemas.microsoft.com/office/drawing/2014/chart" uri="{C3380CC4-5D6E-409C-BE32-E72D297353CC}">
              <c16:uniqueId val="{0000000D-096C-4121-9522-6AB7243CCAAE}"/>
            </c:ext>
          </c:extLst>
        </c:ser>
        <c:ser>
          <c:idx val="5"/>
          <c:order val="5"/>
          <c:tx>
            <c:strRef>
              <c:f>Sheet1!$B$17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0.11732114474802791</c:v>
                </c:pt>
                <c:pt idx="1">
                  <c:v>0.11732114474802791</c:v>
                </c:pt>
              </c:numCache>
            </c:numRef>
          </c:xVal>
          <c:yVal>
            <c:numRef>
              <c:f>Sheet1!$B$172:$B$173</c:f>
              <c:numCache>
                <c:formatCode>General</c:formatCode>
                <c:ptCount val="2"/>
                <c:pt idx="0">
                  <c:v>3.1101577984060609E-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6:$A$177</c:f>
              <c:numCache>
                <c:formatCode>General</c:formatCode>
                <c:ptCount val="2"/>
                <c:pt idx="0">
                  <c:v>0</c:v>
                </c:pt>
                <c:pt idx="1">
                  <c:v>0.13512234665834599</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5-096C-4121-9522-6AB7243CCAAE}"/>
            </c:ext>
          </c:extLst>
        </c:ser>
        <c:ser>
          <c:idx val="7"/>
          <c:order val="7"/>
          <c:tx>
            <c:strRef>
              <c:f>Sheet1!$B$17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0:$A$181</c:f>
              <c:numCache>
                <c:formatCode>General</c:formatCode>
                <c:ptCount val="2"/>
                <c:pt idx="0">
                  <c:v>0.13512234665834599</c:v>
                </c:pt>
                <c:pt idx="1">
                  <c:v>0.13512234665834599</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4:$A$238</c:f>
              <c:numCache>
                <c:formatCode>General</c:formatCode>
                <c:ptCount val="55"/>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pt idx="52">
                  <c:v>0.11732114474802791</c:v>
                </c:pt>
                <c:pt idx="53">
                  <c:v>0.1108820277239114</c:v>
                </c:pt>
                <c:pt idx="54">
                  <c:v>0.13512234665834599</c:v>
                </c:pt>
              </c:numCache>
            </c:numRef>
          </c:xVal>
          <c:yVal>
            <c:numRef>
              <c:f>Sheet1!$B$184:$B$238</c:f>
              <c:numCache>
                <c:formatCode>General</c:formatCode>
                <c:ptCount val="55"/>
                <c:pt idx="0">
                  <c:v>3.1620668745252142E-2</c:v>
                </c:pt>
                <c:pt idx="1">
                  <c:v>3.1654790245678951E-2</c:v>
                </c:pt>
                <c:pt idx="2">
                  <c:v>3.2783325344754151E-2</c:v>
                </c:pt>
                <c:pt idx="3">
                  <c:v>3.022688607526958E-2</c:v>
                </c:pt>
                <c:pt idx="4">
                  <c:v>2.8540776744242852E-2</c:v>
                </c:pt>
                <c:pt idx="5">
                  <c:v>2.8198639317480349E-2</c:v>
                </c:pt>
                <c:pt idx="6">
                  <c:v>2.8149354774764782E-2</c:v>
                </c:pt>
                <c:pt idx="7">
                  <c:v>2.8199004366077019E-2</c:v>
                </c:pt>
                <c:pt idx="8">
                  <c:v>3.0157282303857849E-2</c:v>
                </c:pt>
                <c:pt idx="9">
                  <c:v>2.9717490317624731E-2</c:v>
                </c:pt>
                <c:pt idx="10">
                  <c:v>2.880162617160174E-2</c:v>
                </c:pt>
                <c:pt idx="11">
                  <c:v>3.0799476543192809E-2</c:v>
                </c:pt>
                <c:pt idx="12">
                  <c:v>2.8080121278043681E-2</c:v>
                </c:pt>
                <c:pt idx="13">
                  <c:v>2.8247092051713919E-2</c:v>
                </c:pt>
                <c:pt idx="14">
                  <c:v>2.639540124703324E-2</c:v>
                </c:pt>
                <c:pt idx="15">
                  <c:v>1.9220157910636009E-2</c:v>
                </c:pt>
                <c:pt idx="16">
                  <c:v>2.9292926757015069E-2</c:v>
                </c:pt>
                <c:pt idx="17">
                  <c:v>2.9541107656935999E-2</c:v>
                </c:pt>
                <c:pt idx="18">
                  <c:v>3.1154431279754719E-2</c:v>
                </c:pt>
                <c:pt idx="19">
                  <c:v>2.9461129531890291E-2</c:v>
                </c:pt>
                <c:pt idx="20">
                  <c:v>3.0313783713891131E-2</c:v>
                </c:pt>
                <c:pt idx="21">
                  <c:v>3.3508822667282862E-2</c:v>
                </c:pt>
                <c:pt idx="22">
                  <c:v>3.4739165058279807E-2</c:v>
                </c:pt>
                <c:pt idx="23">
                  <c:v>3.3561500120319547E-2</c:v>
                </c:pt>
                <c:pt idx="24">
                  <c:v>3.0961282548418428E-2</c:v>
                </c:pt>
                <c:pt idx="25">
                  <c:v>3.325613118609181E-2</c:v>
                </c:pt>
                <c:pt idx="26">
                  <c:v>3.230935798656305E-2</c:v>
                </c:pt>
                <c:pt idx="27">
                  <c:v>3.0186042242885399E-2</c:v>
                </c:pt>
                <c:pt idx="28">
                  <c:v>2.9826699740302571E-2</c:v>
                </c:pt>
                <c:pt idx="29">
                  <c:v>2.8461825588360749E-2</c:v>
                </c:pt>
                <c:pt idx="30">
                  <c:v>2.6667445839888119E-2</c:v>
                </c:pt>
                <c:pt idx="31">
                  <c:v>2.9333797528733729E-2</c:v>
                </c:pt>
                <c:pt idx="32">
                  <c:v>2.8469462201818171E-2</c:v>
                </c:pt>
                <c:pt idx="33">
                  <c:v>3.1278574864500211E-2</c:v>
                </c:pt>
                <c:pt idx="34">
                  <c:v>3.362517184260494E-2</c:v>
                </c:pt>
                <c:pt idx="35">
                  <c:v>3.1259339751075838E-2</c:v>
                </c:pt>
                <c:pt idx="36">
                  <c:v>3.2466678789921898E-2</c:v>
                </c:pt>
                <c:pt idx="37">
                  <c:v>3.336561461501103E-2</c:v>
                </c:pt>
                <c:pt idx="38">
                  <c:v>3.1897061212580187E-2</c:v>
                </c:pt>
                <c:pt idx="39">
                  <c:v>3.0591232179052279E-2</c:v>
                </c:pt>
                <c:pt idx="40">
                  <c:v>2.6490890509876141E-2</c:v>
                </c:pt>
                <c:pt idx="41">
                  <c:v>2.5005655171483909E-2</c:v>
                </c:pt>
                <c:pt idx="42">
                  <c:v>2.471524594195228E-2</c:v>
                </c:pt>
                <c:pt idx="43">
                  <c:v>2.5740688254943609E-2</c:v>
                </c:pt>
                <c:pt idx="44">
                  <c:v>2.534241769031121E-2</c:v>
                </c:pt>
                <c:pt idx="45">
                  <c:v>2.5785004878787769E-2</c:v>
                </c:pt>
                <c:pt idx="46">
                  <c:v>2.6712805427711591E-2</c:v>
                </c:pt>
                <c:pt idx="47">
                  <c:v>2.6016063432124481E-2</c:v>
                </c:pt>
                <c:pt idx="48">
                  <c:v>2.645901837190287E-2</c:v>
                </c:pt>
                <c:pt idx="49">
                  <c:v>2.253097533810856E-2</c:v>
                </c:pt>
                <c:pt idx="50">
                  <c:v>2.3407974477709061E-2</c:v>
                </c:pt>
                <c:pt idx="51">
                  <c:v>2.5267129597052979E-2</c:v>
                </c:pt>
                <c:pt idx="52">
                  <c:v>3.1101577984060599E-2</c:v>
                </c:pt>
                <c:pt idx="53">
                  <c:v>3.3390590546211449E-2</c:v>
                </c:pt>
                <c:pt idx="54">
                  <c:v>2.47735092998775E-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18089307194123574"/>
          <c:min val="7.5697543274504286E-2"/>
        </c:scaling>
        <c:delete val="0"/>
        <c:axPos val="b"/>
        <c:title>
          <c:tx>
            <c:rich>
              <a:bodyPr rot="0" spcFirstLastPara="1" vertOverflow="ellipsis" vert="horz" wrap="square" anchor="ctr" anchorCtr="1"/>
              <a:lstStyle/>
              <a:p>
                <a:pPr>
                  <a:defRPr sz="800" b="0">
                    <a:solidFill>
                      <a:srgbClr val="575555"/>
                    </a:solidFill>
                    <a:latin typeface="Nexa Bold"/>
                  </a:defRPr>
                </a:pPr>
                <a:r>
                  <a:rPr lang="en-US"/>
                  <a:t>Price Ix vs. Gillette Fusion5</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3084051742229012</c:v>
                </c:pt>
                <c:pt idx="1">
                  <c:v>0.31591786351078627</c:v>
                </c:pt>
                <c:pt idx="2">
                  <c:v>0.32058023334902946</c:v>
                </c:pt>
                <c:pt idx="3">
                  <c:v>0.31551466024025998</c:v>
                </c:pt>
                <c:pt idx="4">
                  <c:v>0.31248983133575575</c:v>
                </c:pt>
                <c:pt idx="5">
                  <c:v>0.31209899175068745</c:v>
                </c:pt>
                <c:pt idx="6">
                  <c:v>0.31243915630070307</c:v>
                </c:pt>
                <c:pt idx="7">
                  <c:v>0.3133619793471481</c:v>
                </c:pt>
                <c:pt idx="8">
                  <c:v>0.31671907756813417</c:v>
                </c:pt>
                <c:pt idx="9">
                  <c:v>0.31082322826247477</c:v>
                </c:pt>
                <c:pt idx="10">
                  <c:v>0.31047212859141043</c:v>
                </c:pt>
                <c:pt idx="11">
                  <c:v>0.30851195946449417</c:v>
                </c:pt>
                <c:pt idx="12">
                  <c:v>0.30743476600274672</c:v>
                </c:pt>
                <c:pt idx="13">
                  <c:v>0.30557876018361524</c:v>
                </c:pt>
                <c:pt idx="14">
                  <c:v>0.30608180521683359</c:v>
                </c:pt>
                <c:pt idx="15">
                  <c:v>0.30537959003209308</c:v>
                </c:pt>
                <c:pt idx="16">
                  <c:v>0.30479028449342177</c:v>
                </c:pt>
                <c:pt idx="17">
                  <c:v>0.30535697989231286</c:v>
                </c:pt>
                <c:pt idx="18">
                  <c:v>0.30758733419811496</c:v>
                </c:pt>
                <c:pt idx="19">
                  <c:v>0.30384356418742708</c:v>
                </c:pt>
                <c:pt idx="20">
                  <c:v>0.30255871389344829</c:v>
                </c:pt>
                <c:pt idx="21">
                  <c:v>0.30131492720175512</c:v>
                </c:pt>
                <c:pt idx="22">
                  <c:v>0.30402402402402401</c:v>
                </c:pt>
                <c:pt idx="23">
                  <c:v>0.3041818228723267</c:v>
                </c:pt>
                <c:pt idx="24">
                  <c:v>0.30380595989557657</c:v>
                </c:pt>
                <c:pt idx="25">
                  <c:v>0.30266464709715091</c:v>
                </c:pt>
                <c:pt idx="26">
                  <c:v>0.30198090992432275</c:v>
                </c:pt>
                <c:pt idx="27">
                  <c:v>0.30261018186645428</c:v>
                </c:pt>
                <c:pt idx="28">
                  <c:v>0.30379475941413642</c:v>
                </c:pt>
                <c:pt idx="29">
                  <c:v>0.30510575091808745</c:v>
                </c:pt>
                <c:pt idx="30">
                  <c:v>0.30547263681592041</c:v>
                </c:pt>
                <c:pt idx="31">
                  <c:v>0.30191808942530629</c:v>
                </c:pt>
                <c:pt idx="32">
                  <c:v>0.30004016835781272</c:v>
                </c:pt>
                <c:pt idx="33">
                  <c:v>0.30140260803244229</c:v>
                </c:pt>
                <c:pt idx="34">
                  <c:v>0.30315931183998879</c:v>
                </c:pt>
                <c:pt idx="35">
                  <c:v>0.30423707530585153</c:v>
                </c:pt>
                <c:pt idx="36">
                  <c:v>0.30339368848493503</c:v>
                </c:pt>
                <c:pt idx="37">
                  <c:v>0.30312142377964563</c:v>
                </c:pt>
                <c:pt idx="38">
                  <c:v>0.30421477922015827</c:v>
                </c:pt>
                <c:pt idx="39">
                  <c:v>0.30360700245050509</c:v>
                </c:pt>
                <c:pt idx="40">
                  <c:v>0.30482776067799466</c:v>
                </c:pt>
                <c:pt idx="41">
                  <c:v>0.30496561046396053</c:v>
                </c:pt>
                <c:pt idx="42">
                  <c:v>0.30474260101509459</c:v>
                </c:pt>
                <c:pt idx="43">
                  <c:v>0.30487658997567685</c:v>
                </c:pt>
                <c:pt idx="44">
                  <c:v>0.30417377406912238</c:v>
                </c:pt>
                <c:pt idx="45">
                  <c:v>0.30429474182711519</c:v>
                </c:pt>
                <c:pt idx="46">
                  <c:v>0.30416987037597953</c:v>
                </c:pt>
                <c:pt idx="47">
                  <c:v>0.30177142857142858</c:v>
                </c:pt>
                <c:pt idx="48">
                  <c:v>0.30034428178139644</c:v>
                </c:pt>
                <c:pt idx="49">
                  <c:v>0.30020553910468561</c:v>
                </c:pt>
                <c:pt idx="50">
                  <c:v>0.30020393921120919</c:v>
                </c:pt>
                <c:pt idx="51">
                  <c:v>0.30029572161037082</c:v>
                </c:pt>
                <c:pt idx="52">
                  <c:v>0.30085731375024921</c:v>
                </c:pt>
                <c:pt idx="53">
                  <c:v>0.30374794069192751</c:v>
                </c:pt>
                <c:pt idx="54">
                  <c:v>0.30475569923731716</c:v>
                </c:pt>
                <c:pt idx="55">
                  <c:v>0.30484411191281596</c:v>
                </c:pt>
                <c:pt idx="56">
                  <c:v>0.29666067320451317</c:v>
                </c:pt>
                <c:pt idx="57">
                  <c:v>0.25400835544515327</c:v>
                </c:pt>
                <c:pt idx="58">
                  <c:v>0.23382400369980466</c:v>
                </c:pt>
                <c:pt idx="59">
                  <c:v>0.23943026116791946</c:v>
                </c:pt>
                <c:pt idx="60">
                  <c:v>0.25369491863085675</c:v>
                </c:pt>
                <c:pt idx="61">
                  <c:v>0.26335839430757868</c:v>
                </c:pt>
                <c:pt idx="62">
                  <c:v>0.24811366501794199</c:v>
                </c:pt>
                <c:pt idx="63">
                  <c:v>0.25331883600138116</c:v>
                </c:pt>
                <c:pt idx="64">
                  <c:v>0.27606841827999473</c:v>
                </c:pt>
                <c:pt idx="65">
                  <c:v>0.28160478817918266</c:v>
                </c:pt>
                <c:pt idx="66">
                  <c:v>0.29229782021117312</c:v>
                </c:pt>
                <c:pt idx="67">
                  <c:v>0.30127414335954045</c:v>
                </c:pt>
                <c:pt idx="68">
                  <c:v>0.30305886879569066</c:v>
                </c:pt>
                <c:pt idx="69">
                  <c:v>0.30492991022208221</c:v>
                </c:pt>
                <c:pt idx="70">
                  <c:v>0.30628978911194849</c:v>
                </c:pt>
                <c:pt idx="71">
                  <c:v>0.30507690665654685</c:v>
                </c:pt>
                <c:pt idx="72">
                  <c:v>0.30607670596048481</c:v>
                </c:pt>
                <c:pt idx="73">
                  <c:v>0.3116373241246056</c:v>
                </c:pt>
                <c:pt idx="74">
                  <c:v>0.31424842998124136</c:v>
                </c:pt>
                <c:pt idx="75">
                  <c:v>0.31320176754871626</c:v>
                </c:pt>
                <c:pt idx="76">
                  <c:v>0.31380953870863448</c:v>
                </c:pt>
                <c:pt idx="77">
                  <c:v>0.32590348409435188</c:v>
                </c:pt>
                <c:pt idx="78">
                  <c:v>0.33061711871301291</c:v>
                </c:pt>
                <c:pt idx="79">
                  <c:v>0.33376024237416513</c:v>
                </c:pt>
                <c:pt idx="80">
                  <c:v>0.334863282523373</c:v>
                </c:pt>
                <c:pt idx="81">
                  <c:v>0.33732775797715603</c:v>
                </c:pt>
                <c:pt idx="82">
                  <c:v>0.3340239432262419</c:v>
                </c:pt>
                <c:pt idx="83">
                  <c:v>0.32813911724353323</c:v>
                </c:pt>
                <c:pt idx="84">
                  <c:v>0.32451377453380215</c:v>
                </c:pt>
                <c:pt idx="85">
                  <c:v>0.3242920313313794</c:v>
                </c:pt>
                <c:pt idx="86">
                  <c:v>0.32834757834757833</c:v>
                </c:pt>
                <c:pt idx="87">
                  <c:v>0.33024565689467972</c:v>
                </c:pt>
                <c:pt idx="88">
                  <c:v>0.33047076978575868</c:v>
                </c:pt>
                <c:pt idx="89">
                  <c:v>0.32960364974033468</c:v>
                </c:pt>
                <c:pt idx="90">
                  <c:v>0.32877782475231143</c:v>
                </c:pt>
                <c:pt idx="91">
                  <c:v>0.33265505668454848</c:v>
                </c:pt>
                <c:pt idx="92">
                  <c:v>0.33383080669232584</c:v>
                </c:pt>
                <c:pt idx="93">
                  <c:v>0.33445095599479496</c:v>
                </c:pt>
                <c:pt idx="94">
                  <c:v>0.33425385899470356</c:v>
                </c:pt>
                <c:pt idx="95">
                  <c:v>0.33302358553829059</c:v>
                </c:pt>
                <c:pt idx="96">
                  <c:v>0.3331230702831911</c:v>
                </c:pt>
                <c:pt idx="97">
                  <c:v>0.33248279672509923</c:v>
                </c:pt>
                <c:pt idx="98">
                  <c:v>0.33184443040565192</c:v>
                </c:pt>
                <c:pt idx="99">
                  <c:v>0.31234357273380736</c:v>
                </c:pt>
                <c:pt idx="100">
                  <c:v>0.30123106937136429</c:v>
                </c:pt>
                <c:pt idx="101">
                  <c:v>0.30056872662328632</c:v>
                </c:pt>
              </c:numCache>
            </c:numRef>
          </c:xVal>
          <c:yVal>
            <c:numRef>
              <c:f>Sheet1!$B$2:$B$103</c:f>
              <c:numCache>
                <c:formatCode>General</c:formatCode>
                <c:ptCount val="102"/>
                <c:pt idx="0">
                  <c:v>3.1549194168607006E-2</c:v>
                </c:pt>
                <c:pt idx="1">
                  <c:v>2.5925076493376501E-2</c:v>
                </c:pt>
                <c:pt idx="2">
                  <c:v>1.9457371147598559E-2</c:v>
                </c:pt>
                <c:pt idx="3">
                  <c:v>2.1005226955186754E-2</c:v>
                </c:pt>
                <c:pt idx="4">
                  <c:v>2.3683174888924508E-2</c:v>
                </c:pt>
                <c:pt idx="5">
                  <c:v>2.4814911692122233E-2</c:v>
                </c:pt>
                <c:pt idx="6">
                  <c:v>2.2966901329024649E-2</c:v>
                </c:pt>
                <c:pt idx="7">
                  <c:v>2.1693356757167159E-2</c:v>
                </c:pt>
                <c:pt idx="8">
                  <c:v>2.508474647577718E-2</c:v>
                </c:pt>
                <c:pt idx="9">
                  <c:v>3.2219360006132694E-2</c:v>
                </c:pt>
                <c:pt idx="10">
                  <c:v>3.3455366889535383E-2</c:v>
                </c:pt>
                <c:pt idx="11">
                  <c:v>3.0774205038558523E-2</c:v>
                </c:pt>
                <c:pt idx="12">
                  <c:v>3.166311843777065E-2</c:v>
                </c:pt>
                <c:pt idx="13">
                  <c:v>2.9573633835338665E-2</c:v>
                </c:pt>
                <c:pt idx="14">
                  <c:v>2.9438294749618857E-2</c:v>
                </c:pt>
                <c:pt idx="15">
                  <c:v>3.2326555355538883E-2</c:v>
                </c:pt>
                <c:pt idx="16">
                  <c:v>3.0454183212358377E-2</c:v>
                </c:pt>
                <c:pt idx="17">
                  <c:v>3.0177244147381318E-2</c:v>
                </c:pt>
                <c:pt idx="18">
                  <c:v>3.0949579617420526E-2</c:v>
                </c:pt>
                <c:pt idx="19">
                  <c:v>3.3044676701229417E-2</c:v>
                </c:pt>
                <c:pt idx="20">
                  <c:v>3.4502368865567047E-2</c:v>
                </c:pt>
                <c:pt idx="21">
                  <c:v>3.8171203781773647E-2</c:v>
                </c:pt>
                <c:pt idx="22">
                  <c:v>3.2633840746857157E-2</c:v>
                </c:pt>
                <c:pt idx="23">
                  <c:v>3.22851825867847E-2</c:v>
                </c:pt>
                <c:pt idx="24">
                  <c:v>3.4293774474369265E-2</c:v>
                </c:pt>
                <c:pt idx="25">
                  <c:v>3.3493331489235549E-2</c:v>
                </c:pt>
                <c:pt idx="26">
                  <c:v>3.2256296982208908E-2</c:v>
                </c:pt>
                <c:pt idx="27">
                  <c:v>3.256327154323236E-2</c:v>
                </c:pt>
                <c:pt idx="28">
                  <c:v>3.0215972855570965E-2</c:v>
                </c:pt>
                <c:pt idx="29">
                  <c:v>2.971323515475446E-2</c:v>
                </c:pt>
                <c:pt idx="30">
                  <c:v>2.9886044202056927E-2</c:v>
                </c:pt>
                <c:pt idx="31">
                  <c:v>3.0113049153545669E-2</c:v>
                </c:pt>
                <c:pt idx="32">
                  <c:v>3.0121682992946059E-2</c:v>
                </c:pt>
                <c:pt idx="33">
                  <c:v>2.8704102443482309E-2</c:v>
                </c:pt>
                <c:pt idx="34">
                  <c:v>3.0602403901330309E-2</c:v>
                </c:pt>
                <c:pt idx="35">
                  <c:v>3.1456536502498786E-2</c:v>
                </c:pt>
                <c:pt idx="36">
                  <c:v>3.1516667937295108E-2</c:v>
                </c:pt>
                <c:pt idx="37">
                  <c:v>3.3226585884057164E-2</c:v>
                </c:pt>
                <c:pt idx="38">
                  <c:v>3.3016326225624587E-2</c:v>
                </c:pt>
                <c:pt idx="39">
                  <c:v>3.0075909553288729E-2</c:v>
                </c:pt>
                <c:pt idx="40">
                  <c:v>3.0308227143147046E-2</c:v>
                </c:pt>
                <c:pt idx="41">
                  <c:v>3.1273537834975489E-2</c:v>
                </c:pt>
                <c:pt idx="42">
                  <c:v>3.0059016900147784E-2</c:v>
                </c:pt>
                <c:pt idx="43">
                  <c:v>3.0573863083611635E-2</c:v>
                </c:pt>
                <c:pt idx="44">
                  <c:v>3.254448153409624E-2</c:v>
                </c:pt>
                <c:pt idx="45">
                  <c:v>3.2420025270644671E-2</c:v>
                </c:pt>
                <c:pt idx="46">
                  <c:v>3.0841270586476857E-2</c:v>
                </c:pt>
                <c:pt idx="47">
                  <c:v>3.4545476528939606E-2</c:v>
                </c:pt>
                <c:pt idx="48">
                  <c:v>3.9378011399146942E-2</c:v>
                </c:pt>
                <c:pt idx="49">
                  <c:v>3.4585845792310457E-2</c:v>
                </c:pt>
                <c:pt idx="50">
                  <c:v>3.6889295123608744E-2</c:v>
                </c:pt>
                <c:pt idx="51">
                  <c:v>3.516974061970235E-2</c:v>
                </c:pt>
                <c:pt idx="52">
                  <c:v>3.3440411726256954E-2</c:v>
                </c:pt>
                <c:pt idx="53">
                  <c:v>3.0775515895011849E-2</c:v>
                </c:pt>
                <c:pt idx="54">
                  <c:v>2.856172806220978E-2</c:v>
                </c:pt>
                <c:pt idx="55">
                  <c:v>2.9260191711765828E-2</c:v>
                </c:pt>
                <c:pt idx="56">
                  <c:v>3.1178692703543048E-2</c:v>
                </c:pt>
                <c:pt idx="57">
                  <c:v>3.7031471681131703E-2</c:v>
                </c:pt>
                <c:pt idx="58">
                  <c:v>3.9909501581123753E-2</c:v>
                </c:pt>
                <c:pt idx="59">
                  <c:v>3.3090443177845791E-2</c:v>
                </c:pt>
                <c:pt idx="60">
                  <c:v>2.0429936026239697E-2</c:v>
                </c:pt>
                <c:pt idx="61">
                  <c:v>1.5942339180034886E-2</c:v>
                </c:pt>
                <c:pt idx="62">
                  <c:v>2.6561543645322632E-2</c:v>
                </c:pt>
                <c:pt idx="63">
                  <c:v>3.5068893654044385E-2</c:v>
                </c:pt>
                <c:pt idx="64">
                  <c:v>3.0967228847484717E-2</c:v>
                </c:pt>
                <c:pt idx="65">
                  <c:v>2.6027056162994167E-2</c:v>
                </c:pt>
                <c:pt idx="66">
                  <c:v>2.5871503741223587E-2</c:v>
                </c:pt>
                <c:pt idx="67">
                  <c:v>2.691260699372984E-2</c:v>
                </c:pt>
                <c:pt idx="68">
                  <c:v>2.5874418970458959E-2</c:v>
                </c:pt>
                <c:pt idx="69">
                  <c:v>2.3193315376484971E-2</c:v>
                </c:pt>
                <c:pt idx="70">
                  <c:v>2.2686657383630057E-2</c:v>
                </c:pt>
                <c:pt idx="71">
                  <c:v>2.6189284143623485E-2</c:v>
                </c:pt>
                <c:pt idx="72">
                  <c:v>2.7336338114147821E-2</c:v>
                </c:pt>
                <c:pt idx="73">
                  <c:v>2.7740990571672709E-2</c:v>
                </c:pt>
                <c:pt idx="74">
                  <c:v>2.8775273119844166E-2</c:v>
                </c:pt>
                <c:pt idx="75">
                  <c:v>2.8510329318482425E-2</c:v>
                </c:pt>
                <c:pt idx="76">
                  <c:v>2.7909474603405617E-2</c:v>
                </c:pt>
                <c:pt idx="77">
                  <c:v>2.354699792786898E-2</c:v>
                </c:pt>
                <c:pt idx="78">
                  <c:v>2.3516397046911525E-2</c:v>
                </c:pt>
                <c:pt idx="79">
                  <c:v>2.2115174941799768E-2</c:v>
                </c:pt>
                <c:pt idx="80">
                  <c:v>2.2268202762568419E-2</c:v>
                </c:pt>
                <c:pt idx="81">
                  <c:v>2.1244426266941792E-2</c:v>
                </c:pt>
                <c:pt idx="82">
                  <c:v>3.1177386289303839E-2</c:v>
                </c:pt>
                <c:pt idx="83">
                  <c:v>2.6306476866990773E-2</c:v>
                </c:pt>
                <c:pt idx="84">
                  <c:v>2.5524833007679375E-2</c:v>
                </c:pt>
                <c:pt idx="85">
                  <c:v>2.6871534411513368E-2</c:v>
                </c:pt>
                <c:pt idx="86">
                  <c:v>2.6338851413823878E-2</c:v>
                </c:pt>
                <c:pt idx="87">
                  <c:v>2.4648701089615546E-2</c:v>
                </c:pt>
                <c:pt idx="88">
                  <c:v>2.6238033764437702E-2</c:v>
                </c:pt>
                <c:pt idx="89">
                  <c:v>3.0191859532939729E-2</c:v>
                </c:pt>
                <c:pt idx="90">
                  <c:v>3.0716851696320817E-2</c:v>
                </c:pt>
                <c:pt idx="91">
                  <c:v>3.1790352756617284E-2</c:v>
                </c:pt>
                <c:pt idx="92">
                  <c:v>2.9789485452214992E-2</c:v>
                </c:pt>
                <c:pt idx="93">
                  <c:v>2.7419432969366012E-2</c:v>
                </c:pt>
                <c:pt idx="94">
                  <c:v>2.5375304588112154E-2</c:v>
                </c:pt>
                <c:pt idx="95">
                  <c:v>2.7271435244645044E-2</c:v>
                </c:pt>
                <c:pt idx="96">
                  <c:v>2.4300725205733124E-2</c:v>
                </c:pt>
                <c:pt idx="97">
                  <c:v>2.5953063658202231E-2</c:v>
                </c:pt>
                <c:pt idx="98">
                  <c:v>2.870484051773789E-2</c:v>
                </c:pt>
                <c:pt idx="99">
                  <c:v>3.0161179689259059E-2</c:v>
                </c:pt>
                <c:pt idx="100">
                  <c:v>3.7558407981539428E-2</c:v>
                </c:pt>
                <c:pt idx="101">
                  <c:v>3.5796970668813106E-2</c:v>
                </c:pt>
              </c:numCache>
            </c:numRef>
          </c:yVal>
          <c:smooth val="0"/>
          <c:extLst>
            <c:ext xmlns:c16="http://schemas.microsoft.com/office/drawing/2014/chart" uri="{C3380CC4-5D6E-409C-BE32-E72D297353CC}">
              <c16:uniqueId val="{00000000-F32D-48B7-BC20-E66FC6253BAD}"/>
            </c:ext>
          </c:extLst>
        </c:ser>
        <c:ser>
          <c:idx val="1"/>
          <c:order val="1"/>
          <c:tx>
            <c:strRef>
              <c:f>Sheet1!$B$10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6:$A$157</c:f>
              <c:numCache>
                <c:formatCode>General</c:formatCode>
                <c:ptCount val="52"/>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numCache>
            </c:numRef>
          </c:xVal>
          <c:yVal>
            <c:numRef>
              <c:f>Sheet1!$B$106:$B$157</c:f>
              <c:numCache>
                <c:formatCode>General</c:formatCode>
                <c:ptCount val="52"/>
                <c:pt idx="0">
                  <c:v>3.3379430772150658E-2</c:v>
                </c:pt>
                <c:pt idx="1">
                  <c:v>3.5297770608354727E-2</c:v>
                </c:pt>
                <c:pt idx="2">
                  <c:v>3.603152077608085E-2</c:v>
                </c:pt>
                <c:pt idx="3">
                  <c:v>3.0978674639028675E-2</c:v>
                </c:pt>
                <c:pt idx="4">
                  <c:v>2.8133515753956471E-2</c:v>
                </c:pt>
                <c:pt idx="5">
                  <c:v>2.7512069607189618E-2</c:v>
                </c:pt>
                <c:pt idx="6">
                  <c:v>2.7535908601076187E-2</c:v>
                </c:pt>
                <c:pt idx="7">
                  <c:v>2.7306049137985969E-2</c:v>
                </c:pt>
                <c:pt idx="8">
                  <c:v>2.6838607545871734E-2</c:v>
                </c:pt>
                <c:pt idx="9">
                  <c:v>2.8577136215520643E-2</c:v>
                </c:pt>
                <c:pt idx="10">
                  <c:v>2.9045708307140341E-2</c:v>
                </c:pt>
                <c:pt idx="11">
                  <c:v>3.0151694267354034E-2</c:v>
                </c:pt>
                <c:pt idx="12">
                  <c:v>3.1278274774940926E-2</c:v>
                </c:pt>
                <c:pt idx="13">
                  <c:v>3.2623144271831599E-2</c:v>
                </c:pt>
                <c:pt idx="14">
                  <c:v>3.2081452766552027E-2</c:v>
                </c:pt>
                <c:pt idx="15">
                  <c:v>2.8476513020004538E-2</c:v>
                </c:pt>
                <c:pt idx="16">
                  <c:v>2.8897929262062423E-2</c:v>
                </c:pt>
                <c:pt idx="17">
                  <c:v>2.8572345272906727E-2</c:v>
                </c:pt>
                <c:pt idx="18">
                  <c:v>2.7582157287634194E-2</c:v>
                </c:pt>
                <c:pt idx="19">
                  <c:v>2.6684207925807661E-2</c:v>
                </c:pt>
                <c:pt idx="20">
                  <c:v>2.5074098168638374E-2</c:v>
                </c:pt>
                <c:pt idx="21">
                  <c:v>3.7053775555914395E-2</c:v>
                </c:pt>
                <c:pt idx="22">
                  <c:v>4.1201839145334811E-2</c:v>
                </c:pt>
                <c:pt idx="23">
                  <c:v>3.952108516249337E-2</c:v>
                </c:pt>
                <c:pt idx="24">
                  <c:v>3.301132678213544E-2</c:v>
                </c:pt>
                <c:pt idx="25">
                  <c:v>3.4672282379825628E-2</c:v>
                </c:pt>
                <c:pt idx="26">
                  <c:v>3.6478521099227869E-2</c:v>
                </c:pt>
                <c:pt idx="27">
                  <c:v>3.1719960612283417E-2</c:v>
                </c:pt>
                <c:pt idx="28">
                  <c:v>2.9844699099281863E-2</c:v>
                </c:pt>
                <c:pt idx="29">
                  <c:v>2.8247037929351546E-2</c:v>
                </c:pt>
                <c:pt idx="30">
                  <c:v>2.3926861689124793E-2</c:v>
                </c:pt>
                <c:pt idx="31">
                  <c:v>2.0770671408149036E-2</c:v>
                </c:pt>
                <c:pt idx="32">
                  <c:v>2.3460558709885785E-2</c:v>
                </c:pt>
                <c:pt idx="33">
                  <c:v>3.0427962862070307E-2</c:v>
                </c:pt>
                <c:pt idx="34">
                  <c:v>3.1037706913624008E-2</c:v>
                </c:pt>
                <c:pt idx="35">
                  <c:v>2.928997264422914E-2</c:v>
                </c:pt>
                <c:pt idx="36">
                  <c:v>2.9697936908540855E-2</c:v>
                </c:pt>
                <c:pt idx="37">
                  <c:v>3.0248130900335804E-2</c:v>
                </c:pt>
                <c:pt idx="38">
                  <c:v>3.5070387750061743E-2</c:v>
                </c:pt>
                <c:pt idx="39">
                  <c:v>3.1208337770205517E-2</c:v>
                </c:pt>
                <c:pt idx="40">
                  <c:v>2.6826790166755026E-2</c:v>
                </c:pt>
                <c:pt idx="41">
                  <c:v>2.4203784771293646E-2</c:v>
                </c:pt>
                <c:pt idx="42">
                  <c:v>2.4098053977022377E-2</c:v>
                </c:pt>
                <c:pt idx="43">
                  <c:v>2.4523754132153155E-2</c:v>
                </c:pt>
                <c:pt idx="44">
                  <c:v>2.2379504666963371E-2</c:v>
                </c:pt>
                <c:pt idx="45">
                  <c:v>2.104065524243157E-2</c:v>
                </c:pt>
                <c:pt idx="46">
                  <c:v>2.2028240128902143E-2</c:v>
                </c:pt>
                <c:pt idx="47">
                  <c:v>2.3321641522021073E-2</c:v>
                </c:pt>
                <c:pt idx="48">
                  <c:v>2.5721900660138006E-2</c:v>
                </c:pt>
                <c:pt idx="49">
                  <c:v>2.4967370312040958E-2</c:v>
                </c:pt>
                <c:pt idx="50">
                  <c:v>2.6033359791458374E-2</c:v>
                </c:pt>
                <c:pt idx="51">
                  <c:v>2.5702227757022279E-2</c:v>
                </c:pt>
              </c:numCache>
            </c:numRef>
          </c:yVal>
          <c:smooth val="0"/>
          <c:extLst>
            <c:ext xmlns:c16="http://schemas.microsoft.com/office/drawing/2014/chart" uri="{C3380CC4-5D6E-409C-BE32-E72D297353CC}">
              <c16:uniqueId val="{00000002-F32D-48B7-BC20-E66FC6253BAD}"/>
            </c:ext>
          </c:extLst>
        </c:ser>
        <c:ser>
          <c:idx val="2"/>
          <c:order val="2"/>
          <c:tx>
            <c:strRef>
              <c:f>Sheet1!$B$159</c:f>
              <c:strCache>
                <c:ptCount val="1"/>
                <c:pt idx="0">
                  <c:v>Custom Linep3yQ</c:v>
                </c:pt>
              </c:strCache>
            </c:strRef>
          </c:tx>
          <c:spPr>
            <a:ln w="19050" cap="rnd">
              <a:solidFill>
                <a:srgbClr val="C00000"/>
              </a:solidFill>
              <a:prstDash val="sysDot"/>
              <a:round/>
            </a:ln>
            <a:effectLst/>
          </c:spPr>
          <c:marker>
            <c:symbol val="none"/>
          </c:marker>
          <c:xVal>
            <c:numRef>
              <c:f>Sheet1!$A$160:$A$161</c:f>
              <c:numCache>
                <c:formatCode>General</c:formatCode>
                <c:ptCount val="2"/>
                <c:pt idx="0">
                  <c:v>0</c:v>
                </c:pt>
                <c:pt idx="1">
                  <c:v>0.27575744047645689</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3-F32D-48B7-BC20-E66FC6253BAD}"/>
            </c:ext>
          </c:extLst>
        </c:ser>
        <c:ser>
          <c:idx val="3"/>
          <c:order val="3"/>
          <c:tx>
            <c:strRef>
              <c:f>Sheet1!$B$16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0.27575744047645689</c:v>
                </c:pt>
                <c:pt idx="1">
                  <c:v>0.27575744047645689</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8:$A$169</c:f>
              <c:numCache>
                <c:formatCode>General</c:formatCode>
                <c:ptCount val="2"/>
                <c:pt idx="0">
                  <c:v>0</c:v>
                </c:pt>
                <c:pt idx="1">
                  <c:v>0.28987004975079905</c:v>
                </c:pt>
              </c:numCache>
            </c:numRef>
          </c:xVal>
          <c:yVal>
            <c:numRef>
              <c:f>Sheet1!$B$168:$B$169</c:f>
              <c:numCache>
                <c:formatCode>General</c:formatCode>
                <c:ptCount val="2"/>
                <c:pt idx="0">
                  <c:v>3.1101577984060606E-2</c:v>
                </c:pt>
                <c:pt idx="1">
                  <c:v>3.1101577984060606E-2</c:v>
                </c:pt>
              </c:numCache>
            </c:numRef>
          </c:yVal>
          <c:smooth val="0"/>
          <c:extLst>
            <c:ext xmlns:c16="http://schemas.microsoft.com/office/drawing/2014/chart" uri="{C3380CC4-5D6E-409C-BE32-E72D297353CC}">
              <c16:uniqueId val="{0000000A-F32D-48B7-BC20-E66FC6253BAD}"/>
            </c:ext>
          </c:extLst>
        </c:ser>
        <c:ser>
          <c:idx val="5"/>
          <c:order val="5"/>
          <c:tx>
            <c:strRef>
              <c:f>Sheet1!$B$17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0.28987004975079905</c:v>
                </c:pt>
                <c:pt idx="1">
                  <c:v>0.28987004975079905</c:v>
                </c:pt>
              </c:numCache>
            </c:numRef>
          </c:xVal>
          <c:yVal>
            <c:numRef>
              <c:f>Sheet1!$B$172:$B$173</c:f>
              <c:numCache>
                <c:formatCode>General</c:formatCode>
                <c:ptCount val="2"/>
                <c:pt idx="0">
                  <c:v>3.1101577984060606E-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6:$A$177</c:f>
              <c:numCache>
                <c:formatCode>General</c:formatCode>
                <c:ptCount val="2"/>
                <c:pt idx="0">
                  <c:v>0</c:v>
                </c:pt>
                <c:pt idx="1">
                  <c:v>0.32888493428125432</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1-F32D-48B7-BC20-E66FC6253BAD}"/>
            </c:ext>
          </c:extLst>
        </c:ser>
        <c:ser>
          <c:idx val="7"/>
          <c:order val="7"/>
          <c:tx>
            <c:strRef>
              <c:f>Sheet1!$B$17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0:$A$181</c:f>
              <c:numCache>
                <c:formatCode>General</c:formatCode>
                <c:ptCount val="2"/>
                <c:pt idx="0">
                  <c:v>0.32888493428125432</c:v>
                </c:pt>
                <c:pt idx="1">
                  <c:v>0.32888493428125432</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4:$A$238</c:f>
              <c:numCache>
                <c:formatCode>General</c:formatCode>
                <c:ptCount val="55"/>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pt idx="52">
                  <c:v>0.28987004975079905</c:v>
                </c:pt>
                <c:pt idx="53">
                  <c:v>0.27575744047645689</c:v>
                </c:pt>
                <c:pt idx="54">
                  <c:v>0.32888493428125432</c:v>
                </c:pt>
              </c:numCache>
            </c:numRef>
          </c:xVal>
          <c:yVal>
            <c:numRef>
              <c:f>Sheet1!$B$184:$B$238</c:f>
              <c:numCache>
                <c:formatCode>General</c:formatCode>
                <c:ptCount val="55"/>
                <c:pt idx="0">
                  <c:v>2.9413873016704839E-2</c:v>
                </c:pt>
                <c:pt idx="1">
                  <c:v>2.9896344890080709E-2</c:v>
                </c:pt>
                <c:pt idx="2">
                  <c:v>3.0155656486461964E-2</c:v>
                </c:pt>
                <c:pt idx="3">
                  <c:v>2.7109900331363727E-2</c:v>
                </c:pt>
                <c:pt idx="4">
                  <c:v>2.4371775225560388E-2</c:v>
                </c:pt>
                <c:pt idx="5">
                  <c:v>2.4094268404047922E-2</c:v>
                </c:pt>
                <c:pt idx="6">
                  <c:v>2.4322183284519114E-2</c:v>
                </c:pt>
                <c:pt idx="7">
                  <c:v>2.5263903460272262E-2</c:v>
                </c:pt>
                <c:pt idx="8">
                  <c:v>2.7533717749061021E-2</c:v>
                </c:pt>
                <c:pt idx="9">
                  <c:v>2.9136059572005948E-2</c:v>
                </c:pt>
                <c:pt idx="10">
                  <c:v>2.8439725189245424E-2</c:v>
                </c:pt>
                <c:pt idx="11">
                  <c:v>2.8481575446516888E-2</c:v>
                </c:pt>
                <c:pt idx="12">
                  <c:v>3.0108594349578348E-2</c:v>
                </c:pt>
                <c:pt idx="13">
                  <c:v>3.169054387055209E-2</c:v>
                </c:pt>
                <c:pt idx="14">
                  <c:v>3.1465934595702259E-2</c:v>
                </c:pt>
                <c:pt idx="15">
                  <c:v>3.1477667841337743E-2</c:v>
                </c:pt>
                <c:pt idx="16">
                  <c:v>3.1573121681829512E-2</c:v>
                </c:pt>
                <c:pt idx="17">
                  <c:v>3.1532924296196564E-2</c:v>
                </c:pt>
                <c:pt idx="18">
                  <c:v>3.0515660900336583E-2</c:v>
                </c:pt>
                <c:pt idx="19">
                  <c:v>3.0211789143868836E-2</c:v>
                </c:pt>
                <c:pt idx="20">
                  <c:v>2.8955614795748236E-2</c:v>
                </c:pt>
                <c:pt idx="21">
                  <c:v>3.2772131418724967E-2</c:v>
                </c:pt>
                <c:pt idx="22">
                  <c:v>3.3542665870490845E-2</c:v>
                </c:pt>
                <c:pt idx="23">
                  <c:v>3.3435184307609174E-2</c:v>
                </c:pt>
                <c:pt idx="24">
                  <c:v>3.268271460365052E-2</c:v>
                </c:pt>
                <c:pt idx="25">
                  <c:v>3.3870059534782497E-2</c:v>
                </c:pt>
                <c:pt idx="26">
                  <c:v>3.3073079926514877E-2</c:v>
                </c:pt>
                <c:pt idx="27">
                  <c:v>3.1808643842456727E-2</c:v>
                </c:pt>
                <c:pt idx="28">
                  <c:v>3.0502176751221188E-2</c:v>
                </c:pt>
                <c:pt idx="29">
                  <c:v>2.7906678470255915E-2</c:v>
                </c:pt>
                <c:pt idx="30">
                  <c:v>2.5033266393526828E-2</c:v>
                </c:pt>
                <c:pt idx="31">
                  <c:v>2.630903103630991E-2</c:v>
                </c:pt>
                <c:pt idx="32">
                  <c:v>2.8693045313762239E-2</c:v>
                </c:pt>
                <c:pt idx="33">
                  <c:v>3.2596808075387743E-2</c:v>
                </c:pt>
                <c:pt idx="34">
                  <c:v>3.3462836223474769E-2</c:v>
                </c:pt>
                <c:pt idx="35">
                  <c:v>3.1780988069129081E-2</c:v>
                </c:pt>
                <c:pt idx="36">
                  <c:v>3.2997078119396075E-2</c:v>
                </c:pt>
                <c:pt idx="37">
                  <c:v>3.4241810296995578E-2</c:v>
                </c:pt>
                <c:pt idx="38">
                  <c:v>3.5259393566231922E-2</c:v>
                </c:pt>
                <c:pt idx="39">
                  <c:v>3.2524924643797831E-2</c:v>
                </c:pt>
                <c:pt idx="40">
                  <c:v>2.8308242375685959E-2</c:v>
                </c:pt>
                <c:pt idx="41">
                  <c:v>2.54404048951909E-2</c:v>
                </c:pt>
                <c:pt idx="42">
                  <c:v>2.3287513921568817E-2</c:v>
                </c:pt>
                <c:pt idx="43">
                  <c:v>2.3365554652546534E-2</c:v>
                </c:pt>
                <c:pt idx="44">
                  <c:v>2.3054756675168077E-2</c:v>
                </c:pt>
                <c:pt idx="45">
                  <c:v>2.3566114628330095E-2</c:v>
                </c:pt>
                <c:pt idx="46">
                  <c:v>2.5888630394799238E-2</c:v>
                </c:pt>
                <c:pt idx="47">
                  <c:v>2.6265547596405793E-2</c:v>
                </c:pt>
                <c:pt idx="48">
                  <c:v>2.7412822111043234E-2</c:v>
                </c:pt>
                <c:pt idx="49">
                  <c:v>2.5962622488181153E-2</c:v>
                </c:pt>
                <c:pt idx="50">
                  <c:v>2.4525712064247307E-2</c:v>
                </c:pt>
                <c:pt idx="51">
                  <c:v>2.4473274634488791E-2</c:v>
                </c:pt>
                <c:pt idx="52">
                  <c:v>3.1101577984060602E-2</c:v>
                </c:pt>
                <c:pt idx="53">
                  <c:v>3.3390590546211449E-2</c:v>
                </c:pt>
                <c:pt idx="54">
                  <c:v>2.4773509299877497E-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40737801608579088"/>
          <c:min val="0.18705920295984374"/>
        </c:scaling>
        <c:delete val="0"/>
        <c:axPos val="b"/>
        <c:title>
          <c:tx>
            <c:rich>
              <a:bodyPr rot="0" spcFirstLastPara="1" vertOverflow="ellipsis" vert="horz" wrap="square" anchor="ctr" anchorCtr="1"/>
              <a:lstStyle/>
              <a:p>
                <a:pPr>
                  <a:defRPr sz="800" b="0">
                    <a:latin typeface="Nexa Bold"/>
                  </a:defRPr>
                </a:pPr>
                <a:r>
                  <a:rPr lang="en-US"/>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1291069944164441</c:v>
                </c:pt>
                <c:pt idx="1">
                  <c:v>0.13485892486555889</c:v>
                </c:pt>
                <c:pt idx="2">
                  <c:v>0.13361697278764331</c:v>
                </c:pt>
                <c:pt idx="3">
                  <c:v>0.13181455947245191</c:v>
                </c:pt>
                <c:pt idx="4">
                  <c:v>0.13079849733141291</c:v>
                </c:pt>
                <c:pt idx="5">
                  <c:v>0.12786527339341361</c:v>
                </c:pt>
                <c:pt idx="6">
                  <c:v>0.13389772495720559</c:v>
                </c:pt>
                <c:pt idx="7">
                  <c:v>0.1359519354250221</c:v>
                </c:pt>
                <c:pt idx="8">
                  <c:v>0.13408395448492219</c:v>
                </c:pt>
                <c:pt idx="9">
                  <c:v>0.1272173036352085</c:v>
                </c:pt>
                <c:pt idx="10">
                  <c:v>0.12580154817273331</c:v>
                </c:pt>
                <c:pt idx="11">
                  <c:v>0.1247833670603628</c:v>
                </c:pt>
                <c:pt idx="12">
                  <c:v>0.12616612542700109</c:v>
                </c:pt>
                <c:pt idx="13">
                  <c:v>0.13426073846412021</c:v>
                </c:pt>
                <c:pt idx="14">
                  <c:v>0.13040345544745011</c:v>
                </c:pt>
                <c:pt idx="15">
                  <c:v>0.12568196098787579</c:v>
                </c:pt>
                <c:pt idx="16">
                  <c:v>0.1284543866213313</c:v>
                </c:pt>
                <c:pt idx="17">
                  <c:v>0.13252000199740169</c:v>
                </c:pt>
                <c:pt idx="18">
                  <c:v>0.12612196270786419</c:v>
                </c:pt>
                <c:pt idx="19">
                  <c:v>0.13496886950214251</c:v>
                </c:pt>
                <c:pt idx="20">
                  <c:v>0.13064933940560819</c:v>
                </c:pt>
                <c:pt idx="21">
                  <c:v>0.12635635491031241</c:v>
                </c:pt>
                <c:pt idx="22">
                  <c:v>0.12863609693980929</c:v>
                </c:pt>
                <c:pt idx="23">
                  <c:v>0.13116494310893009</c:v>
                </c:pt>
                <c:pt idx="24">
                  <c:v>0.1278058186678292</c:v>
                </c:pt>
                <c:pt idx="25">
                  <c:v>0.1235932293079324</c:v>
                </c:pt>
                <c:pt idx="26">
                  <c:v>0.12290934252239009</c:v>
                </c:pt>
                <c:pt idx="27">
                  <c:v>0.12109503765009599</c:v>
                </c:pt>
                <c:pt idx="28">
                  <c:v>0.12207135397276341</c:v>
                </c:pt>
                <c:pt idx="29">
                  <c:v>0.1263122981136704</c:v>
                </c:pt>
                <c:pt idx="30">
                  <c:v>0.1263263635992006</c:v>
                </c:pt>
                <c:pt idx="31">
                  <c:v>0.12476889875077329</c:v>
                </c:pt>
                <c:pt idx="32">
                  <c:v>0.12674353123399981</c:v>
                </c:pt>
                <c:pt idx="33">
                  <c:v>0.12588695742723971</c:v>
                </c:pt>
                <c:pt idx="34">
                  <c:v>0.12390000002667199</c:v>
                </c:pt>
                <c:pt idx="35">
                  <c:v>0.12440850519118039</c:v>
                </c:pt>
                <c:pt idx="36">
                  <c:v>0.12336288941275771</c:v>
                </c:pt>
                <c:pt idx="37">
                  <c:v>0.1236579395008299</c:v>
                </c:pt>
                <c:pt idx="38">
                  <c:v>0.1244360084590832</c:v>
                </c:pt>
                <c:pt idx="39">
                  <c:v>0.12224083915887329</c:v>
                </c:pt>
                <c:pt idx="40">
                  <c:v>0.1219327444047168</c:v>
                </c:pt>
                <c:pt idx="41">
                  <c:v>0.1250560323566518</c:v>
                </c:pt>
                <c:pt idx="42">
                  <c:v>0.12745512740440279</c:v>
                </c:pt>
                <c:pt idx="43">
                  <c:v>0.1211984894858895</c:v>
                </c:pt>
                <c:pt idx="44">
                  <c:v>0.1258670226690102</c:v>
                </c:pt>
                <c:pt idx="45">
                  <c:v>0.1272339848348821</c:v>
                </c:pt>
                <c:pt idx="46">
                  <c:v>0.13490346412193621</c:v>
                </c:pt>
                <c:pt idx="47">
                  <c:v>0.1232399985423943</c:v>
                </c:pt>
                <c:pt idx="48">
                  <c:v>0.12311641114157899</c:v>
                </c:pt>
                <c:pt idx="49">
                  <c:v>0.1234350759255986</c:v>
                </c:pt>
                <c:pt idx="50">
                  <c:v>0.12419744604278141</c:v>
                </c:pt>
                <c:pt idx="51">
                  <c:v>0.13145508336915421</c:v>
                </c:pt>
                <c:pt idx="52">
                  <c:v>0.13109930113357529</c:v>
                </c:pt>
                <c:pt idx="53">
                  <c:v>0.13568928560863899</c:v>
                </c:pt>
                <c:pt idx="54">
                  <c:v>0.1285210371531505</c:v>
                </c:pt>
                <c:pt idx="55">
                  <c:v>0.1300753516373136</c:v>
                </c:pt>
                <c:pt idx="56">
                  <c:v>0.12489749950473671</c:v>
                </c:pt>
                <c:pt idx="57">
                  <c:v>0.10266521645136149</c:v>
                </c:pt>
                <c:pt idx="58">
                  <c:v>9.4621929093130358E-2</c:v>
                </c:pt>
                <c:pt idx="59">
                  <c:v>9.8212612965823731E-2</c:v>
                </c:pt>
                <c:pt idx="60">
                  <c:v>0.1102654339127445</c:v>
                </c:pt>
                <c:pt idx="61">
                  <c:v>0.1086326326560431</c:v>
                </c:pt>
                <c:pt idx="62">
                  <c:v>0.10273100071317991</c:v>
                </c:pt>
                <c:pt idx="63">
                  <c:v>0.1056131313298932</c:v>
                </c:pt>
                <c:pt idx="64">
                  <c:v>0.116037952360732</c:v>
                </c:pt>
                <c:pt idx="65">
                  <c:v>0.13065683342069531</c:v>
                </c:pt>
                <c:pt idx="66">
                  <c:v>0.132712182958446</c:v>
                </c:pt>
                <c:pt idx="67">
                  <c:v>0.12498087731066</c:v>
                </c:pt>
                <c:pt idx="68">
                  <c:v>0.1318623648264734</c:v>
                </c:pt>
                <c:pt idx="69">
                  <c:v>0.13405085209231629</c:v>
                </c:pt>
                <c:pt idx="70">
                  <c:v>0.12663942767242409</c:v>
                </c:pt>
                <c:pt idx="71">
                  <c:v>0.13715997078444109</c:v>
                </c:pt>
                <c:pt idx="72">
                  <c:v>0.1312699287114284</c:v>
                </c:pt>
                <c:pt idx="73">
                  <c:v>0.1290474255800157</c:v>
                </c:pt>
                <c:pt idx="74">
                  <c:v>0.12976627424972709</c:v>
                </c:pt>
                <c:pt idx="75">
                  <c:v>0.12686829869724861</c:v>
                </c:pt>
                <c:pt idx="76">
                  <c:v>0.1253623579280761</c:v>
                </c:pt>
                <c:pt idx="77">
                  <c:v>0.12968156222074531</c:v>
                </c:pt>
                <c:pt idx="78">
                  <c:v>0.12750329032649099</c:v>
                </c:pt>
                <c:pt idx="79">
                  <c:v>0.12461050546445129</c:v>
                </c:pt>
                <c:pt idx="80">
                  <c:v>0.12900335189603049</c:v>
                </c:pt>
                <c:pt idx="81">
                  <c:v>0.12741746962889991</c:v>
                </c:pt>
                <c:pt idx="82">
                  <c:v>0.1227246355993528</c:v>
                </c:pt>
                <c:pt idx="83">
                  <c:v>0.12325497363003669</c:v>
                </c:pt>
                <c:pt idx="84">
                  <c:v>0.1237777050026681</c:v>
                </c:pt>
                <c:pt idx="85">
                  <c:v>0.1227618684932686</c:v>
                </c:pt>
                <c:pt idx="86">
                  <c:v>0.12625273778634091</c:v>
                </c:pt>
                <c:pt idx="87">
                  <c:v>0.12848401925218161</c:v>
                </c:pt>
                <c:pt idx="88">
                  <c:v>0.12808991008793849</c:v>
                </c:pt>
                <c:pt idx="89">
                  <c:v>0.12669599383578639</c:v>
                </c:pt>
                <c:pt idx="90">
                  <c:v>0.128457244567205</c:v>
                </c:pt>
                <c:pt idx="91">
                  <c:v>0.1287495738807907</c:v>
                </c:pt>
                <c:pt idx="92">
                  <c:v>0.12753778198649329</c:v>
                </c:pt>
                <c:pt idx="93">
                  <c:v>0.12858384689357691</c:v>
                </c:pt>
                <c:pt idx="94">
                  <c:v>0.13053873342212541</c:v>
                </c:pt>
                <c:pt idx="95">
                  <c:v>0.1283681251237693</c:v>
                </c:pt>
                <c:pt idx="96">
                  <c:v>0.12712219330013799</c:v>
                </c:pt>
                <c:pt idx="97">
                  <c:v>0.12537888942730019</c:v>
                </c:pt>
                <c:pt idx="98">
                  <c:v>0.12745921704595151</c:v>
                </c:pt>
                <c:pt idx="99">
                  <c:v>0.1212266665697815</c:v>
                </c:pt>
                <c:pt idx="100">
                  <c:v>0.1141728668578047</c:v>
                </c:pt>
                <c:pt idx="101">
                  <c:v>0.115957494325048</c:v>
                </c:pt>
              </c:numCache>
            </c:numRef>
          </c:xVal>
          <c:yVal>
            <c:numRef>
              <c:f>Sheet1!$B$2:$B$103</c:f>
              <c:numCache>
                <c:formatCode>General</c:formatCode>
                <c:ptCount val="102"/>
                <c:pt idx="0">
                  <c:v>3.1549194168607013E-2</c:v>
                </c:pt>
                <c:pt idx="1">
                  <c:v>2.5925076493376501E-2</c:v>
                </c:pt>
                <c:pt idx="2">
                  <c:v>1.9457371147598559E-2</c:v>
                </c:pt>
                <c:pt idx="3">
                  <c:v>2.1005226955186751E-2</c:v>
                </c:pt>
                <c:pt idx="4">
                  <c:v>2.3683174888924512E-2</c:v>
                </c:pt>
                <c:pt idx="5">
                  <c:v>2.481491169212223E-2</c:v>
                </c:pt>
                <c:pt idx="6">
                  <c:v>2.2966901329024649E-2</c:v>
                </c:pt>
                <c:pt idx="7">
                  <c:v>2.1693356757167159E-2</c:v>
                </c:pt>
                <c:pt idx="8">
                  <c:v>2.508474647577718E-2</c:v>
                </c:pt>
                <c:pt idx="9">
                  <c:v>3.2219360006132687E-2</c:v>
                </c:pt>
                <c:pt idx="10">
                  <c:v>3.3455366889535383E-2</c:v>
                </c:pt>
                <c:pt idx="11">
                  <c:v>3.077420503855852E-2</c:v>
                </c:pt>
                <c:pt idx="12">
                  <c:v>3.166311843777065E-2</c:v>
                </c:pt>
                <c:pt idx="13">
                  <c:v>2.9573633835338661E-2</c:v>
                </c:pt>
                <c:pt idx="14">
                  <c:v>2.943829474961886E-2</c:v>
                </c:pt>
                <c:pt idx="15">
                  <c:v>3.2326555355538883E-2</c:v>
                </c:pt>
                <c:pt idx="16">
                  <c:v>3.045418321235838E-2</c:v>
                </c:pt>
                <c:pt idx="17">
                  <c:v>3.0177244147381321E-2</c:v>
                </c:pt>
                <c:pt idx="18">
                  <c:v>3.0949579617420529E-2</c:v>
                </c:pt>
                <c:pt idx="19">
                  <c:v>3.3044676701229417E-2</c:v>
                </c:pt>
                <c:pt idx="20">
                  <c:v>3.4502368865567047E-2</c:v>
                </c:pt>
                <c:pt idx="21">
                  <c:v>3.8171203781773647E-2</c:v>
                </c:pt>
                <c:pt idx="22">
                  <c:v>3.2633840746857157E-2</c:v>
                </c:pt>
                <c:pt idx="23">
                  <c:v>3.22851825867847E-2</c:v>
                </c:pt>
                <c:pt idx="24">
                  <c:v>3.4293774474369272E-2</c:v>
                </c:pt>
                <c:pt idx="25">
                  <c:v>3.3493331489235549E-2</c:v>
                </c:pt>
                <c:pt idx="26">
                  <c:v>3.2256296982208908E-2</c:v>
                </c:pt>
                <c:pt idx="27">
                  <c:v>3.256327154323236E-2</c:v>
                </c:pt>
                <c:pt idx="28">
                  <c:v>3.0215972855570969E-2</c:v>
                </c:pt>
                <c:pt idx="29">
                  <c:v>2.971323515475446E-2</c:v>
                </c:pt>
                <c:pt idx="30">
                  <c:v>2.9886044202056931E-2</c:v>
                </c:pt>
                <c:pt idx="31">
                  <c:v>3.0113049153545669E-2</c:v>
                </c:pt>
                <c:pt idx="32">
                  <c:v>3.0121682992946059E-2</c:v>
                </c:pt>
                <c:pt idx="33">
                  <c:v>2.8704102443482309E-2</c:v>
                </c:pt>
                <c:pt idx="34">
                  <c:v>3.0602403901330309E-2</c:v>
                </c:pt>
                <c:pt idx="35">
                  <c:v>3.1456536502498793E-2</c:v>
                </c:pt>
                <c:pt idx="36">
                  <c:v>3.1516667937295108E-2</c:v>
                </c:pt>
                <c:pt idx="37">
                  <c:v>3.3226585884057157E-2</c:v>
                </c:pt>
                <c:pt idx="38">
                  <c:v>3.3016326225624587E-2</c:v>
                </c:pt>
                <c:pt idx="39">
                  <c:v>3.0075909553288729E-2</c:v>
                </c:pt>
                <c:pt idx="40">
                  <c:v>3.030822714314705E-2</c:v>
                </c:pt>
                <c:pt idx="41">
                  <c:v>3.1273537834975489E-2</c:v>
                </c:pt>
                <c:pt idx="42">
                  <c:v>3.005901690014778E-2</c:v>
                </c:pt>
                <c:pt idx="43">
                  <c:v>3.0573863083611631E-2</c:v>
                </c:pt>
                <c:pt idx="44">
                  <c:v>3.254448153409624E-2</c:v>
                </c:pt>
                <c:pt idx="45">
                  <c:v>3.2420025270644671E-2</c:v>
                </c:pt>
                <c:pt idx="46">
                  <c:v>3.0841270586476861E-2</c:v>
                </c:pt>
                <c:pt idx="47">
                  <c:v>3.4545476528939613E-2</c:v>
                </c:pt>
                <c:pt idx="48">
                  <c:v>3.9378011399146942E-2</c:v>
                </c:pt>
                <c:pt idx="49">
                  <c:v>3.4585845792310457E-2</c:v>
                </c:pt>
                <c:pt idx="50">
                  <c:v>3.6889295123608737E-2</c:v>
                </c:pt>
                <c:pt idx="51">
                  <c:v>3.516974061970235E-2</c:v>
                </c:pt>
                <c:pt idx="52">
                  <c:v>3.3440411726256947E-2</c:v>
                </c:pt>
                <c:pt idx="53">
                  <c:v>3.0775515895011849E-2</c:v>
                </c:pt>
                <c:pt idx="54">
                  <c:v>2.856172806220978E-2</c:v>
                </c:pt>
                <c:pt idx="55">
                  <c:v>2.9260191711765832E-2</c:v>
                </c:pt>
                <c:pt idx="56">
                  <c:v>3.1178692703543051E-2</c:v>
                </c:pt>
                <c:pt idx="57">
                  <c:v>3.7031471681131703E-2</c:v>
                </c:pt>
                <c:pt idx="58">
                  <c:v>3.9909501581123753E-2</c:v>
                </c:pt>
                <c:pt idx="59">
                  <c:v>3.3090443177845791E-2</c:v>
                </c:pt>
                <c:pt idx="60">
                  <c:v>2.0429936026239701E-2</c:v>
                </c:pt>
                <c:pt idx="61">
                  <c:v>1.594233918003489E-2</c:v>
                </c:pt>
                <c:pt idx="62">
                  <c:v>2.6561543645322629E-2</c:v>
                </c:pt>
                <c:pt idx="63">
                  <c:v>3.5068893654044378E-2</c:v>
                </c:pt>
                <c:pt idx="64">
                  <c:v>3.0967228847484721E-2</c:v>
                </c:pt>
                <c:pt idx="65">
                  <c:v>2.602705616299417E-2</c:v>
                </c:pt>
                <c:pt idx="66">
                  <c:v>2.587150374122359E-2</c:v>
                </c:pt>
                <c:pt idx="67">
                  <c:v>2.691260699372984E-2</c:v>
                </c:pt>
                <c:pt idx="68">
                  <c:v>2.5874418970458959E-2</c:v>
                </c:pt>
                <c:pt idx="69">
                  <c:v>2.3193315376484971E-2</c:v>
                </c:pt>
                <c:pt idx="70">
                  <c:v>2.2686657383630061E-2</c:v>
                </c:pt>
                <c:pt idx="71">
                  <c:v>2.6189284143623481E-2</c:v>
                </c:pt>
                <c:pt idx="72">
                  <c:v>2.7336338114147821E-2</c:v>
                </c:pt>
                <c:pt idx="73">
                  <c:v>2.7740990571672709E-2</c:v>
                </c:pt>
                <c:pt idx="74">
                  <c:v>2.877527311984417E-2</c:v>
                </c:pt>
                <c:pt idx="75">
                  <c:v>2.8510329318482429E-2</c:v>
                </c:pt>
                <c:pt idx="76">
                  <c:v>2.7909474603405621E-2</c:v>
                </c:pt>
                <c:pt idx="77">
                  <c:v>2.354699792786898E-2</c:v>
                </c:pt>
                <c:pt idx="78">
                  <c:v>2.3516397046911521E-2</c:v>
                </c:pt>
                <c:pt idx="79">
                  <c:v>2.2115174941799771E-2</c:v>
                </c:pt>
                <c:pt idx="80">
                  <c:v>2.2268202762568419E-2</c:v>
                </c:pt>
                <c:pt idx="81">
                  <c:v>2.1244426266941788E-2</c:v>
                </c:pt>
                <c:pt idx="82">
                  <c:v>3.1177386289303839E-2</c:v>
                </c:pt>
                <c:pt idx="83">
                  <c:v>2.630647686699077E-2</c:v>
                </c:pt>
                <c:pt idx="84">
                  <c:v>2.5524833007679371E-2</c:v>
                </c:pt>
                <c:pt idx="85">
                  <c:v>2.6871534411513371E-2</c:v>
                </c:pt>
                <c:pt idx="86">
                  <c:v>2.6338851413823881E-2</c:v>
                </c:pt>
                <c:pt idx="87">
                  <c:v>2.464870108961555E-2</c:v>
                </c:pt>
                <c:pt idx="88">
                  <c:v>2.6238033764437702E-2</c:v>
                </c:pt>
                <c:pt idx="89">
                  <c:v>3.0191859532939729E-2</c:v>
                </c:pt>
                <c:pt idx="90">
                  <c:v>3.071685169632082E-2</c:v>
                </c:pt>
                <c:pt idx="91">
                  <c:v>3.1790352756617277E-2</c:v>
                </c:pt>
                <c:pt idx="92">
                  <c:v>2.9789485452214989E-2</c:v>
                </c:pt>
                <c:pt idx="93">
                  <c:v>2.7419432969366012E-2</c:v>
                </c:pt>
                <c:pt idx="94">
                  <c:v>2.5375304588112151E-2</c:v>
                </c:pt>
                <c:pt idx="95">
                  <c:v>2.727143524464504E-2</c:v>
                </c:pt>
                <c:pt idx="96">
                  <c:v>2.430072520573312E-2</c:v>
                </c:pt>
                <c:pt idx="97">
                  <c:v>2.5953063658202231E-2</c:v>
                </c:pt>
                <c:pt idx="98">
                  <c:v>2.870484051773789E-2</c:v>
                </c:pt>
                <c:pt idx="99">
                  <c:v>3.0161179689259059E-2</c:v>
                </c:pt>
                <c:pt idx="100">
                  <c:v>3.7558407981539428E-2</c:v>
                </c:pt>
                <c:pt idx="101">
                  <c:v>3.5796970668813113E-2</c:v>
                </c:pt>
              </c:numCache>
            </c:numRef>
          </c:yVal>
          <c:smooth val="0"/>
          <c:extLst>
            <c:ext xmlns:c16="http://schemas.microsoft.com/office/drawing/2014/chart" uri="{C3380CC4-5D6E-409C-BE32-E72D297353CC}">
              <c16:uniqueId val="{00000000-096C-4121-9522-6AB7243CCAAE}"/>
            </c:ext>
          </c:extLst>
        </c:ser>
        <c:ser>
          <c:idx val="1"/>
          <c:order val="1"/>
          <c:tx>
            <c:strRef>
              <c:f>Sheet1!$B$10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6:$A$157</c:f>
              <c:numCache>
                <c:formatCode>General</c:formatCode>
                <c:ptCount val="52"/>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numCache>
            </c:numRef>
          </c:xVal>
          <c:yVal>
            <c:numRef>
              <c:f>Sheet1!$B$106:$B$157</c:f>
              <c:numCache>
                <c:formatCode>General</c:formatCode>
                <c:ptCount val="52"/>
                <c:pt idx="0">
                  <c:v>3.3379430772150658E-2</c:v>
                </c:pt>
                <c:pt idx="1">
                  <c:v>3.5297770608354727E-2</c:v>
                </c:pt>
                <c:pt idx="2">
                  <c:v>3.603152077608085E-2</c:v>
                </c:pt>
                <c:pt idx="3">
                  <c:v>3.0978674639028671E-2</c:v>
                </c:pt>
                <c:pt idx="4">
                  <c:v>2.8133515753956471E-2</c:v>
                </c:pt>
                <c:pt idx="5">
                  <c:v>2.7512069607189622E-2</c:v>
                </c:pt>
                <c:pt idx="6">
                  <c:v>2.753590860107619E-2</c:v>
                </c:pt>
                <c:pt idx="7">
                  <c:v>2.7306049137985969E-2</c:v>
                </c:pt>
                <c:pt idx="8">
                  <c:v>2.683860754587173E-2</c:v>
                </c:pt>
                <c:pt idx="9">
                  <c:v>2.8577136215520639E-2</c:v>
                </c:pt>
                <c:pt idx="10">
                  <c:v>2.9045708307140341E-2</c:v>
                </c:pt>
                <c:pt idx="11">
                  <c:v>3.0151694267354031E-2</c:v>
                </c:pt>
                <c:pt idx="12">
                  <c:v>3.1278274774940933E-2</c:v>
                </c:pt>
                <c:pt idx="13">
                  <c:v>3.2623144271831599E-2</c:v>
                </c:pt>
                <c:pt idx="14">
                  <c:v>3.2081452766552027E-2</c:v>
                </c:pt>
                <c:pt idx="15">
                  <c:v>2.8476513020004542E-2</c:v>
                </c:pt>
                <c:pt idx="16">
                  <c:v>2.889792926206242E-2</c:v>
                </c:pt>
                <c:pt idx="17">
                  <c:v>2.8572345272906731E-2</c:v>
                </c:pt>
                <c:pt idx="18">
                  <c:v>2.758215728763419E-2</c:v>
                </c:pt>
                <c:pt idx="19">
                  <c:v>2.6684207925807661E-2</c:v>
                </c:pt>
                <c:pt idx="20">
                  <c:v>2.507409816863837E-2</c:v>
                </c:pt>
                <c:pt idx="21">
                  <c:v>3.7053775555914388E-2</c:v>
                </c:pt>
                <c:pt idx="22">
                  <c:v>4.1201839145334811E-2</c:v>
                </c:pt>
                <c:pt idx="23">
                  <c:v>3.952108516249337E-2</c:v>
                </c:pt>
                <c:pt idx="24">
                  <c:v>3.301132678213544E-2</c:v>
                </c:pt>
                <c:pt idx="25">
                  <c:v>3.4672282379825628E-2</c:v>
                </c:pt>
                <c:pt idx="26">
                  <c:v>3.6478521099227869E-2</c:v>
                </c:pt>
                <c:pt idx="27">
                  <c:v>3.1719960612283417E-2</c:v>
                </c:pt>
                <c:pt idx="28">
                  <c:v>2.9844699099281859E-2</c:v>
                </c:pt>
                <c:pt idx="29">
                  <c:v>2.824703792935155E-2</c:v>
                </c:pt>
                <c:pt idx="30">
                  <c:v>2.3926861689124789E-2</c:v>
                </c:pt>
                <c:pt idx="31">
                  <c:v>2.077067140814904E-2</c:v>
                </c:pt>
                <c:pt idx="32">
                  <c:v>2.3460558709885782E-2</c:v>
                </c:pt>
                <c:pt idx="33">
                  <c:v>3.042796286207031E-2</c:v>
                </c:pt>
                <c:pt idx="34">
                  <c:v>3.1037706913624011E-2</c:v>
                </c:pt>
                <c:pt idx="35">
                  <c:v>2.928997264422914E-2</c:v>
                </c:pt>
                <c:pt idx="36">
                  <c:v>2.9697936908540851E-2</c:v>
                </c:pt>
                <c:pt idx="37">
                  <c:v>3.0248130900335801E-2</c:v>
                </c:pt>
                <c:pt idx="38">
                  <c:v>3.5070387750061743E-2</c:v>
                </c:pt>
                <c:pt idx="39">
                  <c:v>3.120833777020552E-2</c:v>
                </c:pt>
                <c:pt idx="40">
                  <c:v>2.682679016675503E-2</c:v>
                </c:pt>
                <c:pt idx="41">
                  <c:v>2.4203784771293649E-2</c:v>
                </c:pt>
                <c:pt idx="42">
                  <c:v>2.4098053977022381E-2</c:v>
                </c:pt>
                <c:pt idx="43">
                  <c:v>2.4523754132153151E-2</c:v>
                </c:pt>
                <c:pt idx="44">
                  <c:v>2.2379504666963371E-2</c:v>
                </c:pt>
                <c:pt idx="45">
                  <c:v>2.104065524243157E-2</c:v>
                </c:pt>
                <c:pt idx="46">
                  <c:v>2.202824012890214E-2</c:v>
                </c:pt>
                <c:pt idx="47">
                  <c:v>2.3321641522021069E-2</c:v>
                </c:pt>
                <c:pt idx="48">
                  <c:v>2.5721900660138009E-2</c:v>
                </c:pt>
                <c:pt idx="49">
                  <c:v>2.4967370312040962E-2</c:v>
                </c:pt>
                <c:pt idx="50">
                  <c:v>2.603335979145837E-2</c:v>
                </c:pt>
                <c:pt idx="51">
                  <c:v>2.5702227757022279E-2</c:v>
                </c:pt>
              </c:numCache>
            </c:numRef>
          </c:yVal>
          <c:smooth val="0"/>
          <c:extLst>
            <c:ext xmlns:c16="http://schemas.microsoft.com/office/drawing/2014/chart" uri="{C3380CC4-5D6E-409C-BE32-E72D297353CC}">
              <c16:uniqueId val="{00000002-096C-4121-9522-6AB7243CCAAE}"/>
            </c:ext>
          </c:extLst>
        </c:ser>
        <c:ser>
          <c:idx val="2"/>
          <c:order val="2"/>
          <c:tx>
            <c:strRef>
              <c:f>Sheet1!$B$15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0:$A$161</c:f>
              <c:numCache>
                <c:formatCode>General</c:formatCode>
                <c:ptCount val="2"/>
                <c:pt idx="0">
                  <c:v>0</c:v>
                </c:pt>
                <c:pt idx="1">
                  <c:v>0.1108820277239114</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5-096C-4121-9522-6AB7243CCAAE}"/>
            </c:ext>
          </c:extLst>
        </c:ser>
        <c:ser>
          <c:idx val="3"/>
          <c:order val="3"/>
          <c:tx>
            <c:strRef>
              <c:f>Sheet1!$B$16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0.1108820277239114</c:v>
                </c:pt>
                <c:pt idx="1">
                  <c:v>0.1108820277239114</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8:$A$169</c:f>
              <c:numCache>
                <c:formatCode>General</c:formatCode>
                <c:ptCount val="2"/>
                <c:pt idx="0">
                  <c:v>0</c:v>
                </c:pt>
                <c:pt idx="1">
                  <c:v>0.11732114474802791</c:v>
                </c:pt>
              </c:numCache>
            </c:numRef>
          </c:xVal>
          <c:yVal>
            <c:numRef>
              <c:f>Sheet1!$B$168:$B$169</c:f>
              <c:numCache>
                <c:formatCode>General</c:formatCode>
                <c:ptCount val="2"/>
                <c:pt idx="0">
                  <c:v>3.1101577984060609E-2</c:v>
                </c:pt>
                <c:pt idx="1">
                  <c:v>3.1101577984060609E-2</c:v>
                </c:pt>
              </c:numCache>
            </c:numRef>
          </c:yVal>
          <c:smooth val="0"/>
          <c:extLst>
            <c:ext xmlns:c16="http://schemas.microsoft.com/office/drawing/2014/chart" uri="{C3380CC4-5D6E-409C-BE32-E72D297353CC}">
              <c16:uniqueId val="{0000000D-096C-4121-9522-6AB7243CCAAE}"/>
            </c:ext>
          </c:extLst>
        </c:ser>
        <c:ser>
          <c:idx val="5"/>
          <c:order val="5"/>
          <c:tx>
            <c:strRef>
              <c:f>Sheet1!$B$17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0.11732114474802791</c:v>
                </c:pt>
                <c:pt idx="1">
                  <c:v>0.11732114474802791</c:v>
                </c:pt>
              </c:numCache>
            </c:numRef>
          </c:xVal>
          <c:yVal>
            <c:numRef>
              <c:f>Sheet1!$B$172:$B$173</c:f>
              <c:numCache>
                <c:formatCode>General</c:formatCode>
                <c:ptCount val="2"/>
                <c:pt idx="0">
                  <c:v>3.1101577984060609E-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6:$A$177</c:f>
              <c:numCache>
                <c:formatCode>General</c:formatCode>
                <c:ptCount val="2"/>
                <c:pt idx="0">
                  <c:v>0</c:v>
                </c:pt>
                <c:pt idx="1">
                  <c:v>0.13512234665834599</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5-096C-4121-9522-6AB7243CCAAE}"/>
            </c:ext>
          </c:extLst>
        </c:ser>
        <c:ser>
          <c:idx val="7"/>
          <c:order val="7"/>
          <c:tx>
            <c:strRef>
              <c:f>Sheet1!$B$17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0:$A$181</c:f>
              <c:numCache>
                <c:formatCode>General</c:formatCode>
                <c:ptCount val="2"/>
                <c:pt idx="0">
                  <c:v>0.13512234665834599</c:v>
                </c:pt>
                <c:pt idx="1">
                  <c:v>0.13512234665834599</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4:$A$238</c:f>
              <c:numCache>
                <c:formatCode>General</c:formatCode>
                <c:ptCount val="55"/>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pt idx="52">
                  <c:v>0.11732114474802791</c:v>
                </c:pt>
                <c:pt idx="53">
                  <c:v>0.1108820277239114</c:v>
                </c:pt>
                <c:pt idx="54">
                  <c:v>0.13512234665834599</c:v>
                </c:pt>
              </c:numCache>
            </c:numRef>
          </c:xVal>
          <c:yVal>
            <c:numRef>
              <c:f>Sheet1!$B$184:$B$238</c:f>
              <c:numCache>
                <c:formatCode>General</c:formatCode>
                <c:ptCount val="55"/>
                <c:pt idx="0">
                  <c:v>3.1620668745252142E-2</c:v>
                </c:pt>
                <c:pt idx="1">
                  <c:v>3.1654790245678951E-2</c:v>
                </c:pt>
                <c:pt idx="2">
                  <c:v>3.2783325344754151E-2</c:v>
                </c:pt>
                <c:pt idx="3">
                  <c:v>3.022688607526958E-2</c:v>
                </c:pt>
                <c:pt idx="4">
                  <c:v>2.8540776744242852E-2</c:v>
                </c:pt>
                <c:pt idx="5">
                  <c:v>2.8198639317480349E-2</c:v>
                </c:pt>
                <c:pt idx="6">
                  <c:v>2.8149354774764782E-2</c:v>
                </c:pt>
                <c:pt idx="7">
                  <c:v>2.8199004366077019E-2</c:v>
                </c:pt>
                <c:pt idx="8">
                  <c:v>3.0157282303857849E-2</c:v>
                </c:pt>
                <c:pt idx="9">
                  <c:v>2.9717490317624731E-2</c:v>
                </c:pt>
                <c:pt idx="10">
                  <c:v>2.880162617160174E-2</c:v>
                </c:pt>
                <c:pt idx="11">
                  <c:v>3.0799476543192809E-2</c:v>
                </c:pt>
                <c:pt idx="12">
                  <c:v>2.8080121278043681E-2</c:v>
                </c:pt>
                <c:pt idx="13">
                  <c:v>2.8247092051713919E-2</c:v>
                </c:pt>
                <c:pt idx="14">
                  <c:v>2.639540124703324E-2</c:v>
                </c:pt>
                <c:pt idx="15">
                  <c:v>1.9220157910636009E-2</c:v>
                </c:pt>
                <c:pt idx="16">
                  <c:v>2.9292926757015069E-2</c:v>
                </c:pt>
                <c:pt idx="17">
                  <c:v>2.9541107656935999E-2</c:v>
                </c:pt>
                <c:pt idx="18">
                  <c:v>3.1154431279754719E-2</c:v>
                </c:pt>
                <c:pt idx="19">
                  <c:v>2.9461129531890291E-2</c:v>
                </c:pt>
                <c:pt idx="20">
                  <c:v>3.0313783713891131E-2</c:v>
                </c:pt>
                <c:pt idx="21">
                  <c:v>3.3508822667282862E-2</c:v>
                </c:pt>
                <c:pt idx="22">
                  <c:v>3.4739165058279807E-2</c:v>
                </c:pt>
                <c:pt idx="23">
                  <c:v>3.3561500120319547E-2</c:v>
                </c:pt>
                <c:pt idx="24">
                  <c:v>3.0961282548418428E-2</c:v>
                </c:pt>
                <c:pt idx="25">
                  <c:v>3.325613118609181E-2</c:v>
                </c:pt>
                <c:pt idx="26">
                  <c:v>3.230935798656305E-2</c:v>
                </c:pt>
                <c:pt idx="27">
                  <c:v>3.0186042242885399E-2</c:v>
                </c:pt>
                <c:pt idx="28">
                  <c:v>2.9826699740302571E-2</c:v>
                </c:pt>
                <c:pt idx="29">
                  <c:v>2.8461825588360749E-2</c:v>
                </c:pt>
                <c:pt idx="30">
                  <c:v>2.6667445839888119E-2</c:v>
                </c:pt>
                <c:pt idx="31">
                  <c:v>2.9333797528733729E-2</c:v>
                </c:pt>
                <c:pt idx="32">
                  <c:v>2.8469462201818171E-2</c:v>
                </c:pt>
                <c:pt idx="33">
                  <c:v>3.1278574864500211E-2</c:v>
                </c:pt>
                <c:pt idx="34">
                  <c:v>3.362517184260494E-2</c:v>
                </c:pt>
                <c:pt idx="35">
                  <c:v>3.1259339751075838E-2</c:v>
                </c:pt>
                <c:pt idx="36">
                  <c:v>3.2466678789921898E-2</c:v>
                </c:pt>
                <c:pt idx="37">
                  <c:v>3.336561461501103E-2</c:v>
                </c:pt>
                <c:pt idx="38">
                  <c:v>3.1897061212580187E-2</c:v>
                </c:pt>
                <c:pt idx="39">
                  <c:v>3.0591232179052279E-2</c:v>
                </c:pt>
                <c:pt idx="40">
                  <c:v>2.6490890509876141E-2</c:v>
                </c:pt>
                <c:pt idx="41">
                  <c:v>2.5005655171483909E-2</c:v>
                </c:pt>
                <c:pt idx="42">
                  <c:v>2.471524594195228E-2</c:v>
                </c:pt>
                <c:pt idx="43">
                  <c:v>2.5740688254943609E-2</c:v>
                </c:pt>
                <c:pt idx="44">
                  <c:v>2.534241769031121E-2</c:v>
                </c:pt>
                <c:pt idx="45">
                  <c:v>2.5785004878787769E-2</c:v>
                </c:pt>
                <c:pt idx="46">
                  <c:v>2.6712805427711591E-2</c:v>
                </c:pt>
                <c:pt idx="47">
                  <c:v>2.6016063432124481E-2</c:v>
                </c:pt>
                <c:pt idx="48">
                  <c:v>2.645901837190287E-2</c:v>
                </c:pt>
                <c:pt idx="49">
                  <c:v>2.253097533810856E-2</c:v>
                </c:pt>
                <c:pt idx="50">
                  <c:v>2.3407974477709061E-2</c:v>
                </c:pt>
                <c:pt idx="51">
                  <c:v>2.5267129597052979E-2</c:v>
                </c:pt>
                <c:pt idx="52">
                  <c:v>3.1101577984060599E-2</c:v>
                </c:pt>
                <c:pt idx="53">
                  <c:v>3.3390590546211449E-2</c:v>
                </c:pt>
                <c:pt idx="54">
                  <c:v>2.47735092998775E-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18089307194123574"/>
          <c:min val="7.5697543274504286E-2"/>
        </c:scaling>
        <c:delete val="0"/>
        <c:axPos val="b"/>
        <c:title>
          <c:tx>
            <c:rich>
              <a:bodyPr rot="0" spcFirstLastPara="1" vertOverflow="ellipsis" vert="horz" wrap="square" anchor="ctr" anchorCtr="1"/>
              <a:lstStyle/>
              <a:p>
                <a:pPr>
                  <a:defRPr sz="800" b="0">
                    <a:solidFill>
                      <a:srgbClr val="575555"/>
                    </a:solidFill>
                    <a:latin typeface="Nexa Bold"/>
                  </a:defRPr>
                </a:pPr>
                <a:r>
                  <a:rPr lang="en-US"/>
                  <a:t>Price Ix vs. Gillette Fusion5</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3084051742229012</c:v>
                </c:pt>
                <c:pt idx="1">
                  <c:v>0.31591786351078627</c:v>
                </c:pt>
                <c:pt idx="2">
                  <c:v>0.32058023334902946</c:v>
                </c:pt>
                <c:pt idx="3">
                  <c:v>0.31551466024025998</c:v>
                </c:pt>
                <c:pt idx="4">
                  <c:v>0.31248983133575575</c:v>
                </c:pt>
                <c:pt idx="5">
                  <c:v>0.31209899175068745</c:v>
                </c:pt>
                <c:pt idx="6">
                  <c:v>0.31243915630070307</c:v>
                </c:pt>
                <c:pt idx="7">
                  <c:v>0.3133619793471481</c:v>
                </c:pt>
                <c:pt idx="8">
                  <c:v>0.31671907756813417</c:v>
                </c:pt>
                <c:pt idx="9">
                  <c:v>0.31082322826247477</c:v>
                </c:pt>
                <c:pt idx="10">
                  <c:v>0.31047212859141043</c:v>
                </c:pt>
                <c:pt idx="11">
                  <c:v>0.30851195946449417</c:v>
                </c:pt>
                <c:pt idx="12">
                  <c:v>0.30743476600274672</c:v>
                </c:pt>
                <c:pt idx="13">
                  <c:v>0.30557876018361524</c:v>
                </c:pt>
                <c:pt idx="14">
                  <c:v>0.30608180521683359</c:v>
                </c:pt>
                <c:pt idx="15">
                  <c:v>0.30537959003209308</c:v>
                </c:pt>
                <c:pt idx="16">
                  <c:v>0.30479028449342177</c:v>
                </c:pt>
                <c:pt idx="17">
                  <c:v>0.30535697989231286</c:v>
                </c:pt>
                <c:pt idx="18">
                  <c:v>0.30758733419811496</c:v>
                </c:pt>
                <c:pt idx="19">
                  <c:v>0.30384356418742708</c:v>
                </c:pt>
                <c:pt idx="20">
                  <c:v>0.30255871389344829</c:v>
                </c:pt>
                <c:pt idx="21">
                  <c:v>0.30131492720175512</c:v>
                </c:pt>
                <c:pt idx="22">
                  <c:v>0.30402402402402401</c:v>
                </c:pt>
                <c:pt idx="23">
                  <c:v>0.3041818228723267</c:v>
                </c:pt>
                <c:pt idx="24">
                  <c:v>0.30380595989557657</c:v>
                </c:pt>
                <c:pt idx="25">
                  <c:v>0.30266464709715091</c:v>
                </c:pt>
                <c:pt idx="26">
                  <c:v>0.30198090992432275</c:v>
                </c:pt>
                <c:pt idx="27">
                  <c:v>0.30261018186645428</c:v>
                </c:pt>
                <c:pt idx="28">
                  <c:v>0.30379475941413642</c:v>
                </c:pt>
                <c:pt idx="29">
                  <c:v>0.30510575091808745</c:v>
                </c:pt>
                <c:pt idx="30">
                  <c:v>0.30547263681592041</c:v>
                </c:pt>
                <c:pt idx="31">
                  <c:v>0.30191808942530629</c:v>
                </c:pt>
                <c:pt idx="32">
                  <c:v>0.30004016835781272</c:v>
                </c:pt>
                <c:pt idx="33">
                  <c:v>0.30140260803244229</c:v>
                </c:pt>
                <c:pt idx="34">
                  <c:v>0.30315931183998879</c:v>
                </c:pt>
                <c:pt idx="35">
                  <c:v>0.30423707530585153</c:v>
                </c:pt>
                <c:pt idx="36">
                  <c:v>0.30339368848493503</c:v>
                </c:pt>
                <c:pt idx="37">
                  <c:v>0.30312142377964563</c:v>
                </c:pt>
                <c:pt idx="38">
                  <c:v>0.30421477922015827</c:v>
                </c:pt>
                <c:pt idx="39">
                  <c:v>0.30360700245050509</c:v>
                </c:pt>
                <c:pt idx="40">
                  <c:v>0.30482776067799466</c:v>
                </c:pt>
                <c:pt idx="41">
                  <c:v>0.30496561046396053</c:v>
                </c:pt>
                <c:pt idx="42">
                  <c:v>0.30474260101509459</c:v>
                </c:pt>
                <c:pt idx="43">
                  <c:v>0.30487658997567685</c:v>
                </c:pt>
                <c:pt idx="44">
                  <c:v>0.30417377406912238</c:v>
                </c:pt>
                <c:pt idx="45">
                  <c:v>0.30429474182711519</c:v>
                </c:pt>
                <c:pt idx="46">
                  <c:v>0.30416987037597953</c:v>
                </c:pt>
                <c:pt idx="47">
                  <c:v>0.30177142857142858</c:v>
                </c:pt>
                <c:pt idx="48">
                  <c:v>0.30034428178139644</c:v>
                </c:pt>
                <c:pt idx="49">
                  <c:v>0.30020553910468561</c:v>
                </c:pt>
                <c:pt idx="50">
                  <c:v>0.30020393921120919</c:v>
                </c:pt>
                <c:pt idx="51">
                  <c:v>0.30029572161037082</c:v>
                </c:pt>
                <c:pt idx="52">
                  <c:v>0.30085731375024921</c:v>
                </c:pt>
                <c:pt idx="53">
                  <c:v>0.30374794069192751</c:v>
                </c:pt>
                <c:pt idx="54">
                  <c:v>0.30475569923731716</c:v>
                </c:pt>
                <c:pt idx="55">
                  <c:v>0.30484411191281596</c:v>
                </c:pt>
                <c:pt idx="56">
                  <c:v>0.29666067320451317</c:v>
                </c:pt>
                <c:pt idx="57">
                  <c:v>0.25400835544515327</c:v>
                </c:pt>
                <c:pt idx="58">
                  <c:v>0.23382400369980466</c:v>
                </c:pt>
                <c:pt idx="59">
                  <c:v>0.23943026116791946</c:v>
                </c:pt>
                <c:pt idx="60">
                  <c:v>0.25369491863085675</c:v>
                </c:pt>
                <c:pt idx="61">
                  <c:v>0.26335839430757868</c:v>
                </c:pt>
                <c:pt idx="62">
                  <c:v>0.24811366501794199</c:v>
                </c:pt>
                <c:pt idx="63">
                  <c:v>0.25331883600138116</c:v>
                </c:pt>
                <c:pt idx="64">
                  <c:v>0.27606841827999473</c:v>
                </c:pt>
                <c:pt idx="65">
                  <c:v>0.28160478817918266</c:v>
                </c:pt>
                <c:pt idx="66">
                  <c:v>0.29229782021117312</c:v>
                </c:pt>
                <c:pt idx="67">
                  <c:v>0.30127414335954045</c:v>
                </c:pt>
                <c:pt idx="68">
                  <c:v>0.30305886879569066</c:v>
                </c:pt>
                <c:pt idx="69">
                  <c:v>0.30492991022208221</c:v>
                </c:pt>
                <c:pt idx="70">
                  <c:v>0.30628978911194849</c:v>
                </c:pt>
                <c:pt idx="71">
                  <c:v>0.30507690665654685</c:v>
                </c:pt>
                <c:pt idx="72">
                  <c:v>0.30607670596048481</c:v>
                </c:pt>
                <c:pt idx="73">
                  <c:v>0.3116373241246056</c:v>
                </c:pt>
                <c:pt idx="74">
                  <c:v>0.31424842998124136</c:v>
                </c:pt>
                <c:pt idx="75">
                  <c:v>0.31320176754871626</c:v>
                </c:pt>
                <c:pt idx="76">
                  <c:v>0.31380953870863448</c:v>
                </c:pt>
                <c:pt idx="77">
                  <c:v>0.32590348409435188</c:v>
                </c:pt>
                <c:pt idx="78">
                  <c:v>0.33061711871301291</c:v>
                </c:pt>
                <c:pt idx="79">
                  <c:v>0.33376024237416513</c:v>
                </c:pt>
                <c:pt idx="80">
                  <c:v>0.334863282523373</c:v>
                </c:pt>
                <c:pt idx="81">
                  <c:v>0.33732775797715603</c:v>
                </c:pt>
                <c:pt idx="82">
                  <c:v>0.3340239432262419</c:v>
                </c:pt>
                <c:pt idx="83">
                  <c:v>0.32813911724353323</c:v>
                </c:pt>
                <c:pt idx="84">
                  <c:v>0.32451377453380215</c:v>
                </c:pt>
                <c:pt idx="85">
                  <c:v>0.3242920313313794</c:v>
                </c:pt>
                <c:pt idx="86">
                  <c:v>0.32834757834757833</c:v>
                </c:pt>
                <c:pt idx="87">
                  <c:v>0.33024565689467972</c:v>
                </c:pt>
                <c:pt idx="88">
                  <c:v>0.33047076978575868</c:v>
                </c:pt>
                <c:pt idx="89">
                  <c:v>0.32960364974033468</c:v>
                </c:pt>
                <c:pt idx="90">
                  <c:v>0.32877782475231143</c:v>
                </c:pt>
                <c:pt idx="91">
                  <c:v>0.33265505668454848</c:v>
                </c:pt>
                <c:pt idx="92">
                  <c:v>0.33383080669232584</c:v>
                </c:pt>
                <c:pt idx="93">
                  <c:v>0.33445095599479496</c:v>
                </c:pt>
                <c:pt idx="94">
                  <c:v>0.33425385899470356</c:v>
                </c:pt>
                <c:pt idx="95">
                  <c:v>0.33302358553829059</c:v>
                </c:pt>
                <c:pt idx="96">
                  <c:v>0.3331230702831911</c:v>
                </c:pt>
                <c:pt idx="97">
                  <c:v>0.33248279672509923</c:v>
                </c:pt>
                <c:pt idx="98">
                  <c:v>0.33184443040565192</c:v>
                </c:pt>
                <c:pt idx="99">
                  <c:v>0.31234357273380736</c:v>
                </c:pt>
                <c:pt idx="100">
                  <c:v>0.30123106937136429</c:v>
                </c:pt>
                <c:pt idx="101">
                  <c:v>0.30056872662328632</c:v>
                </c:pt>
              </c:numCache>
            </c:numRef>
          </c:xVal>
          <c:yVal>
            <c:numRef>
              <c:f>Sheet1!$B$2:$B$103</c:f>
              <c:numCache>
                <c:formatCode>General</c:formatCode>
                <c:ptCount val="102"/>
                <c:pt idx="0">
                  <c:v>3.1549194168607006E-2</c:v>
                </c:pt>
                <c:pt idx="1">
                  <c:v>2.5925076493376501E-2</c:v>
                </c:pt>
                <c:pt idx="2">
                  <c:v>1.9457371147598559E-2</c:v>
                </c:pt>
                <c:pt idx="3">
                  <c:v>2.1005226955186754E-2</c:v>
                </c:pt>
                <c:pt idx="4">
                  <c:v>2.3683174888924508E-2</c:v>
                </c:pt>
                <c:pt idx="5">
                  <c:v>2.4814911692122233E-2</c:v>
                </c:pt>
                <c:pt idx="6">
                  <c:v>2.2966901329024649E-2</c:v>
                </c:pt>
                <c:pt idx="7">
                  <c:v>2.1693356757167159E-2</c:v>
                </c:pt>
                <c:pt idx="8">
                  <c:v>2.508474647577718E-2</c:v>
                </c:pt>
                <c:pt idx="9">
                  <c:v>3.2219360006132694E-2</c:v>
                </c:pt>
                <c:pt idx="10">
                  <c:v>3.3455366889535383E-2</c:v>
                </c:pt>
                <c:pt idx="11">
                  <c:v>3.0774205038558523E-2</c:v>
                </c:pt>
                <c:pt idx="12">
                  <c:v>3.166311843777065E-2</c:v>
                </c:pt>
                <c:pt idx="13">
                  <c:v>2.9573633835338665E-2</c:v>
                </c:pt>
                <c:pt idx="14">
                  <c:v>2.9438294749618857E-2</c:v>
                </c:pt>
                <c:pt idx="15">
                  <c:v>3.2326555355538883E-2</c:v>
                </c:pt>
                <c:pt idx="16">
                  <c:v>3.0454183212358377E-2</c:v>
                </c:pt>
                <c:pt idx="17">
                  <c:v>3.0177244147381318E-2</c:v>
                </c:pt>
                <c:pt idx="18">
                  <c:v>3.0949579617420526E-2</c:v>
                </c:pt>
                <c:pt idx="19">
                  <c:v>3.3044676701229417E-2</c:v>
                </c:pt>
                <c:pt idx="20">
                  <c:v>3.4502368865567047E-2</c:v>
                </c:pt>
                <c:pt idx="21">
                  <c:v>3.8171203781773647E-2</c:v>
                </c:pt>
                <c:pt idx="22">
                  <c:v>3.2633840746857157E-2</c:v>
                </c:pt>
                <c:pt idx="23">
                  <c:v>3.22851825867847E-2</c:v>
                </c:pt>
                <c:pt idx="24">
                  <c:v>3.4293774474369265E-2</c:v>
                </c:pt>
                <c:pt idx="25">
                  <c:v>3.3493331489235549E-2</c:v>
                </c:pt>
                <c:pt idx="26">
                  <c:v>3.2256296982208908E-2</c:v>
                </c:pt>
                <c:pt idx="27">
                  <c:v>3.256327154323236E-2</c:v>
                </c:pt>
                <c:pt idx="28">
                  <c:v>3.0215972855570965E-2</c:v>
                </c:pt>
                <c:pt idx="29">
                  <c:v>2.971323515475446E-2</c:v>
                </c:pt>
                <c:pt idx="30">
                  <c:v>2.9886044202056927E-2</c:v>
                </c:pt>
                <c:pt idx="31">
                  <c:v>3.0113049153545669E-2</c:v>
                </c:pt>
                <c:pt idx="32">
                  <c:v>3.0121682992946059E-2</c:v>
                </c:pt>
                <c:pt idx="33">
                  <c:v>2.8704102443482309E-2</c:v>
                </c:pt>
                <c:pt idx="34">
                  <c:v>3.0602403901330309E-2</c:v>
                </c:pt>
                <c:pt idx="35">
                  <c:v>3.1456536502498786E-2</c:v>
                </c:pt>
                <c:pt idx="36">
                  <c:v>3.1516667937295108E-2</c:v>
                </c:pt>
                <c:pt idx="37">
                  <c:v>3.3226585884057164E-2</c:v>
                </c:pt>
                <c:pt idx="38">
                  <c:v>3.3016326225624587E-2</c:v>
                </c:pt>
                <c:pt idx="39">
                  <c:v>3.0075909553288729E-2</c:v>
                </c:pt>
                <c:pt idx="40">
                  <c:v>3.0308227143147046E-2</c:v>
                </c:pt>
                <c:pt idx="41">
                  <c:v>3.1273537834975489E-2</c:v>
                </c:pt>
                <c:pt idx="42">
                  <c:v>3.0059016900147784E-2</c:v>
                </c:pt>
                <c:pt idx="43">
                  <c:v>3.0573863083611635E-2</c:v>
                </c:pt>
                <c:pt idx="44">
                  <c:v>3.254448153409624E-2</c:v>
                </c:pt>
                <c:pt idx="45">
                  <c:v>3.2420025270644671E-2</c:v>
                </c:pt>
                <c:pt idx="46">
                  <c:v>3.0841270586476857E-2</c:v>
                </c:pt>
                <c:pt idx="47">
                  <c:v>3.4545476528939606E-2</c:v>
                </c:pt>
                <c:pt idx="48">
                  <c:v>3.9378011399146942E-2</c:v>
                </c:pt>
                <c:pt idx="49">
                  <c:v>3.4585845792310457E-2</c:v>
                </c:pt>
                <c:pt idx="50">
                  <c:v>3.6889295123608744E-2</c:v>
                </c:pt>
                <c:pt idx="51">
                  <c:v>3.516974061970235E-2</c:v>
                </c:pt>
                <c:pt idx="52">
                  <c:v>3.3440411726256954E-2</c:v>
                </c:pt>
                <c:pt idx="53">
                  <c:v>3.0775515895011849E-2</c:v>
                </c:pt>
                <c:pt idx="54">
                  <c:v>2.856172806220978E-2</c:v>
                </c:pt>
                <c:pt idx="55">
                  <c:v>2.9260191711765828E-2</c:v>
                </c:pt>
                <c:pt idx="56">
                  <c:v>3.1178692703543048E-2</c:v>
                </c:pt>
                <c:pt idx="57">
                  <c:v>3.7031471681131703E-2</c:v>
                </c:pt>
                <c:pt idx="58">
                  <c:v>3.9909501581123753E-2</c:v>
                </c:pt>
                <c:pt idx="59">
                  <c:v>3.3090443177845791E-2</c:v>
                </c:pt>
                <c:pt idx="60">
                  <c:v>2.0429936026239697E-2</c:v>
                </c:pt>
                <c:pt idx="61">
                  <c:v>1.5942339180034886E-2</c:v>
                </c:pt>
                <c:pt idx="62">
                  <c:v>2.6561543645322632E-2</c:v>
                </c:pt>
                <c:pt idx="63">
                  <c:v>3.5068893654044385E-2</c:v>
                </c:pt>
                <c:pt idx="64">
                  <c:v>3.0967228847484717E-2</c:v>
                </c:pt>
                <c:pt idx="65">
                  <c:v>2.6027056162994167E-2</c:v>
                </c:pt>
                <c:pt idx="66">
                  <c:v>2.5871503741223587E-2</c:v>
                </c:pt>
                <c:pt idx="67">
                  <c:v>2.691260699372984E-2</c:v>
                </c:pt>
                <c:pt idx="68">
                  <c:v>2.5874418970458959E-2</c:v>
                </c:pt>
                <c:pt idx="69">
                  <c:v>2.3193315376484971E-2</c:v>
                </c:pt>
                <c:pt idx="70">
                  <c:v>2.2686657383630057E-2</c:v>
                </c:pt>
                <c:pt idx="71">
                  <c:v>2.6189284143623485E-2</c:v>
                </c:pt>
                <c:pt idx="72">
                  <c:v>2.7336338114147821E-2</c:v>
                </c:pt>
                <c:pt idx="73">
                  <c:v>2.7740990571672709E-2</c:v>
                </c:pt>
                <c:pt idx="74">
                  <c:v>2.8775273119844166E-2</c:v>
                </c:pt>
                <c:pt idx="75">
                  <c:v>2.8510329318482425E-2</c:v>
                </c:pt>
                <c:pt idx="76">
                  <c:v>2.7909474603405617E-2</c:v>
                </c:pt>
                <c:pt idx="77">
                  <c:v>2.354699792786898E-2</c:v>
                </c:pt>
                <c:pt idx="78">
                  <c:v>2.3516397046911525E-2</c:v>
                </c:pt>
                <c:pt idx="79">
                  <c:v>2.2115174941799768E-2</c:v>
                </c:pt>
                <c:pt idx="80">
                  <c:v>2.2268202762568419E-2</c:v>
                </c:pt>
                <c:pt idx="81">
                  <c:v>2.1244426266941792E-2</c:v>
                </c:pt>
                <c:pt idx="82">
                  <c:v>3.1177386289303839E-2</c:v>
                </c:pt>
                <c:pt idx="83">
                  <c:v>2.6306476866990773E-2</c:v>
                </c:pt>
                <c:pt idx="84">
                  <c:v>2.5524833007679375E-2</c:v>
                </c:pt>
                <c:pt idx="85">
                  <c:v>2.6871534411513368E-2</c:v>
                </c:pt>
                <c:pt idx="86">
                  <c:v>2.6338851413823878E-2</c:v>
                </c:pt>
                <c:pt idx="87">
                  <c:v>2.4648701089615546E-2</c:v>
                </c:pt>
                <c:pt idx="88">
                  <c:v>2.6238033764437702E-2</c:v>
                </c:pt>
                <c:pt idx="89">
                  <c:v>3.0191859532939729E-2</c:v>
                </c:pt>
                <c:pt idx="90">
                  <c:v>3.0716851696320817E-2</c:v>
                </c:pt>
                <c:pt idx="91">
                  <c:v>3.1790352756617284E-2</c:v>
                </c:pt>
                <c:pt idx="92">
                  <c:v>2.9789485452214992E-2</c:v>
                </c:pt>
                <c:pt idx="93">
                  <c:v>2.7419432969366012E-2</c:v>
                </c:pt>
                <c:pt idx="94">
                  <c:v>2.5375304588112154E-2</c:v>
                </c:pt>
                <c:pt idx="95">
                  <c:v>2.7271435244645044E-2</c:v>
                </c:pt>
                <c:pt idx="96">
                  <c:v>2.4300725205733124E-2</c:v>
                </c:pt>
                <c:pt idx="97">
                  <c:v>2.5953063658202231E-2</c:v>
                </c:pt>
                <c:pt idx="98">
                  <c:v>2.870484051773789E-2</c:v>
                </c:pt>
                <c:pt idx="99">
                  <c:v>3.0161179689259059E-2</c:v>
                </c:pt>
                <c:pt idx="100">
                  <c:v>3.7558407981539428E-2</c:v>
                </c:pt>
                <c:pt idx="101">
                  <c:v>3.5796970668813106E-2</c:v>
                </c:pt>
              </c:numCache>
            </c:numRef>
          </c:yVal>
          <c:smooth val="0"/>
          <c:extLst>
            <c:ext xmlns:c16="http://schemas.microsoft.com/office/drawing/2014/chart" uri="{C3380CC4-5D6E-409C-BE32-E72D297353CC}">
              <c16:uniqueId val="{00000000-F32D-48B7-BC20-E66FC6253BAD}"/>
            </c:ext>
          </c:extLst>
        </c:ser>
        <c:ser>
          <c:idx val="1"/>
          <c:order val="1"/>
          <c:tx>
            <c:strRef>
              <c:f>Sheet1!$B$10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6:$A$157</c:f>
              <c:numCache>
                <c:formatCode>General</c:formatCode>
                <c:ptCount val="52"/>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numCache>
            </c:numRef>
          </c:xVal>
          <c:yVal>
            <c:numRef>
              <c:f>Sheet1!$B$106:$B$157</c:f>
              <c:numCache>
                <c:formatCode>General</c:formatCode>
                <c:ptCount val="52"/>
                <c:pt idx="0">
                  <c:v>3.3379430772150658E-2</c:v>
                </c:pt>
                <c:pt idx="1">
                  <c:v>3.5297770608354727E-2</c:v>
                </c:pt>
                <c:pt idx="2">
                  <c:v>3.603152077608085E-2</c:v>
                </c:pt>
                <c:pt idx="3">
                  <c:v>3.0978674639028675E-2</c:v>
                </c:pt>
                <c:pt idx="4">
                  <c:v>2.8133515753956471E-2</c:v>
                </c:pt>
                <c:pt idx="5">
                  <c:v>2.7512069607189618E-2</c:v>
                </c:pt>
                <c:pt idx="6">
                  <c:v>2.7535908601076187E-2</c:v>
                </c:pt>
                <c:pt idx="7">
                  <c:v>2.7306049137985969E-2</c:v>
                </c:pt>
                <c:pt idx="8">
                  <c:v>2.6838607545871734E-2</c:v>
                </c:pt>
                <c:pt idx="9">
                  <c:v>2.8577136215520643E-2</c:v>
                </c:pt>
                <c:pt idx="10">
                  <c:v>2.9045708307140341E-2</c:v>
                </c:pt>
                <c:pt idx="11">
                  <c:v>3.0151694267354034E-2</c:v>
                </c:pt>
                <c:pt idx="12">
                  <c:v>3.1278274774940926E-2</c:v>
                </c:pt>
                <c:pt idx="13">
                  <c:v>3.2623144271831599E-2</c:v>
                </c:pt>
                <c:pt idx="14">
                  <c:v>3.2081452766552027E-2</c:v>
                </c:pt>
                <c:pt idx="15">
                  <c:v>2.8476513020004538E-2</c:v>
                </c:pt>
                <c:pt idx="16">
                  <c:v>2.8897929262062423E-2</c:v>
                </c:pt>
                <c:pt idx="17">
                  <c:v>2.8572345272906727E-2</c:v>
                </c:pt>
                <c:pt idx="18">
                  <c:v>2.7582157287634194E-2</c:v>
                </c:pt>
                <c:pt idx="19">
                  <c:v>2.6684207925807661E-2</c:v>
                </c:pt>
                <c:pt idx="20">
                  <c:v>2.5074098168638374E-2</c:v>
                </c:pt>
                <c:pt idx="21">
                  <c:v>3.7053775555914395E-2</c:v>
                </c:pt>
                <c:pt idx="22">
                  <c:v>4.1201839145334811E-2</c:v>
                </c:pt>
                <c:pt idx="23">
                  <c:v>3.952108516249337E-2</c:v>
                </c:pt>
                <c:pt idx="24">
                  <c:v>3.301132678213544E-2</c:v>
                </c:pt>
                <c:pt idx="25">
                  <c:v>3.4672282379825628E-2</c:v>
                </c:pt>
                <c:pt idx="26">
                  <c:v>3.6478521099227869E-2</c:v>
                </c:pt>
                <c:pt idx="27">
                  <c:v>3.1719960612283417E-2</c:v>
                </c:pt>
                <c:pt idx="28">
                  <c:v>2.9844699099281863E-2</c:v>
                </c:pt>
                <c:pt idx="29">
                  <c:v>2.8247037929351546E-2</c:v>
                </c:pt>
                <c:pt idx="30">
                  <c:v>2.3926861689124793E-2</c:v>
                </c:pt>
                <c:pt idx="31">
                  <c:v>2.0770671408149036E-2</c:v>
                </c:pt>
                <c:pt idx="32">
                  <c:v>2.3460558709885785E-2</c:v>
                </c:pt>
                <c:pt idx="33">
                  <c:v>3.0427962862070307E-2</c:v>
                </c:pt>
                <c:pt idx="34">
                  <c:v>3.1037706913624008E-2</c:v>
                </c:pt>
                <c:pt idx="35">
                  <c:v>2.928997264422914E-2</c:v>
                </c:pt>
                <c:pt idx="36">
                  <c:v>2.9697936908540855E-2</c:v>
                </c:pt>
                <c:pt idx="37">
                  <c:v>3.0248130900335804E-2</c:v>
                </c:pt>
                <c:pt idx="38">
                  <c:v>3.5070387750061743E-2</c:v>
                </c:pt>
                <c:pt idx="39">
                  <c:v>3.1208337770205517E-2</c:v>
                </c:pt>
                <c:pt idx="40">
                  <c:v>2.6826790166755026E-2</c:v>
                </c:pt>
                <c:pt idx="41">
                  <c:v>2.4203784771293646E-2</c:v>
                </c:pt>
                <c:pt idx="42">
                  <c:v>2.4098053977022377E-2</c:v>
                </c:pt>
                <c:pt idx="43">
                  <c:v>2.4523754132153155E-2</c:v>
                </c:pt>
                <c:pt idx="44">
                  <c:v>2.2379504666963371E-2</c:v>
                </c:pt>
                <c:pt idx="45">
                  <c:v>2.104065524243157E-2</c:v>
                </c:pt>
                <c:pt idx="46">
                  <c:v>2.2028240128902143E-2</c:v>
                </c:pt>
                <c:pt idx="47">
                  <c:v>2.3321641522021073E-2</c:v>
                </c:pt>
                <c:pt idx="48">
                  <c:v>2.5721900660138006E-2</c:v>
                </c:pt>
                <c:pt idx="49">
                  <c:v>2.4967370312040958E-2</c:v>
                </c:pt>
                <c:pt idx="50">
                  <c:v>2.6033359791458374E-2</c:v>
                </c:pt>
                <c:pt idx="51">
                  <c:v>2.5702227757022279E-2</c:v>
                </c:pt>
              </c:numCache>
            </c:numRef>
          </c:yVal>
          <c:smooth val="0"/>
          <c:extLst>
            <c:ext xmlns:c16="http://schemas.microsoft.com/office/drawing/2014/chart" uri="{C3380CC4-5D6E-409C-BE32-E72D297353CC}">
              <c16:uniqueId val="{00000002-F32D-48B7-BC20-E66FC6253BAD}"/>
            </c:ext>
          </c:extLst>
        </c:ser>
        <c:ser>
          <c:idx val="2"/>
          <c:order val="2"/>
          <c:tx>
            <c:strRef>
              <c:f>Sheet1!$B$159</c:f>
              <c:strCache>
                <c:ptCount val="1"/>
                <c:pt idx="0">
                  <c:v>Custom Linep3yQ</c:v>
                </c:pt>
              </c:strCache>
            </c:strRef>
          </c:tx>
          <c:spPr>
            <a:ln w="19050" cap="rnd">
              <a:solidFill>
                <a:srgbClr val="C00000"/>
              </a:solidFill>
              <a:prstDash val="sysDot"/>
              <a:round/>
            </a:ln>
            <a:effectLst/>
          </c:spPr>
          <c:marker>
            <c:symbol val="none"/>
          </c:marker>
          <c:xVal>
            <c:numRef>
              <c:f>Sheet1!$A$160:$A$161</c:f>
              <c:numCache>
                <c:formatCode>General</c:formatCode>
                <c:ptCount val="2"/>
                <c:pt idx="0">
                  <c:v>0</c:v>
                </c:pt>
                <c:pt idx="1">
                  <c:v>0.27575744047645689</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3-F32D-48B7-BC20-E66FC6253BAD}"/>
            </c:ext>
          </c:extLst>
        </c:ser>
        <c:ser>
          <c:idx val="3"/>
          <c:order val="3"/>
          <c:tx>
            <c:strRef>
              <c:f>Sheet1!$B$16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0.27575744047645689</c:v>
                </c:pt>
                <c:pt idx="1">
                  <c:v>0.27575744047645689</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8:$A$169</c:f>
              <c:numCache>
                <c:formatCode>General</c:formatCode>
                <c:ptCount val="2"/>
                <c:pt idx="0">
                  <c:v>0</c:v>
                </c:pt>
                <c:pt idx="1">
                  <c:v>0.28987004975079905</c:v>
                </c:pt>
              </c:numCache>
            </c:numRef>
          </c:xVal>
          <c:yVal>
            <c:numRef>
              <c:f>Sheet1!$B$168:$B$169</c:f>
              <c:numCache>
                <c:formatCode>General</c:formatCode>
                <c:ptCount val="2"/>
                <c:pt idx="0">
                  <c:v>3.1101577984060606E-2</c:v>
                </c:pt>
                <c:pt idx="1">
                  <c:v>3.1101577984060606E-2</c:v>
                </c:pt>
              </c:numCache>
            </c:numRef>
          </c:yVal>
          <c:smooth val="0"/>
          <c:extLst>
            <c:ext xmlns:c16="http://schemas.microsoft.com/office/drawing/2014/chart" uri="{C3380CC4-5D6E-409C-BE32-E72D297353CC}">
              <c16:uniqueId val="{0000000A-F32D-48B7-BC20-E66FC6253BAD}"/>
            </c:ext>
          </c:extLst>
        </c:ser>
        <c:ser>
          <c:idx val="5"/>
          <c:order val="5"/>
          <c:tx>
            <c:strRef>
              <c:f>Sheet1!$B$17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0.28987004975079905</c:v>
                </c:pt>
                <c:pt idx="1">
                  <c:v>0.28987004975079905</c:v>
                </c:pt>
              </c:numCache>
            </c:numRef>
          </c:xVal>
          <c:yVal>
            <c:numRef>
              <c:f>Sheet1!$B$172:$B$173</c:f>
              <c:numCache>
                <c:formatCode>General</c:formatCode>
                <c:ptCount val="2"/>
                <c:pt idx="0">
                  <c:v>3.1101577984060606E-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6:$A$177</c:f>
              <c:numCache>
                <c:formatCode>General</c:formatCode>
                <c:ptCount val="2"/>
                <c:pt idx="0">
                  <c:v>0</c:v>
                </c:pt>
                <c:pt idx="1">
                  <c:v>0.32888493428125432</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1-F32D-48B7-BC20-E66FC6253BAD}"/>
            </c:ext>
          </c:extLst>
        </c:ser>
        <c:ser>
          <c:idx val="7"/>
          <c:order val="7"/>
          <c:tx>
            <c:strRef>
              <c:f>Sheet1!$B$17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0:$A$181</c:f>
              <c:numCache>
                <c:formatCode>General</c:formatCode>
                <c:ptCount val="2"/>
                <c:pt idx="0">
                  <c:v>0.32888493428125432</c:v>
                </c:pt>
                <c:pt idx="1">
                  <c:v>0.32888493428125432</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4:$A$238</c:f>
              <c:numCache>
                <c:formatCode>General</c:formatCode>
                <c:ptCount val="55"/>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pt idx="52">
                  <c:v>0.28987004975079905</c:v>
                </c:pt>
                <c:pt idx="53">
                  <c:v>0.27575744047645689</c:v>
                </c:pt>
                <c:pt idx="54">
                  <c:v>0.32888493428125432</c:v>
                </c:pt>
              </c:numCache>
            </c:numRef>
          </c:xVal>
          <c:yVal>
            <c:numRef>
              <c:f>Sheet1!$B$184:$B$238</c:f>
              <c:numCache>
                <c:formatCode>General</c:formatCode>
                <c:ptCount val="55"/>
                <c:pt idx="0">
                  <c:v>2.9413873016704839E-2</c:v>
                </c:pt>
                <c:pt idx="1">
                  <c:v>2.9896344890080709E-2</c:v>
                </c:pt>
                <c:pt idx="2">
                  <c:v>3.0155656486461964E-2</c:v>
                </c:pt>
                <c:pt idx="3">
                  <c:v>2.7109900331363727E-2</c:v>
                </c:pt>
                <c:pt idx="4">
                  <c:v>2.4371775225560388E-2</c:v>
                </c:pt>
                <c:pt idx="5">
                  <c:v>2.4094268404047922E-2</c:v>
                </c:pt>
                <c:pt idx="6">
                  <c:v>2.4322183284519114E-2</c:v>
                </c:pt>
                <c:pt idx="7">
                  <c:v>2.5263903460272262E-2</c:v>
                </c:pt>
                <c:pt idx="8">
                  <c:v>2.7533717749061021E-2</c:v>
                </c:pt>
                <c:pt idx="9">
                  <c:v>2.9136059572005948E-2</c:v>
                </c:pt>
                <c:pt idx="10">
                  <c:v>2.8439725189245424E-2</c:v>
                </c:pt>
                <c:pt idx="11">
                  <c:v>2.8481575446516888E-2</c:v>
                </c:pt>
                <c:pt idx="12">
                  <c:v>3.0108594349578348E-2</c:v>
                </c:pt>
                <c:pt idx="13">
                  <c:v>3.169054387055209E-2</c:v>
                </c:pt>
                <c:pt idx="14">
                  <c:v>3.1465934595702259E-2</c:v>
                </c:pt>
                <c:pt idx="15">
                  <c:v>3.1477667841337743E-2</c:v>
                </c:pt>
                <c:pt idx="16">
                  <c:v>3.1573121681829512E-2</c:v>
                </c:pt>
                <c:pt idx="17">
                  <c:v>3.1532924296196564E-2</c:v>
                </c:pt>
                <c:pt idx="18">
                  <c:v>3.0515660900336583E-2</c:v>
                </c:pt>
                <c:pt idx="19">
                  <c:v>3.0211789143868836E-2</c:v>
                </c:pt>
                <c:pt idx="20">
                  <c:v>2.8955614795748236E-2</c:v>
                </c:pt>
                <c:pt idx="21">
                  <c:v>3.2772131418724967E-2</c:v>
                </c:pt>
                <c:pt idx="22">
                  <c:v>3.3542665870490845E-2</c:v>
                </c:pt>
                <c:pt idx="23">
                  <c:v>3.3435184307609174E-2</c:v>
                </c:pt>
                <c:pt idx="24">
                  <c:v>3.268271460365052E-2</c:v>
                </c:pt>
                <c:pt idx="25">
                  <c:v>3.3870059534782497E-2</c:v>
                </c:pt>
                <c:pt idx="26">
                  <c:v>3.3073079926514877E-2</c:v>
                </c:pt>
                <c:pt idx="27">
                  <c:v>3.1808643842456727E-2</c:v>
                </c:pt>
                <c:pt idx="28">
                  <c:v>3.0502176751221188E-2</c:v>
                </c:pt>
                <c:pt idx="29">
                  <c:v>2.7906678470255915E-2</c:v>
                </c:pt>
                <c:pt idx="30">
                  <c:v>2.5033266393526828E-2</c:v>
                </c:pt>
                <c:pt idx="31">
                  <c:v>2.630903103630991E-2</c:v>
                </c:pt>
                <c:pt idx="32">
                  <c:v>2.8693045313762239E-2</c:v>
                </c:pt>
                <c:pt idx="33">
                  <c:v>3.2596808075387743E-2</c:v>
                </c:pt>
                <c:pt idx="34">
                  <c:v>3.3462836223474769E-2</c:v>
                </c:pt>
                <c:pt idx="35">
                  <c:v>3.1780988069129081E-2</c:v>
                </c:pt>
                <c:pt idx="36">
                  <c:v>3.2997078119396075E-2</c:v>
                </c:pt>
                <c:pt idx="37">
                  <c:v>3.4241810296995578E-2</c:v>
                </c:pt>
                <c:pt idx="38">
                  <c:v>3.5259393566231922E-2</c:v>
                </c:pt>
                <c:pt idx="39">
                  <c:v>3.2524924643797831E-2</c:v>
                </c:pt>
                <c:pt idx="40">
                  <c:v>2.8308242375685959E-2</c:v>
                </c:pt>
                <c:pt idx="41">
                  <c:v>2.54404048951909E-2</c:v>
                </c:pt>
                <c:pt idx="42">
                  <c:v>2.3287513921568817E-2</c:v>
                </c:pt>
                <c:pt idx="43">
                  <c:v>2.3365554652546534E-2</c:v>
                </c:pt>
                <c:pt idx="44">
                  <c:v>2.3054756675168077E-2</c:v>
                </c:pt>
                <c:pt idx="45">
                  <c:v>2.3566114628330095E-2</c:v>
                </c:pt>
                <c:pt idx="46">
                  <c:v>2.5888630394799238E-2</c:v>
                </c:pt>
                <c:pt idx="47">
                  <c:v>2.6265547596405793E-2</c:v>
                </c:pt>
                <c:pt idx="48">
                  <c:v>2.7412822111043234E-2</c:v>
                </c:pt>
                <c:pt idx="49">
                  <c:v>2.5962622488181153E-2</c:v>
                </c:pt>
                <c:pt idx="50">
                  <c:v>2.4525712064247307E-2</c:v>
                </c:pt>
                <c:pt idx="51">
                  <c:v>2.4473274634488791E-2</c:v>
                </c:pt>
                <c:pt idx="52">
                  <c:v>3.1101577984060602E-2</c:v>
                </c:pt>
                <c:pt idx="53">
                  <c:v>3.3390590546211449E-2</c:v>
                </c:pt>
                <c:pt idx="54">
                  <c:v>2.4773509299877497E-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40737801608579088"/>
          <c:min val="0.18705920295984374"/>
        </c:scaling>
        <c:delete val="0"/>
        <c:axPos val="b"/>
        <c:title>
          <c:tx>
            <c:rich>
              <a:bodyPr rot="0" spcFirstLastPara="1" vertOverflow="ellipsis" vert="horz" wrap="square" anchor="ctr" anchorCtr="1"/>
              <a:lstStyle/>
              <a:p>
                <a:pPr>
                  <a:defRPr sz="800" b="0">
                    <a:latin typeface="Nexa Bold"/>
                  </a:defRPr>
                </a:pPr>
                <a:r>
                  <a:rPr lang="en-US"/>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1291069944164441</c:v>
                </c:pt>
                <c:pt idx="1">
                  <c:v>0.13485892486555889</c:v>
                </c:pt>
                <c:pt idx="2">
                  <c:v>0.13361697278764331</c:v>
                </c:pt>
                <c:pt idx="3">
                  <c:v>0.13181455947245191</c:v>
                </c:pt>
                <c:pt idx="4">
                  <c:v>0.13079849733141291</c:v>
                </c:pt>
                <c:pt idx="5">
                  <c:v>0.12786527339341361</c:v>
                </c:pt>
                <c:pt idx="6">
                  <c:v>0.13389772495720559</c:v>
                </c:pt>
                <c:pt idx="7">
                  <c:v>0.1359519354250221</c:v>
                </c:pt>
                <c:pt idx="8">
                  <c:v>0.13408395448492219</c:v>
                </c:pt>
                <c:pt idx="9">
                  <c:v>0.1272173036352085</c:v>
                </c:pt>
                <c:pt idx="10">
                  <c:v>0.12580154817273331</c:v>
                </c:pt>
                <c:pt idx="11">
                  <c:v>0.1247833670603628</c:v>
                </c:pt>
                <c:pt idx="12">
                  <c:v>0.12616612542700109</c:v>
                </c:pt>
                <c:pt idx="13">
                  <c:v>0.13426073846412021</c:v>
                </c:pt>
                <c:pt idx="14">
                  <c:v>0.13040345544745011</c:v>
                </c:pt>
                <c:pt idx="15">
                  <c:v>0.12568196098787579</c:v>
                </c:pt>
                <c:pt idx="16">
                  <c:v>0.1284543866213313</c:v>
                </c:pt>
                <c:pt idx="17">
                  <c:v>0.13252000199740169</c:v>
                </c:pt>
                <c:pt idx="18">
                  <c:v>0.12612196270786419</c:v>
                </c:pt>
                <c:pt idx="19">
                  <c:v>0.13496886950214251</c:v>
                </c:pt>
                <c:pt idx="20">
                  <c:v>0.13064933940560819</c:v>
                </c:pt>
                <c:pt idx="21">
                  <c:v>0.12635635491031241</c:v>
                </c:pt>
                <c:pt idx="22">
                  <c:v>0.12863609693980929</c:v>
                </c:pt>
                <c:pt idx="23">
                  <c:v>0.13116494310893009</c:v>
                </c:pt>
                <c:pt idx="24">
                  <c:v>0.1278058186678292</c:v>
                </c:pt>
                <c:pt idx="25">
                  <c:v>0.1235932293079324</c:v>
                </c:pt>
                <c:pt idx="26">
                  <c:v>0.12290934252239009</c:v>
                </c:pt>
                <c:pt idx="27">
                  <c:v>0.12109503765009599</c:v>
                </c:pt>
                <c:pt idx="28">
                  <c:v>0.12207135397276341</c:v>
                </c:pt>
                <c:pt idx="29">
                  <c:v>0.1263122981136704</c:v>
                </c:pt>
                <c:pt idx="30">
                  <c:v>0.1263263635992006</c:v>
                </c:pt>
                <c:pt idx="31">
                  <c:v>0.12476889875077329</c:v>
                </c:pt>
                <c:pt idx="32">
                  <c:v>0.12674353123399981</c:v>
                </c:pt>
                <c:pt idx="33">
                  <c:v>0.12588695742723971</c:v>
                </c:pt>
                <c:pt idx="34">
                  <c:v>0.12390000002667199</c:v>
                </c:pt>
                <c:pt idx="35">
                  <c:v>0.12440850519118039</c:v>
                </c:pt>
                <c:pt idx="36">
                  <c:v>0.12336288941275771</c:v>
                </c:pt>
                <c:pt idx="37">
                  <c:v>0.1236579395008299</c:v>
                </c:pt>
                <c:pt idx="38">
                  <c:v>0.1244360084590832</c:v>
                </c:pt>
                <c:pt idx="39">
                  <c:v>0.12224083915887329</c:v>
                </c:pt>
                <c:pt idx="40">
                  <c:v>0.1219327444047168</c:v>
                </c:pt>
                <c:pt idx="41">
                  <c:v>0.1250560323566518</c:v>
                </c:pt>
                <c:pt idx="42">
                  <c:v>0.12745512740440279</c:v>
                </c:pt>
                <c:pt idx="43">
                  <c:v>0.1211984894858895</c:v>
                </c:pt>
                <c:pt idx="44">
                  <c:v>0.1258670226690102</c:v>
                </c:pt>
                <c:pt idx="45">
                  <c:v>0.1272339848348821</c:v>
                </c:pt>
                <c:pt idx="46">
                  <c:v>0.13490346412193621</c:v>
                </c:pt>
                <c:pt idx="47">
                  <c:v>0.1232399985423943</c:v>
                </c:pt>
                <c:pt idx="48">
                  <c:v>0.12311641114157899</c:v>
                </c:pt>
                <c:pt idx="49">
                  <c:v>0.1234350759255986</c:v>
                </c:pt>
                <c:pt idx="50">
                  <c:v>0.12419744604278141</c:v>
                </c:pt>
                <c:pt idx="51">
                  <c:v>0.13145508336915421</c:v>
                </c:pt>
                <c:pt idx="52">
                  <c:v>0.13109930113357529</c:v>
                </c:pt>
                <c:pt idx="53">
                  <c:v>0.13568928560863899</c:v>
                </c:pt>
                <c:pt idx="54">
                  <c:v>0.1285210371531505</c:v>
                </c:pt>
                <c:pt idx="55">
                  <c:v>0.1300753516373136</c:v>
                </c:pt>
                <c:pt idx="56">
                  <c:v>0.12489749950473671</c:v>
                </c:pt>
                <c:pt idx="57">
                  <c:v>0.10266521645136149</c:v>
                </c:pt>
                <c:pt idx="58">
                  <c:v>9.4621929093130358E-2</c:v>
                </c:pt>
                <c:pt idx="59">
                  <c:v>9.8212612965823731E-2</c:v>
                </c:pt>
                <c:pt idx="60">
                  <c:v>0.1102654339127445</c:v>
                </c:pt>
                <c:pt idx="61">
                  <c:v>0.1086326326560431</c:v>
                </c:pt>
                <c:pt idx="62">
                  <c:v>0.10273100071317991</c:v>
                </c:pt>
                <c:pt idx="63">
                  <c:v>0.1056131313298932</c:v>
                </c:pt>
                <c:pt idx="64">
                  <c:v>0.116037952360732</c:v>
                </c:pt>
                <c:pt idx="65">
                  <c:v>0.13065683342069531</c:v>
                </c:pt>
                <c:pt idx="66">
                  <c:v>0.132712182958446</c:v>
                </c:pt>
                <c:pt idx="67">
                  <c:v>0.12498087731066</c:v>
                </c:pt>
                <c:pt idx="68">
                  <c:v>0.1318623648264734</c:v>
                </c:pt>
                <c:pt idx="69">
                  <c:v>0.13405085209231629</c:v>
                </c:pt>
                <c:pt idx="70">
                  <c:v>0.12663942767242409</c:v>
                </c:pt>
                <c:pt idx="71">
                  <c:v>0.13715997078444109</c:v>
                </c:pt>
                <c:pt idx="72">
                  <c:v>0.1312699287114284</c:v>
                </c:pt>
                <c:pt idx="73">
                  <c:v>0.1290474255800157</c:v>
                </c:pt>
                <c:pt idx="74">
                  <c:v>0.12976627424972709</c:v>
                </c:pt>
                <c:pt idx="75">
                  <c:v>0.12686829869724861</c:v>
                </c:pt>
                <c:pt idx="76">
                  <c:v>0.1253623579280761</c:v>
                </c:pt>
                <c:pt idx="77">
                  <c:v>0.12968156222074531</c:v>
                </c:pt>
                <c:pt idx="78">
                  <c:v>0.12750329032649099</c:v>
                </c:pt>
                <c:pt idx="79">
                  <c:v>0.12461050546445129</c:v>
                </c:pt>
                <c:pt idx="80">
                  <c:v>0.12900335189603049</c:v>
                </c:pt>
                <c:pt idx="81">
                  <c:v>0.12741746962889991</c:v>
                </c:pt>
                <c:pt idx="82">
                  <c:v>0.1227246355993528</c:v>
                </c:pt>
                <c:pt idx="83">
                  <c:v>0.12325497363003669</c:v>
                </c:pt>
                <c:pt idx="84">
                  <c:v>0.1237777050026681</c:v>
                </c:pt>
                <c:pt idx="85">
                  <c:v>0.1227618684932686</c:v>
                </c:pt>
                <c:pt idx="86">
                  <c:v>0.12625273778634091</c:v>
                </c:pt>
                <c:pt idx="87">
                  <c:v>0.12848401925218161</c:v>
                </c:pt>
                <c:pt idx="88">
                  <c:v>0.12808991008793849</c:v>
                </c:pt>
                <c:pt idx="89">
                  <c:v>0.12669599383578639</c:v>
                </c:pt>
                <c:pt idx="90">
                  <c:v>0.128457244567205</c:v>
                </c:pt>
                <c:pt idx="91">
                  <c:v>0.1287495738807907</c:v>
                </c:pt>
                <c:pt idx="92">
                  <c:v>0.12753778198649329</c:v>
                </c:pt>
                <c:pt idx="93">
                  <c:v>0.12858384689357691</c:v>
                </c:pt>
                <c:pt idx="94">
                  <c:v>0.13053873342212541</c:v>
                </c:pt>
                <c:pt idx="95">
                  <c:v>0.1283681251237693</c:v>
                </c:pt>
                <c:pt idx="96">
                  <c:v>0.12712219330013799</c:v>
                </c:pt>
                <c:pt idx="97">
                  <c:v>0.12537888942730019</c:v>
                </c:pt>
                <c:pt idx="98">
                  <c:v>0.12745921704595151</c:v>
                </c:pt>
                <c:pt idx="99">
                  <c:v>0.1212266665697815</c:v>
                </c:pt>
                <c:pt idx="100">
                  <c:v>0.1141728668578047</c:v>
                </c:pt>
                <c:pt idx="101">
                  <c:v>0.115957494325048</c:v>
                </c:pt>
              </c:numCache>
            </c:numRef>
          </c:xVal>
          <c:yVal>
            <c:numRef>
              <c:f>Sheet1!$B$2:$B$103</c:f>
              <c:numCache>
                <c:formatCode>General</c:formatCode>
                <c:ptCount val="102"/>
                <c:pt idx="0">
                  <c:v>3.1549194168607013E-2</c:v>
                </c:pt>
                <c:pt idx="1">
                  <c:v>2.5925076493376501E-2</c:v>
                </c:pt>
                <c:pt idx="2">
                  <c:v>1.9457371147598559E-2</c:v>
                </c:pt>
                <c:pt idx="3">
                  <c:v>2.1005226955186751E-2</c:v>
                </c:pt>
                <c:pt idx="4">
                  <c:v>2.3683174888924512E-2</c:v>
                </c:pt>
                <c:pt idx="5">
                  <c:v>2.481491169212223E-2</c:v>
                </c:pt>
                <c:pt idx="6">
                  <c:v>2.2966901329024649E-2</c:v>
                </c:pt>
                <c:pt idx="7">
                  <c:v>2.1693356757167159E-2</c:v>
                </c:pt>
                <c:pt idx="8">
                  <c:v>2.508474647577718E-2</c:v>
                </c:pt>
                <c:pt idx="9">
                  <c:v>3.2219360006132687E-2</c:v>
                </c:pt>
                <c:pt idx="10">
                  <c:v>3.3455366889535383E-2</c:v>
                </c:pt>
                <c:pt idx="11">
                  <c:v>3.077420503855852E-2</c:v>
                </c:pt>
                <c:pt idx="12">
                  <c:v>3.166311843777065E-2</c:v>
                </c:pt>
                <c:pt idx="13">
                  <c:v>2.9573633835338661E-2</c:v>
                </c:pt>
                <c:pt idx="14">
                  <c:v>2.943829474961886E-2</c:v>
                </c:pt>
                <c:pt idx="15">
                  <c:v>3.2326555355538883E-2</c:v>
                </c:pt>
                <c:pt idx="16">
                  <c:v>3.045418321235838E-2</c:v>
                </c:pt>
                <c:pt idx="17">
                  <c:v>3.0177244147381321E-2</c:v>
                </c:pt>
                <c:pt idx="18">
                  <c:v>3.0949579617420529E-2</c:v>
                </c:pt>
                <c:pt idx="19">
                  <c:v>3.3044676701229417E-2</c:v>
                </c:pt>
                <c:pt idx="20">
                  <c:v>3.4502368865567047E-2</c:v>
                </c:pt>
                <c:pt idx="21">
                  <c:v>3.8171203781773647E-2</c:v>
                </c:pt>
                <c:pt idx="22">
                  <c:v>3.2633840746857157E-2</c:v>
                </c:pt>
                <c:pt idx="23">
                  <c:v>3.22851825867847E-2</c:v>
                </c:pt>
                <c:pt idx="24">
                  <c:v>3.4293774474369272E-2</c:v>
                </c:pt>
                <c:pt idx="25">
                  <c:v>3.3493331489235549E-2</c:v>
                </c:pt>
                <c:pt idx="26">
                  <c:v>3.2256296982208908E-2</c:v>
                </c:pt>
                <c:pt idx="27">
                  <c:v>3.256327154323236E-2</c:v>
                </c:pt>
                <c:pt idx="28">
                  <c:v>3.0215972855570969E-2</c:v>
                </c:pt>
                <c:pt idx="29">
                  <c:v>2.971323515475446E-2</c:v>
                </c:pt>
                <c:pt idx="30">
                  <c:v>2.9886044202056931E-2</c:v>
                </c:pt>
                <c:pt idx="31">
                  <c:v>3.0113049153545669E-2</c:v>
                </c:pt>
                <c:pt idx="32">
                  <c:v>3.0121682992946059E-2</c:v>
                </c:pt>
                <c:pt idx="33">
                  <c:v>2.8704102443482309E-2</c:v>
                </c:pt>
                <c:pt idx="34">
                  <c:v>3.0602403901330309E-2</c:v>
                </c:pt>
                <c:pt idx="35">
                  <c:v>3.1456536502498793E-2</c:v>
                </c:pt>
                <c:pt idx="36">
                  <c:v>3.1516667937295108E-2</c:v>
                </c:pt>
                <c:pt idx="37">
                  <c:v>3.3226585884057157E-2</c:v>
                </c:pt>
                <c:pt idx="38">
                  <c:v>3.3016326225624587E-2</c:v>
                </c:pt>
                <c:pt idx="39">
                  <c:v>3.0075909553288729E-2</c:v>
                </c:pt>
                <c:pt idx="40">
                  <c:v>3.030822714314705E-2</c:v>
                </c:pt>
                <c:pt idx="41">
                  <c:v>3.1273537834975489E-2</c:v>
                </c:pt>
                <c:pt idx="42">
                  <c:v>3.005901690014778E-2</c:v>
                </c:pt>
                <c:pt idx="43">
                  <c:v>3.0573863083611631E-2</c:v>
                </c:pt>
                <c:pt idx="44">
                  <c:v>3.254448153409624E-2</c:v>
                </c:pt>
                <c:pt idx="45">
                  <c:v>3.2420025270644671E-2</c:v>
                </c:pt>
                <c:pt idx="46">
                  <c:v>3.0841270586476861E-2</c:v>
                </c:pt>
                <c:pt idx="47">
                  <c:v>3.4545476528939613E-2</c:v>
                </c:pt>
                <c:pt idx="48">
                  <c:v>3.9378011399146942E-2</c:v>
                </c:pt>
                <c:pt idx="49">
                  <c:v>3.4585845792310457E-2</c:v>
                </c:pt>
                <c:pt idx="50">
                  <c:v>3.6889295123608737E-2</c:v>
                </c:pt>
                <c:pt idx="51">
                  <c:v>3.516974061970235E-2</c:v>
                </c:pt>
                <c:pt idx="52">
                  <c:v>3.3440411726256947E-2</c:v>
                </c:pt>
                <c:pt idx="53">
                  <c:v>3.0775515895011849E-2</c:v>
                </c:pt>
                <c:pt idx="54">
                  <c:v>2.856172806220978E-2</c:v>
                </c:pt>
                <c:pt idx="55">
                  <c:v>2.9260191711765832E-2</c:v>
                </c:pt>
                <c:pt idx="56">
                  <c:v>3.1178692703543051E-2</c:v>
                </c:pt>
                <c:pt idx="57">
                  <c:v>3.7031471681131703E-2</c:v>
                </c:pt>
                <c:pt idx="58">
                  <c:v>3.9909501581123753E-2</c:v>
                </c:pt>
                <c:pt idx="59">
                  <c:v>3.3090443177845791E-2</c:v>
                </c:pt>
                <c:pt idx="60">
                  <c:v>2.0429936026239701E-2</c:v>
                </c:pt>
                <c:pt idx="61">
                  <c:v>1.594233918003489E-2</c:v>
                </c:pt>
                <c:pt idx="62">
                  <c:v>2.6561543645322629E-2</c:v>
                </c:pt>
                <c:pt idx="63">
                  <c:v>3.5068893654044378E-2</c:v>
                </c:pt>
                <c:pt idx="64">
                  <c:v>3.0967228847484721E-2</c:v>
                </c:pt>
                <c:pt idx="65">
                  <c:v>2.602705616299417E-2</c:v>
                </c:pt>
                <c:pt idx="66">
                  <c:v>2.587150374122359E-2</c:v>
                </c:pt>
                <c:pt idx="67">
                  <c:v>2.691260699372984E-2</c:v>
                </c:pt>
                <c:pt idx="68">
                  <c:v>2.5874418970458959E-2</c:v>
                </c:pt>
                <c:pt idx="69">
                  <c:v>2.3193315376484971E-2</c:v>
                </c:pt>
                <c:pt idx="70">
                  <c:v>2.2686657383630061E-2</c:v>
                </c:pt>
                <c:pt idx="71">
                  <c:v>2.6189284143623481E-2</c:v>
                </c:pt>
                <c:pt idx="72">
                  <c:v>2.7336338114147821E-2</c:v>
                </c:pt>
                <c:pt idx="73">
                  <c:v>2.7740990571672709E-2</c:v>
                </c:pt>
                <c:pt idx="74">
                  <c:v>2.877527311984417E-2</c:v>
                </c:pt>
                <c:pt idx="75">
                  <c:v>2.8510329318482429E-2</c:v>
                </c:pt>
                <c:pt idx="76">
                  <c:v>2.7909474603405621E-2</c:v>
                </c:pt>
                <c:pt idx="77">
                  <c:v>2.354699792786898E-2</c:v>
                </c:pt>
                <c:pt idx="78">
                  <c:v>2.3516397046911521E-2</c:v>
                </c:pt>
                <c:pt idx="79">
                  <c:v>2.2115174941799771E-2</c:v>
                </c:pt>
                <c:pt idx="80">
                  <c:v>2.2268202762568419E-2</c:v>
                </c:pt>
                <c:pt idx="81">
                  <c:v>2.1244426266941788E-2</c:v>
                </c:pt>
                <c:pt idx="82">
                  <c:v>3.1177386289303839E-2</c:v>
                </c:pt>
                <c:pt idx="83">
                  <c:v>2.630647686699077E-2</c:v>
                </c:pt>
                <c:pt idx="84">
                  <c:v>2.5524833007679371E-2</c:v>
                </c:pt>
                <c:pt idx="85">
                  <c:v>2.6871534411513371E-2</c:v>
                </c:pt>
                <c:pt idx="86">
                  <c:v>2.6338851413823881E-2</c:v>
                </c:pt>
                <c:pt idx="87">
                  <c:v>2.464870108961555E-2</c:v>
                </c:pt>
                <c:pt idx="88">
                  <c:v>2.6238033764437702E-2</c:v>
                </c:pt>
                <c:pt idx="89">
                  <c:v>3.0191859532939729E-2</c:v>
                </c:pt>
                <c:pt idx="90">
                  <c:v>3.071685169632082E-2</c:v>
                </c:pt>
                <c:pt idx="91">
                  <c:v>3.1790352756617277E-2</c:v>
                </c:pt>
                <c:pt idx="92">
                  <c:v>2.9789485452214989E-2</c:v>
                </c:pt>
                <c:pt idx="93">
                  <c:v>2.7419432969366012E-2</c:v>
                </c:pt>
                <c:pt idx="94">
                  <c:v>2.5375304588112151E-2</c:v>
                </c:pt>
                <c:pt idx="95">
                  <c:v>2.727143524464504E-2</c:v>
                </c:pt>
                <c:pt idx="96">
                  <c:v>2.430072520573312E-2</c:v>
                </c:pt>
                <c:pt idx="97">
                  <c:v>2.5953063658202231E-2</c:v>
                </c:pt>
                <c:pt idx="98">
                  <c:v>2.870484051773789E-2</c:v>
                </c:pt>
                <c:pt idx="99">
                  <c:v>3.0161179689259059E-2</c:v>
                </c:pt>
                <c:pt idx="100">
                  <c:v>3.7558407981539428E-2</c:v>
                </c:pt>
                <c:pt idx="101">
                  <c:v>3.5796970668813113E-2</c:v>
                </c:pt>
              </c:numCache>
            </c:numRef>
          </c:yVal>
          <c:smooth val="0"/>
          <c:extLst>
            <c:ext xmlns:c16="http://schemas.microsoft.com/office/drawing/2014/chart" uri="{C3380CC4-5D6E-409C-BE32-E72D297353CC}">
              <c16:uniqueId val="{00000000-096C-4121-9522-6AB7243CCAAE}"/>
            </c:ext>
          </c:extLst>
        </c:ser>
        <c:ser>
          <c:idx val="1"/>
          <c:order val="1"/>
          <c:tx>
            <c:strRef>
              <c:f>Sheet1!$B$10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6:$A$157</c:f>
              <c:numCache>
                <c:formatCode>General</c:formatCode>
                <c:ptCount val="52"/>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numCache>
            </c:numRef>
          </c:xVal>
          <c:yVal>
            <c:numRef>
              <c:f>Sheet1!$B$106:$B$157</c:f>
              <c:numCache>
                <c:formatCode>General</c:formatCode>
                <c:ptCount val="52"/>
                <c:pt idx="0">
                  <c:v>3.3379430772150658E-2</c:v>
                </c:pt>
                <c:pt idx="1">
                  <c:v>3.5297770608354727E-2</c:v>
                </c:pt>
                <c:pt idx="2">
                  <c:v>3.603152077608085E-2</c:v>
                </c:pt>
                <c:pt idx="3">
                  <c:v>3.0978674639028671E-2</c:v>
                </c:pt>
                <c:pt idx="4">
                  <c:v>2.8133515753956471E-2</c:v>
                </c:pt>
                <c:pt idx="5">
                  <c:v>2.7512069607189622E-2</c:v>
                </c:pt>
                <c:pt idx="6">
                  <c:v>2.753590860107619E-2</c:v>
                </c:pt>
                <c:pt idx="7">
                  <c:v>2.7306049137985969E-2</c:v>
                </c:pt>
                <c:pt idx="8">
                  <c:v>2.683860754587173E-2</c:v>
                </c:pt>
                <c:pt idx="9">
                  <c:v>2.8577136215520639E-2</c:v>
                </c:pt>
                <c:pt idx="10">
                  <c:v>2.9045708307140341E-2</c:v>
                </c:pt>
                <c:pt idx="11">
                  <c:v>3.0151694267354031E-2</c:v>
                </c:pt>
                <c:pt idx="12">
                  <c:v>3.1278274774940933E-2</c:v>
                </c:pt>
                <c:pt idx="13">
                  <c:v>3.2623144271831599E-2</c:v>
                </c:pt>
                <c:pt idx="14">
                  <c:v>3.2081452766552027E-2</c:v>
                </c:pt>
                <c:pt idx="15">
                  <c:v>2.8476513020004542E-2</c:v>
                </c:pt>
                <c:pt idx="16">
                  <c:v>2.889792926206242E-2</c:v>
                </c:pt>
                <c:pt idx="17">
                  <c:v>2.8572345272906731E-2</c:v>
                </c:pt>
                <c:pt idx="18">
                  <c:v>2.758215728763419E-2</c:v>
                </c:pt>
                <c:pt idx="19">
                  <c:v>2.6684207925807661E-2</c:v>
                </c:pt>
                <c:pt idx="20">
                  <c:v>2.507409816863837E-2</c:v>
                </c:pt>
                <c:pt idx="21">
                  <c:v>3.7053775555914388E-2</c:v>
                </c:pt>
                <c:pt idx="22">
                  <c:v>4.1201839145334811E-2</c:v>
                </c:pt>
                <c:pt idx="23">
                  <c:v>3.952108516249337E-2</c:v>
                </c:pt>
                <c:pt idx="24">
                  <c:v>3.301132678213544E-2</c:v>
                </c:pt>
                <c:pt idx="25">
                  <c:v>3.4672282379825628E-2</c:v>
                </c:pt>
                <c:pt idx="26">
                  <c:v>3.6478521099227869E-2</c:v>
                </c:pt>
                <c:pt idx="27">
                  <c:v>3.1719960612283417E-2</c:v>
                </c:pt>
                <c:pt idx="28">
                  <c:v>2.9844699099281859E-2</c:v>
                </c:pt>
                <c:pt idx="29">
                  <c:v>2.824703792935155E-2</c:v>
                </c:pt>
                <c:pt idx="30">
                  <c:v>2.3926861689124789E-2</c:v>
                </c:pt>
                <c:pt idx="31">
                  <c:v>2.077067140814904E-2</c:v>
                </c:pt>
                <c:pt idx="32">
                  <c:v>2.3460558709885782E-2</c:v>
                </c:pt>
                <c:pt idx="33">
                  <c:v>3.042796286207031E-2</c:v>
                </c:pt>
                <c:pt idx="34">
                  <c:v>3.1037706913624011E-2</c:v>
                </c:pt>
                <c:pt idx="35">
                  <c:v>2.928997264422914E-2</c:v>
                </c:pt>
                <c:pt idx="36">
                  <c:v>2.9697936908540851E-2</c:v>
                </c:pt>
                <c:pt idx="37">
                  <c:v>3.0248130900335801E-2</c:v>
                </c:pt>
                <c:pt idx="38">
                  <c:v>3.5070387750061743E-2</c:v>
                </c:pt>
                <c:pt idx="39">
                  <c:v>3.120833777020552E-2</c:v>
                </c:pt>
                <c:pt idx="40">
                  <c:v>2.682679016675503E-2</c:v>
                </c:pt>
                <c:pt idx="41">
                  <c:v>2.4203784771293649E-2</c:v>
                </c:pt>
                <c:pt idx="42">
                  <c:v>2.4098053977022381E-2</c:v>
                </c:pt>
                <c:pt idx="43">
                  <c:v>2.4523754132153151E-2</c:v>
                </c:pt>
                <c:pt idx="44">
                  <c:v>2.2379504666963371E-2</c:v>
                </c:pt>
                <c:pt idx="45">
                  <c:v>2.104065524243157E-2</c:v>
                </c:pt>
                <c:pt idx="46">
                  <c:v>2.202824012890214E-2</c:v>
                </c:pt>
                <c:pt idx="47">
                  <c:v>2.3321641522021069E-2</c:v>
                </c:pt>
                <c:pt idx="48">
                  <c:v>2.5721900660138009E-2</c:v>
                </c:pt>
                <c:pt idx="49">
                  <c:v>2.4967370312040962E-2</c:v>
                </c:pt>
                <c:pt idx="50">
                  <c:v>2.603335979145837E-2</c:v>
                </c:pt>
                <c:pt idx="51">
                  <c:v>2.5702227757022279E-2</c:v>
                </c:pt>
              </c:numCache>
            </c:numRef>
          </c:yVal>
          <c:smooth val="0"/>
          <c:extLst>
            <c:ext xmlns:c16="http://schemas.microsoft.com/office/drawing/2014/chart" uri="{C3380CC4-5D6E-409C-BE32-E72D297353CC}">
              <c16:uniqueId val="{00000002-096C-4121-9522-6AB7243CCAAE}"/>
            </c:ext>
          </c:extLst>
        </c:ser>
        <c:ser>
          <c:idx val="2"/>
          <c:order val="2"/>
          <c:tx>
            <c:strRef>
              <c:f>Sheet1!$B$15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0:$A$161</c:f>
              <c:numCache>
                <c:formatCode>General</c:formatCode>
                <c:ptCount val="2"/>
                <c:pt idx="0">
                  <c:v>0</c:v>
                </c:pt>
                <c:pt idx="1">
                  <c:v>0.1108820277239114</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5-096C-4121-9522-6AB7243CCAAE}"/>
            </c:ext>
          </c:extLst>
        </c:ser>
        <c:ser>
          <c:idx val="3"/>
          <c:order val="3"/>
          <c:tx>
            <c:strRef>
              <c:f>Sheet1!$B$16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0.1108820277239114</c:v>
                </c:pt>
                <c:pt idx="1">
                  <c:v>0.1108820277239114</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8:$A$169</c:f>
              <c:numCache>
                <c:formatCode>General</c:formatCode>
                <c:ptCount val="2"/>
                <c:pt idx="0">
                  <c:v>0</c:v>
                </c:pt>
                <c:pt idx="1">
                  <c:v>0.11732114474802791</c:v>
                </c:pt>
              </c:numCache>
            </c:numRef>
          </c:xVal>
          <c:yVal>
            <c:numRef>
              <c:f>Sheet1!$B$168:$B$169</c:f>
              <c:numCache>
                <c:formatCode>General</c:formatCode>
                <c:ptCount val="2"/>
                <c:pt idx="0">
                  <c:v>3.1101577984060609E-2</c:v>
                </c:pt>
                <c:pt idx="1">
                  <c:v>3.1101577984060609E-2</c:v>
                </c:pt>
              </c:numCache>
            </c:numRef>
          </c:yVal>
          <c:smooth val="0"/>
          <c:extLst>
            <c:ext xmlns:c16="http://schemas.microsoft.com/office/drawing/2014/chart" uri="{C3380CC4-5D6E-409C-BE32-E72D297353CC}">
              <c16:uniqueId val="{0000000D-096C-4121-9522-6AB7243CCAAE}"/>
            </c:ext>
          </c:extLst>
        </c:ser>
        <c:ser>
          <c:idx val="5"/>
          <c:order val="5"/>
          <c:tx>
            <c:strRef>
              <c:f>Sheet1!$B$17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0.11732114474802791</c:v>
                </c:pt>
                <c:pt idx="1">
                  <c:v>0.11732114474802791</c:v>
                </c:pt>
              </c:numCache>
            </c:numRef>
          </c:xVal>
          <c:yVal>
            <c:numRef>
              <c:f>Sheet1!$B$172:$B$173</c:f>
              <c:numCache>
                <c:formatCode>General</c:formatCode>
                <c:ptCount val="2"/>
                <c:pt idx="0">
                  <c:v>3.1101577984060609E-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6:$A$177</c:f>
              <c:numCache>
                <c:formatCode>General</c:formatCode>
                <c:ptCount val="2"/>
                <c:pt idx="0">
                  <c:v>0</c:v>
                </c:pt>
                <c:pt idx="1">
                  <c:v>0.13512234665834599</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5-096C-4121-9522-6AB7243CCAAE}"/>
            </c:ext>
          </c:extLst>
        </c:ser>
        <c:ser>
          <c:idx val="7"/>
          <c:order val="7"/>
          <c:tx>
            <c:strRef>
              <c:f>Sheet1!$B$17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0:$A$181</c:f>
              <c:numCache>
                <c:formatCode>General</c:formatCode>
                <c:ptCount val="2"/>
                <c:pt idx="0">
                  <c:v>0.13512234665834599</c:v>
                </c:pt>
                <c:pt idx="1">
                  <c:v>0.13512234665834599</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4:$A$238</c:f>
              <c:numCache>
                <c:formatCode>General</c:formatCode>
                <c:ptCount val="55"/>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pt idx="52">
                  <c:v>0.11732114474802791</c:v>
                </c:pt>
                <c:pt idx="53">
                  <c:v>0.1108820277239114</c:v>
                </c:pt>
                <c:pt idx="54">
                  <c:v>0.13512234665834599</c:v>
                </c:pt>
              </c:numCache>
            </c:numRef>
          </c:xVal>
          <c:yVal>
            <c:numRef>
              <c:f>Sheet1!$B$184:$B$238</c:f>
              <c:numCache>
                <c:formatCode>General</c:formatCode>
                <c:ptCount val="55"/>
                <c:pt idx="0">
                  <c:v>3.1620668745252142E-2</c:v>
                </c:pt>
                <c:pt idx="1">
                  <c:v>3.1654790245678951E-2</c:v>
                </c:pt>
                <c:pt idx="2">
                  <c:v>3.2783325344754151E-2</c:v>
                </c:pt>
                <c:pt idx="3">
                  <c:v>3.022688607526958E-2</c:v>
                </c:pt>
                <c:pt idx="4">
                  <c:v>2.8540776744242852E-2</c:v>
                </c:pt>
                <c:pt idx="5">
                  <c:v>2.8198639317480349E-2</c:v>
                </c:pt>
                <c:pt idx="6">
                  <c:v>2.8149354774764782E-2</c:v>
                </c:pt>
                <c:pt idx="7">
                  <c:v>2.8199004366077019E-2</c:v>
                </c:pt>
                <c:pt idx="8">
                  <c:v>3.0157282303857849E-2</c:v>
                </c:pt>
                <c:pt idx="9">
                  <c:v>2.9717490317624731E-2</c:v>
                </c:pt>
                <c:pt idx="10">
                  <c:v>2.880162617160174E-2</c:v>
                </c:pt>
                <c:pt idx="11">
                  <c:v>3.0799476543192809E-2</c:v>
                </c:pt>
                <c:pt idx="12">
                  <c:v>2.8080121278043681E-2</c:v>
                </c:pt>
                <c:pt idx="13">
                  <c:v>2.8247092051713919E-2</c:v>
                </c:pt>
                <c:pt idx="14">
                  <c:v>2.639540124703324E-2</c:v>
                </c:pt>
                <c:pt idx="15">
                  <c:v>1.9220157910636009E-2</c:v>
                </c:pt>
                <c:pt idx="16">
                  <c:v>2.9292926757015069E-2</c:v>
                </c:pt>
                <c:pt idx="17">
                  <c:v>2.9541107656935999E-2</c:v>
                </c:pt>
                <c:pt idx="18">
                  <c:v>3.1154431279754719E-2</c:v>
                </c:pt>
                <c:pt idx="19">
                  <c:v>2.9461129531890291E-2</c:v>
                </c:pt>
                <c:pt idx="20">
                  <c:v>3.0313783713891131E-2</c:v>
                </c:pt>
                <c:pt idx="21">
                  <c:v>3.3508822667282862E-2</c:v>
                </c:pt>
                <c:pt idx="22">
                  <c:v>3.4739165058279807E-2</c:v>
                </c:pt>
                <c:pt idx="23">
                  <c:v>3.3561500120319547E-2</c:v>
                </c:pt>
                <c:pt idx="24">
                  <c:v>3.0961282548418428E-2</c:v>
                </c:pt>
                <c:pt idx="25">
                  <c:v>3.325613118609181E-2</c:v>
                </c:pt>
                <c:pt idx="26">
                  <c:v>3.230935798656305E-2</c:v>
                </c:pt>
                <c:pt idx="27">
                  <c:v>3.0186042242885399E-2</c:v>
                </c:pt>
                <c:pt idx="28">
                  <c:v>2.9826699740302571E-2</c:v>
                </c:pt>
                <c:pt idx="29">
                  <c:v>2.8461825588360749E-2</c:v>
                </c:pt>
                <c:pt idx="30">
                  <c:v>2.6667445839888119E-2</c:v>
                </c:pt>
                <c:pt idx="31">
                  <c:v>2.9333797528733729E-2</c:v>
                </c:pt>
                <c:pt idx="32">
                  <c:v>2.8469462201818171E-2</c:v>
                </c:pt>
                <c:pt idx="33">
                  <c:v>3.1278574864500211E-2</c:v>
                </c:pt>
                <c:pt idx="34">
                  <c:v>3.362517184260494E-2</c:v>
                </c:pt>
                <c:pt idx="35">
                  <c:v>3.1259339751075838E-2</c:v>
                </c:pt>
                <c:pt idx="36">
                  <c:v>3.2466678789921898E-2</c:v>
                </c:pt>
                <c:pt idx="37">
                  <c:v>3.336561461501103E-2</c:v>
                </c:pt>
                <c:pt idx="38">
                  <c:v>3.1897061212580187E-2</c:v>
                </c:pt>
                <c:pt idx="39">
                  <c:v>3.0591232179052279E-2</c:v>
                </c:pt>
                <c:pt idx="40">
                  <c:v>2.6490890509876141E-2</c:v>
                </c:pt>
                <c:pt idx="41">
                  <c:v>2.5005655171483909E-2</c:v>
                </c:pt>
                <c:pt idx="42">
                  <c:v>2.471524594195228E-2</c:v>
                </c:pt>
                <c:pt idx="43">
                  <c:v>2.5740688254943609E-2</c:v>
                </c:pt>
                <c:pt idx="44">
                  <c:v>2.534241769031121E-2</c:v>
                </c:pt>
                <c:pt idx="45">
                  <c:v>2.5785004878787769E-2</c:v>
                </c:pt>
                <c:pt idx="46">
                  <c:v>2.6712805427711591E-2</c:v>
                </c:pt>
                <c:pt idx="47">
                  <c:v>2.6016063432124481E-2</c:v>
                </c:pt>
                <c:pt idx="48">
                  <c:v>2.645901837190287E-2</c:v>
                </c:pt>
                <c:pt idx="49">
                  <c:v>2.253097533810856E-2</c:v>
                </c:pt>
                <c:pt idx="50">
                  <c:v>2.3407974477709061E-2</c:v>
                </c:pt>
                <c:pt idx="51">
                  <c:v>2.5267129597052979E-2</c:v>
                </c:pt>
                <c:pt idx="52">
                  <c:v>3.1101577984060599E-2</c:v>
                </c:pt>
                <c:pt idx="53">
                  <c:v>3.3390590546211449E-2</c:v>
                </c:pt>
                <c:pt idx="54">
                  <c:v>2.47735092998775E-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18089307194123574"/>
          <c:min val="7.5697543274504286E-2"/>
        </c:scaling>
        <c:delete val="0"/>
        <c:axPos val="b"/>
        <c:title>
          <c:tx>
            <c:rich>
              <a:bodyPr rot="0" spcFirstLastPara="1" vertOverflow="ellipsis" vert="horz" wrap="square" anchor="ctr" anchorCtr="1"/>
              <a:lstStyle/>
              <a:p>
                <a:pPr>
                  <a:defRPr sz="800" b="0">
                    <a:solidFill>
                      <a:srgbClr val="575555"/>
                    </a:solidFill>
                    <a:latin typeface="Nexa Bold"/>
                  </a:defRPr>
                </a:pPr>
                <a:r>
                  <a:rPr lang="en-US"/>
                  <a:t>Price Ix vs. Gillette Fusion5</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3084051742229012</c:v>
                </c:pt>
                <c:pt idx="1">
                  <c:v>0.31591786351078627</c:v>
                </c:pt>
                <c:pt idx="2">
                  <c:v>0.32058023334902946</c:v>
                </c:pt>
                <c:pt idx="3">
                  <c:v>0.31551466024025998</c:v>
                </c:pt>
                <c:pt idx="4">
                  <c:v>0.31248983133575575</c:v>
                </c:pt>
                <c:pt idx="5">
                  <c:v>0.31209899175068745</c:v>
                </c:pt>
                <c:pt idx="6">
                  <c:v>0.31243915630070307</c:v>
                </c:pt>
                <c:pt idx="7">
                  <c:v>0.3133619793471481</c:v>
                </c:pt>
                <c:pt idx="8">
                  <c:v>0.31671907756813417</c:v>
                </c:pt>
                <c:pt idx="9">
                  <c:v>0.31082322826247477</c:v>
                </c:pt>
                <c:pt idx="10">
                  <c:v>0.31047212859141043</c:v>
                </c:pt>
                <c:pt idx="11">
                  <c:v>0.30851195946449417</c:v>
                </c:pt>
                <c:pt idx="12">
                  <c:v>0.30743476600274672</c:v>
                </c:pt>
                <c:pt idx="13">
                  <c:v>0.30557876018361524</c:v>
                </c:pt>
                <c:pt idx="14">
                  <c:v>0.30608180521683359</c:v>
                </c:pt>
                <c:pt idx="15">
                  <c:v>0.30537959003209308</c:v>
                </c:pt>
                <c:pt idx="16">
                  <c:v>0.30479028449342177</c:v>
                </c:pt>
                <c:pt idx="17">
                  <c:v>0.30535697989231286</c:v>
                </c:pt>
                <c:pt idx="18">
                  <c:v>0.30758733419811496</c:v>
                </c:pt>
                <c:pt idx="19">
                  <c:v>0.30384356418742708</c:v>
                </c:pt>
                <c:pt idx="20">
                  <c:v>0.30255871389344829</c:v>
                </c:pt>
                <c:pt idx="21">
                  <c:v>0.30131492720175512</c:v>
                </c:pt>
                <c:pt idx="22">
                  <c:v>0.30402402402402401</c:v>
                </c:pt>
                <c:pt idx="23">
                  <c:v>0.3041818228723267</c:v>
                </c:pt>
                <c:pt idx="24">
                  <c:v>0.30380595989557657</c:v>
                </c:pt>
                <c:pt idx="25">
                  <c:v>0.30266464709715091</c:v>
                </c:pt>
                <c:pt idx="26">
                  <c:v>0.30198090992432275</c:v>
                </c:pt>
                <c:pt idx="27">
                  <c:v>0.30261018186645428</c:v>
                </c:pt>
                <c:pt idx="28">
                  <c:v>0.30379475941413642</c:v>
                </c:pt>
                <c:pt idx="29">
                  <c:v>0.30510575091808745</c:v>
                </c:pt>
                <c:pt idx="30">
                  <c:v>0.30547263681592041</c:v>
                </c:pt>
                <c:pt idx="31">
                  <c:v>0.30191808942530629</c:v>
                </c:pt>
                <c:pt idx="32">
                  <c:v>0.30004016835781272</c:v>
                </c:pt>
                <c:pt idx="33">
                  <c:v>0.30140260803244229</c:v>
                </c:pt>
                <c:pt idx="34">
                  <c:v>0.30315931183998879</c:v>
                </c:pt>
                <c:pt idx="35">
                  <c:v>0.30423707530585153</c:v>
                </c:pt>
                <c:pt idx="36">
                  <c:v>0.30339368848493503</c:v>
                </c:pt>
                <c:pt idx="37">
                  <c:v>0.30312142377964563</c:v>
                </c:pt>
                <c:pt idx="38">
                  <c:v>0.30421477922015827</c:v>
                </c:pt>
                <c:pt idx="39">
                  <c:v>0.30360700245050509</c:v>
                </c:pt>
                <c:pt idx="40">
                  <c:v>0.30482776067799466</c:v>
                </c:pt>
                <c:pt idx="41">
                  <c:v>0.30496561046396053</c:v>
                </c:pt>
                <c:pt idx="42">
                  <c:v>0.30474260101509459</c:v>
                </c:pt>
                <c:pt idx="43">
                  <c:v>0.30487658997567685</c:v>
                </c:pt>
                <c:pt idx="44">
                  <c:v>0.30417377406912238</c:v>
                </c:pt>
                <c:pt idx="45">
                  <c:v>0.30429474182711519</c:v>
                </c:pt>
                <c:pt idx="46">
                  <c:v>0.30416987037597953</c:v>
                </c:pt>
                <c:pt idx="47">
                  <c:v>0.30177142857142858</c:v>
                </c:pt>
                <c:pt idx="48">
                  <c:v>0.30034428178139644</c:v>
                </c:pt>
                <c:pt idx="49">
                  <c:v>0.30020553910468561</c:v>
                </c:pt>
                <c:pt idx="50">
                  <c:v>0.30020393921120919</c:v>
                </c:pt>
                <c:pt idx="51">
                  <c:v>0.30029572161037082</c:v>
                </c:pt>
                <c:pt idx="52">
                  <c:v>0.30085731375024921</c:v>
                </c:pt>
                <c:pt idx="53">
                  <c:v>0.30374794069192751</c:v>
                </c:pt>
                <c:pt idx="54">
                  <c:v>0.30475569923731716</c:v>
                </c:pt>
                <c:pt idx="55">
                  <c:v>0.30484411191281596</c:v>
                </c:pt>
                <c:pt idx="56">
                  <c:v>0.29666067320451317</c:v>
                </c:pt>
                <c:pt idx="57">
                  <c:v>0.25400835544515327</c:v>
                </c:pt>
                <c:pt idx="58">
                  <c:v>0.23382400369980466</c:v>
                </c:pt>
                <c:pt idx="59">
                  <c:v>0.23943026116791946</c:v>
                </c:pt>
                <c:pt idx="60">
                  <c:v>0.25369491863085675</c:v>
                </c:pt>
                <c:pt idx="61">
                  <c:v>0.26335839430757868</c:v>
                </c:pt>
                <c:pt idx="62">
                  <c:v>0.24811366501794199</c:v>
                </c:pt>
                <c:pt idx="63">
                  <c:v>0.25331883600138116</c:v>
                </c:pt>
                <c:pt idx="64">
                  <c:v>0.27606841827999473</c:v>
                </c:pt>
                <c:pt idx="65">
                  <c:v>0.28160478817918266</c:v>
                </c:pt>
                <c:pt idx="66">
                  <c:v>0.29229782021117312</c:v>
                </c:pt>
                <c:pt idx="67">
                  <c:v>0.30127414335954045</c:v>
                </c:pt>
                <c:pt idx="68">
                  <c:v>0.30305886879569066</c:v>
                </c:pt>
                <c:pt idx="69">
                  <c:v>0.30492991022208221</c:v>
                </c:pt>
                <c:pt idx="70">
                  <c:v>0.30628978911194849</c:v>
                </c:pt>
                <c:pt idx="71">
                  <c:v>0.30507690665654685</c:v>
                </c:pt>
                <c:pt idx="72">
                  <c:v>0.30607670596048481</c:v>
                </c:pt>
                <c:pt idx="73">
                  <c:v>0.3116373241246056</c:v>
                </c:pt>
                <c:pt idx="74">
                  <c:v>0.31424842998124136</c:v>
                </c:pt>
                <c:pt idx="75">
                  <c:v>0.31320176754871626</c:v>
                </c:pt>
                <c:pt idx="76">
                  <c:v>0.31380953870863448</c:v>
                </c:pt>
                <c:pt idx="77">
                  <c:v>0.32590348409435188</c:v>
                </c:pt>
                <c:pt idx="78">
                  <c:v>0.33061711871301291</c:v>
                </c:pt>
                <c:pt idx="79">
                  <c:v>0.33376024237416513</c:v>
                </c:pt>
                <c:pt idx="80">
                  <c:v>0.334863282523373</c:v>
                </c:pt>
                <c:pt idx="81">
                  <c:v>0.33732775797715603</c:v>
                </c:pt>
                <c:pt idx="82">
                  <c:v>0.3340239432262419</c:v>
                </c:pt>
                <c:pt idx="83">
                  <c:v>0.32813911724353323</c:v>
                </c:pt>
                <c:pt idx="84">
                  <c:v>0.32451377453380215</c:v>
                </c:pt>
                <c:pt idx="85">
                  <c:v>0.3242920313313794</c:v>
                </c:pt>
                <c:pt idx="86">
                  <c:v>0.32834757834757833</c:v>
                </c:pt>
                <c:pt idx="87">
                  <c:v>0.33024565689467972</c:v>
                </c:pt>
                <c:pt idx="88">
                  <c:v>0.33047076978575868</c:v>
                </c:pt>
                <c:pt idx="89">
                  <c:v>0.32960364974033468</c:v>
                </c:pt>
                <c:pt idx="90">
                  <c:v>0.32877782475231143</c:v>
                </c:pt>
                <c:pt idx="91">
                  <c:v>0.33265505668454848</c:v>
                </c:pt>
                <c:pt idx="92">
                  <c:v>0.33383080669232584</c:v>
                </c:pt>
                <c:pt idx="93">
                  <c:v>0.33445095599479496</c:v>
                </c:pt>
                <c:pt idx="94">
                  <c:v>0.33425385899470356</c:v>
                </c:pt>
                <c:pt idx="95">
                  <c:v>0.33302358553829059</c:v>
                </c:pt>
                <c:pt idx="96">
                  <c:v>0.3331230702831911</c:v>
                </c:pt>
                <c:pt idx="97">
                  <c:v>0.33248279672509923</c:v>
                </c:pt>
                <c:pt idx="98">
                  <c:v>0.33184443040565192</c:v>
                </c:pt>
                <c:pt idx="99">
                  <c:v>0.31234357273380736</c:v>
                </c:pt>
                <c:pt idx="100">
                  <c:v>0.30123106937136429</c:v>
                </c:pt>
                <c:pt idx="101">
                  <c:v>0.30056872662328632</c:v>
                </c:pt>
              </c:numCache>
            </c:numRef>
          </c:xVal>
          <c:yVal>
            <c:numRef>
              <c:f>Sheet1!$B$2:$B$103</c:f>
              <c:numCache>
                <c:formatCode>General</c:formatCode>
                <c:ptCount val="102"/>
                <c:pt idx="0">
                  <c:v>3.1549194168607006E-2</c:v>
                </c:pt>
                <c:pt idx="1">
                  <c:v>2.5925076493376501E-2</c:v>
                </c:pt>
                <c:pt idx="2">
                  <c:v>1.9457371147598559E-2</c:v>
                </c:pt>
                <c:pt idx="3">
                  <c:v>2.1005226955186754E-2</c:v>
                </c:pt>
                <c:pt idx="4">
                  <c:v>2.3683174888924508E-2</c:v>
                </c:pt>
                <c:pt idx="5">
                  <c:v>2.4814911692122233E-2</c:v>
                </c:pt>
                <c:pt idx="6">
                  <c:v>2.2966901329024649E-2</c:v>
                </c:pt>
                <c:pt idx="7">
                  <c:v>2.1693356757167159E-2</c:v>
                </c:pt>
                <c:pt idx="8">
                  <c:v>2.508474647577718E-2</c:v>
                </c:pt>
                <c:pt idx="9">
                  <c:v>3.2219360006132694E-2</c:v>
                </c:pt>
                <c:pt idx="10">
                  <c:v>3.3455366889535383E-2</c:v>
                </c:pt>
                <c:pt idx="11">
                  <c:v>3.0774205038558523E-2</c:v>
                </c:pt>
                <c:pt idx="12">
                  <c:v>3.166311843777065E-2</c:v>
                </c:pt>
                <c:pt idx="13">
                  <c:v>2.9573633835338665E-2</c:v>
                </c:pt>
                <c:pt idx="14">
                  <c:v>2.9438294749618857E-2</c:v>
                </c:pt>
                <c:pt idx="15">
                  <c:v>3.2326555355538883E-2</c:v>
                </c:pt>
                <c:pt idx="16">
                  <c:v>3.0454183212358377E-2</c:v>
                </c:pt>
                <c:pt idx="17">
                  <c:v>3.0177244147381318E-2</c:v>
                </c:pt>
                <c:pt idx="18">
                  <c:v>3.0949579617420526E-2</c:v>
                </c:pt>
                <c:pt idx="19">
                  <c:v>3.3044676701229417E-2</c:v>
                </c:pt>
                <c:pt idx="20">
                  <c:v>3.4502368865567047E-2</c:v>
                </c:pt>
                <c:pt idx="21">
                  <c:v>3.8171203781773647E-2</c:v>
                </c:pt>
                <c:pt idx="22">
                  <c:v>3.2633840746857157E-2</c:v>
                </c:pt>
                <c:pt idx="23">
                  <c:v>3.22851825867847E-2</c:v>
                </c:pt>
                <c:pt idx="24">
                  <c:v>3.4293774474369265E-2</c:v>
                </c:pt>
                <c:pt idx="25">
                  <c:v>3.3493331489235549E-2</c:v>
                </c:pt>
                <c:pt idx="26">
                  <c:v>3.2256296982208908E-2</c:v>
                </c:pt>
                <c:pt idx="27">
                  <c:v>3.256327154323236E-2</c:v>
                </c:pt>
                <c:pt idx="28">
                  <c:v>3.0215972855570965E-2</c:v>
                </c:pt>
                <c:pt idx="29">
                  <c:v>2.971323515475446E-2</c:v>
                </c:pt>
                <c:pt idx="30">
                  <c:v>2.9886044202056927E-2</c:v>
                </c:pt>
                <c:pt idx="31">
                  <c:v>3.0113049153545669E-2</c:v>
                </c:pt>
                <c:pt idx="32">
                  <c:v>3.0121682992946059E-2</c:v>
                </c:pt>
                <c:pt idx="33">
                  <c:v>2.8704102443482309E-2</c:v>
                </c:pt>
                <c:pt idx="34">
                  <c:v>3.0602403901330309E-2</c:v>
                </c:pt>
                <c:pt idx="35">
                  <c:v>3.1456536502498786E-2</c:v>
                </c:pt>
                <c:pt idx="36">
                  <c:v>3.1516667937295108E-2</c:v>
                </c:pt>
                <c:pt idx="37">
                  <c:v>3.3226585884057164E-2</c:v>
                </c:pt>
                <c:pt idx="38">
                  <c:v>3.3016326225624587E-2</c:v>
                </c:pt>
                <c:pt idx="39">
                  <c:v>3.0075909553288729E-2</c:v>
                </c:pt>
                <c:pt idx="40">
                  <c:v>3.0308227143147046E-2</c:v>
                </c:pt>
                <c:pt idx="41">
                  <c:v>3.1273537834975489E-2</c:v>
                </c:pt>
                <c:pt idx="42">
                  <c:v>3.0059016900147784E-2</c:v>
                </c:pt>
                <c:pt idx="43">
                  <c:v>3.0573863083611635E-2</c:v>
                </c:pt>
                <c:pt idx="44">
                  <c:v>3.254448153409624E-2</c:v>
                </c:pt>
                <c:pt idx="45">
                  <c:v>3.2420025270644671E-2</c:v>
                </c:pt>
                <c:pt idx="46">
                  <c:v>3.0841270586476857E-2</c:v>
                </c:pt>
                <c:pt idx="47">
                  <c:v>3.4545476528939606E-2</c:v>
                </c:pt>
                <c:pt idx="48">
                  <c:v>3.9378011399146942E-2</c:v>
                </c:pt>
                <c:pt idx="49">
                  <c:v>3.4585845792310457E-2</c:v>
                </c:pt>
                <c:pt idx="50">
                  <c:v>3.6889295123608744E-2</c:v>
                </c:pt>
                <c:pt idx="51">
                  <c:v>3.516974061970235E-2</c:v>
                </c:pt>
                <c:pt idx="52">
                  <c:v>3.3440411726256954E-2</c:v>
                </c:pt>
                <c:pt idx="53">
                  <c:v>3.0775515895011849E-2</c:v>
                </c:pt>
                <c:pt idx="54">
                  <c:v>2.856172806220978E-2</c:v>
                </c:pt>
                <c:pt idx="55">
                  <c:v>2.9260191711765828E-2</c:v>
                </c:pt>
                <c:pt idx="56">
                  <c:v>3.1178692703543048E-2</c:v>
                </c:pt>
                <c:pt idx="57">
                  <c:v>3.7031471681131703E-2</c:v>
                </c:pt>
                <c:pt idx="58">
                  <c:v>3.9909501581123753E-2</c:v>
                </c:pt>
                <c:pt idx="59">
                  <c:v>3.3090443177845791E-2</c:v>
                </c:pt>
                <c:pt idx="60">
                  <c:v>2.0429936026239697E-2</c:v>
                </c:pt>
                <c:pt idx="61">
                  <c:v>1.5942339180034886E-2</c:v>
                </c:pt>
                <c:pt idx="62">
                  <c:v>2.6561543645322632E-2</c:v>
                </c:pt>
                <c:pt idx="63">
                  <c:v>3.5068893654044385E-2</c:v>
                </c:pt>
                <c:pt idx="64">
                  <c:v>3.0967228847484717E-2</c:v>
                </c:pt>
                <c:pt idx="65">
                  <c:v>2.6027056162994167E-2</c:v>
                </c:pt>
                <c:pt idx="66">
                  <c:v>2.5871503741223587E-2</c:v>
                </c:pt>
                <c:pt idx="67">
                  <c:v>2.691260699372984E-2</c:v>
                </c:pt>
                <c:pt idx="68">
                  <c:v>2.5874418970458959E-2</c:v>
                </c:pt>
                <c:pt idx="69">
                  <c:v>2.3193315376484971E-2</c:v>
                </c:pt>
                <c:pt idx="70">
                  <c:v>2.2686657383630057E-2</c:v>
                </c:pt>
                <c:pt idx="71">
                  <c:v>2.6189284143623485E-2</c:v>
                </c:pt>
                <c:pt idx="72">
                  <c:v>2.7336338114147821E-2</c:v>
                </c:pt>
                <c:pt idx="73">
                  <c:v>2.7740990571672709E-2</c:v>
                </c:pt>
                <c:pt idx="74">
                  <c:v>2.8775273119844166E-2</c:v>
                </c:pt>
                <c:pt idx="75">
                  <c:v>2.8510329318482425E-2</c:v>
                </c:pt>
                <c:pt idx="76">
                  <c:v>2.7909474603405617E-2</c:v>
                </c:pt>
                <c:pt idx="77">
                  <c:v>2.354699792786898E-2</c:v>
                </c:pt>
                <c:pt idx="78">
                  <c:v>2.3516397046911525E-2</c:v>
                </c:pt>
                <c:pt idx="79">
                  <c:v>2.2115174941799768E-2</c:v>
                </c:pt>
                <c:pt idx="80">
                  <c:v>2.2268202762568419E-2</c:v>
                </c:pt>
                <c:pt idx="81">
                  <c:v>2.1244426266941792E-2</c:v>
                </c:pt>
                <c:pt idx="82">
                  <c:v>3.1177386289303839E-2</c:v>
                </c:pt>
                <c:pt idx="83">
                  <c:v>2.6306476866990773E-2</c:v>
                </c:pt>
                <c:pt idx="84">
                  <c:v>2.5524833007679375E-2</c:v>
                </c:pt>
                <c:pt idx="85">
                  <c:v>2.6871534411513368E-2</c:v>
                </c:pt>
                <c:pt idx="86">
                  <c:v>2.6338851413823878E-2</c:v>
                </c:pt>
                <c:pt idx="87">
                  <c:v>2.4648701089615546E-2</c:v>
                </c:pt>
                <c:pt idx="88">
                  <c:v>2.6238033764437702E-2</c:v>
                </c:pt>
                <c:pt idx="89">
                  <c:v>3.0191859532939729E-2</c:v>
                </c:pt>
                <c:pt idx="90">
                  <c:v>3.0716851696320817E-2</c:v>
                </c:pt>
                <c:pt idx="91">
                  <c:v>3.1790352756617284E-2</c:v>
                </c:pt>
                <c:pt idx="92">
                  <c:v>2.9789485452214992E-2</c:v>
                </c:pt>
                <c:pt idx="93">
                  <c:v>2.7419432969366012E-2</c:v>
                </c:pt>
                <c:pt idx="94">
                  <c:v>2.5375304588112154E-2</c:v>
                </c:pt>
                <c:pt idx="95">
                  <c:v>2.7271435244645044E-2</c:v>
                </c:pt>
                <c:pt idx="96">
                  <c:v>2.4300725205733124E-2</c:v>
                </c:pt>
                <c:pt idx="97">
                  <c:v>2.5953063658202231E-2</c:v>
                </c:pt>
                <c:pt idx="98">
                  <c:v>2.870484051773789E-2</c:v>
                </c:pt>
                <c:pt idx="99">
                  <c:v>3.0161179689259059E-2</c:v>
                </c:pt>
                <c:pt idx="100">
                  <c:v>3.7558407981539428E-2</c:v>
                </c:pt>
                <c:pt idx="101">
                  <c:v>3.5796970668813106E-2</c:v>
                </c:pt>
              </c:numCache>
            </c:numRef>
          </c:yVal>
          <c:smooth val="0"/>
          <c:extLst>
            <c:ext xmlns:c16="http://schemas.microsoft.com/office/drawing/2014/chart" uri="{C3380CC4-5D6E-409C-BE32-E72D297353CC}">
              <c16:uniqueId val="{00000000-F32D-48B7-BC20-E66FC6253BAD}"/>
            </c:ext>
          </c:extLst>
        </c:ser>
        <c:ser>
          <c:idx val="1"/>
          <c:order val="1"/>
          <c:tx>
            <c:strRef>
              <c:f>Sheet1!$B$10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6:$A$157</c:f>
              <c:numCache>
                <c:formatCode>General</c:formatCode>
                <c:ptCount val="52"/>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numCache>
            </c:numRef>
          </c:xVal>
          <c:yVal>
            <c:numRef>
              <c:f>Sheet1!$B$106:$B$157</c:f>
              <c:numCache>
                <c:formatCode>General</c:formatCode>
                <c:ptCount val="52"/>
                <c:pt idx="0">
                  <c:v>3.3379430772150658E-2</c:v>
                </c:pt>
                <c:pt idx="1">
                  <c:v>3.5297770608354727E-2</c:v>
                </c:pt>
                <c:pt idx="2">
                  <c:v>3.603152077608085E-2</c:v>
                </c:pt>
                <c:pt idx="3">
                  <c:v>3.0978674639028675E-2</c:v>
                </c:pt>
                <c:pt idx="4">
                  <c:v>2.8133515753956471E-2</c:v>
                </c:pt>
                <c:pt idx="5">
                  <c:v>2.7512069607189618E-2</c:v>
                </c:pt>
                <c:pt idx="6">
                  <c:v>2.7535908601076187E-2</c:v>
                </c:pt>
                <c:pt idx="7">
                  <c:v>2.7306049137985969E-2</c:v>
                </c:pt>
                <c:pt idx="8">
                  <c:v>2.6838607545871734E-2</c:v>
                </c:pt>
                <c:pt idx="9">
                  <c:v>2.8577136215520643E-2</c:v>
                </c:pt>
                <c:pt idx="10">
                  <c:v>2.9045708307140341E-2</c:v>
                </c:pt>
                <c:pt idx="11">
                  <c:v>3.0151694267354034E-2</c:v>
                </c:pt>
                <c:pt idx="12">
                  <c:v>3.1278274774940926E-2</c:v>
                </c:pt>
                <c:pt idx="13">
                  <c:v>3.2623144271831599E-2</c:v>
                </c:pt>
                <c:pt idx="14">
                  <c:v>3.2081452766552027E-2</c:v>
                </c:pt>
                <c:pt idx="15">
                  <c:v>2.8476513020004538E-2</c:v>
                </c:pt>
                <c:pt idx="16">
                  <c:v>2.8897929262062423E-2</c:v>
                </c:pt>
                <c:pt idx="17">
                  <c:v>2.8572345272906727E-2</c:v>
                </c:pt>
                <c:pt idx="18">
                  <c:v>2.7582157287634194E-2</c:v>
                </c:pt>
                <c:pt idx="19">
                  <c:v>2.6684207925807661E-2</c:v>
                </c:pt>
                <c:pt idx="20">
                  <c:v>2.5074098168638374E-2</c:v>
                </c:pt>
                <c:pt idx="21">
                  <c:v>3.7053775555914395E-2</c:v>
                </c:pt>
                <c:pt idx="22">
                  <c:v>4.1201839145334811E-2</c:v>
                </c:pt>
                <c:pt idx="23">
                  <c:v>3.952108516249337E-2</c:v>
                </c:pt>
                <c:pt idx="24">
                  <c:v>3.301132678213544E-2</c:v>
                </c:pt>
                <c:pt idx="25">
                  <c:v>3.4672282379825628E-2</c:v>
                </c:pt>
                <c:pt idx="26">
                  <c:v>3.6478521099227869E-2</c:v>
                </c:pt>
                <c:pt idx="27">
                  <c:v>3.1719960612283417E-2</c:v>
                </c:pt>
                <c:pt idx="28">
                  <c:v>2.9844699099281863E-2</c:v>
                </c:pt>
                <c:pt idx="29">
                  <c:v>2.8247037929351546E-2</c:v>
                </c:pt>
                <c:pt idx="30">
                  <c:v>2.3926861689124793E-2</c:v>
                </c:pt>
                <c:pt idx="31">
                  <c:v>2.0770671408149036E-2</c:v>
                </c:pt>
                <c:pt idx="32">
                  <c:v>2.3460558709885785E-2</c:v>
                </c:pt>
                <c:pt idx="33">
                  <c:v>3.0427962862070307E-2</c:v>
                </c:pt>
                <c:pt idx="34">
                  <c:v>3.1037706913624008E-2</c:v>
                </c:pt>
                <c:pt idx="35">
                  <c:v>2.928997264422914E-2</c:v>
                </c:pt>
                <c:pt idx="36">
                  <c:v>2.9697936908540855E-2</c:v>
                </c:pt>
                <c:pt idx="37">
                  <c:v>3.0248130900335804E-2</c:v>
                </c:pt>
                <c:pt idx="38">
                  <c:v>3.5070387750061743E-2</c:v>
                </c:pt>
                <c:pt idx="39">
                  <c:v>3.1208337770205517E-2</c:v>
                </c:pt>
                <c:pt idx="40">
                  <c:v>2.6826790166755026E-2</c:v>
                </c:pt>
                <c:pt idx="41">
                  <c:v>2.4203784771293646E-2</c:v>
                </c:pt>
                <c:pt idx="42">
                  <c:v>2.4098053977022377E-2</c:v>
                </c:pt>
                <c:pt idx="43">
                  <c:v>2.4523754132153155E-2</c:v>
                </c:pt>
                <c:pt idx="44">
                  <c:v>2.2379504666963371E-2</c:v>
                </c:pt>
                <c:pt idx="45">
                  <c:v>2.104065524243157E-2</c:v>
                </c:pt>
                <c:pt idx="46">
                  <c:v>2.2028240128902143E-2</c:v>
                </c:pt>
                <c:pt idx="47">
                  <c:v>2.3321641522021073E-2</c:v>
                </c:pt>
                <c:pt idx="48">
                  <c:v>2.5721900660138006E-2</c:v>
                </c:pt>
                <c:pt idx="49">
                  <c:v>2.4967370312040958E-2</c:v>
                </c:pt>
                <c:pt idx="50">
                  <c:v>2.6033359791458374E-2</c:v>
                </c:pt>
                <c:pt idx="51">
                  <c:v>2.5702227757022279E-2</c:v>
                </c:pt>
              </c:numCache>
            </c:numRef>
          </c:yVal>
          <c:smooth val="0"/>
          <c:extLst>
            <c:ext xmlns:c16="http://schemas.microsoft.com/office/drawing/2014/chart" uri="{C3380CC4-5D6E-409C-BE32-E72D297353CC}">
              <c16:uniqueId val="{00000002-F32D-48B7-BC20-E66FC6253BAD}"/>
            </c:ext>
          </c:extLst>
        </c:ser>
        <c:ser>
          <c:idx val="2"/>
          <c:order val="2"/>
          <c:tx>
            <c:strRef>
              <c:f>Sheet1!$B$159</c:f>
              <c:strCache>
                <c:ptCount val="1"/>
                <c:pt idx="0">
                  <c:v>Custom Linep3yQ</c:v>
                </c:pt>
              </c:strCache>
            </c:strRef>
          </c:tx>
          <c:spPr>
            <a:ln w="19050" cap="rnd">
              <a:solidFill>
                <a:srgbClr val="C00000"/>
              </a:solidFill>
              <a:prstDash val="sysDot"/>
              <a:round/>
            </a:ln>
            <a:effectLst/>
          </c:spPr>
          <c:marker>
            <c:symbol val="none"/>
          </c:marker>
          <c:xVal>
            <c:numRef>
              <c:f>Sheet1!$A$160:$A$161</c:f>
              <c:numCache>
                <c:formatCode>General</c:formatCode>
                <c:ptCount val="2"/>
                <c:pt idx="0">
                  <c:v>0</c:v>
                </c:pt>
                <c:pt idx="1">
                  <c:v>0.27575744047645689</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3-F32D-48B7-BC20-E66FC6253BAD}"/>
            </c:ext>
          </c:extLst>
        </c:ser>
        <c:ser>
          <c:idx val="3"/>
          <c:order val="3"/>
          <c:tx>
            <c:strRef>
              <c:f>Sheet1!$B$16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0.27575744047645689</c:v>
                </c:pt>
                <c:pt idx="1">
                  <c:v>0.27575744047645689</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8:$A$169</c:f>
              <c:numCache>
                <c:formatCode>General</c:formatCode>
                <c:ptCount val="2"/>
                <c:pt idx="0">
                  <c:v>0</c:v>
                </c:pt>
                <c:pt idx="1">
                  <c:v>0.28987004975079905</c:v>
                </c:pt>
              </c:numCache>
            </c:numRef>
          </c:xVal>
          <c:yVal>
            <c:numRef>
              <c:f>Sheet1!$B$168:$B$169</c:f>
              <c:numCache>
                <c:formatCode>General</c:formatCode>
                <c:ptCount val="2"/>
                <c:pt idx="0">
                  <c:v>3.1101577984060606E-2</c:v>
                </c:pt>
                <c:pt idx="1">
                  <c:v>3.1101577984060606E-2</c:v>
                </c:pt>
              </c:numCache>
            </c:numRef>
          </c:yVal>
          <c:smooth val="0"/>
          <c:extLst>
            <c:ext xmlns:c16="http://schemas.microsoft.com/office/drawing/2014/chart" uri="{C3380CC4-5D6E-409C-BE32-E72D297353CC}">
              <c16:uniqueId val="{0000000A-F32D-48B7-BC20-E66FC6253BAD}"/>
            </c:ext>
          </c:extLst>
        </c:ser>
        <c:ser>
          <c:idx val="5"/>
          <c:order val="5"/>
          <c:tx>
            <c:strRef>
              <c:f>Sheet1!$B$17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0.28987004975079905</c:v>
                </c:pt>
                <c:pt idx="1">
                  <c:v>0.28987004975079905</c:v>
                </c:pt>
              </c:numCache>
            </c:numRef>
          </c:xVal>
          <c:yVal>
            <c:numRef>
              <c:f>Sheet1!$B$172:$B$173</c:f>
              <c:numCache>
                <c:formatCode>General</c:formatCode>
                <c:ptCount val="2"/>
                <c:pt idx="0">
                  <c:v>3.1101577984060606E-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6:$A$177</c:f>
              <c:numCache>
                <c:formatCode>General</c:formatCode>
                <c:ptCount val="2"/>
                <c:pt idx="0">
                  <c:v>0</c:v>
                </c:pt>
                <c:pt idx="1">
                  <c:v>0.32888493428125432</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1-F32D-48B7-BC20-E66FC6253BAD}"/>
            </c:ext>
          </c:extLst>
        </c:ser>
        <c:ser>
          <c:idx val="7"/>
          <c:order val="7"/>
          <c:tx>
            <c:strRef>
              <c:f>Sheet1!$B$17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0:$A$181</c:f>
              <c:numCache>
                <c:formatCode>General</c:formatCode>
                <c:ptCount val="2"/>
                <c:pt idx="0">
                  <c:v>0.32888493428125432</c:v>
                </c:pt>
                <c:pt idx="1">
                  <c:v>0.32888493428125432</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4:$A$238</c:f>
              <c:numCache>
                <c:formatCode>General</c:formatCode>
                <c:ptCount val="55"/>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pt idx="52">
                  <c:v>0.28987004975079905</c:v>
                </c:pt>
                <c:pt idx="53">
                  <c:v>0.27575744047645689</c:v>
                </c:pt>
                <c:pt idx="54">
                  <c:v>0.32888493428125432</c:v>
                </c:pt>
              </c:numCache>
            </c:numRef>
          </c:xVal>
          <c:yVal>
            <c:numRef>
              <c:f>Sheet1!$B$184:$B$238</c:f>
              <c:numCache>
                <c:formatCode>General</c:formatCode>
                <c:ptCount val="55"/>
                <c:pt idx="0">
                  <c:v>2.9413873016704839E-2</c:v>
                </c:pt>
                <c:pt idx="1">
                  <c:v>2.9896344890080709E-2</c:v>
                </c:pt>
                <c:pt idx="2">
                  <c:v>3.0155656486461964E-2</c:v>
                </c:pt>
                <c:pt idx="3">
                  <c:v>2.7109900331363727E-2</c:v>
                </c:pt>
                <c:pt idx="4">
                  <c:v>2.4371775225560388E-2</c:v>
                </c:pt>
                <c:pt idx="5">
                  <c:v>2.4094268404047922E-2</c:v>
                </c:pt>
                <c:pt idx="6">
                  <c:v>2.4322183284519114E-2</c:v>
                </c:pt>
                <c:pt idx="7">
                  <c:v>2.5263903460272262E-2</c:v>
                </c:pt>
                <c:pt idx="8">
                  <c:v>2.7533717749061021E-2</c:v>
                </c:pt>
                <c:pt idx="9">
                  <c:v>2.9136059572005948E-2</c:v>
                </c:pt>
                <c:pt idx="10">
                  <c:v>2.8439725189245424E-2</c:v>
                </c:pt>
                <c:pt idx="11">
                  <c:v>2.8481575446516888E-2</c:v>
                </c:pt>
                <c:pt idx="12">
                  <c:v>3.0108594349578348E-2</c:v>
                </c:pt>
                <c:pt idx="13">
                  <c:v>3.169054387055209E-2</c:v>
                </c:pt>
                <c:pt idx="14">
                  <c:v>3.1465934595702259E-2</c:v>
                </c:pt>
                <c:pt idx="15">
                  <c:v>3.1477667841337743E-2</c:v>
                </c:pt>
                <c:pt idx="16">
                  <c:v>3.1573121681829512E-2</c:v>
                </c:pt>
                <c:pt idx="17">
                  <c:v>3.1532924296196564E-2</c:v>
                </c:pt>
                <c:pt idx="18">
                  <c:v>3.0515660900336583E-2</c:v>
                </c:pt>
                <c:pt idx="19">
                  <c:v>3.0211789143868836E-2</c:v>
                </c:pt>
                <c:pt idx="20">
                  <c:v>2.8955614795748236E-2</c:v>
                </c:pt>
                <c:pt idx="21">
                  <c:v>3.2772131418724967E-2</c:v>
                </c:pt>
                <c:pt idx="22">
                  <c:v>3.3542665870490845E-2</c:v>
                </c:pt>
                <c:pt idx="23">
                  <c:v>3.3435184307609174E-2</c:v>
                </c:pt>
                <c:pt idx="24">
                  <c:v>3.268271460365052E-2</c:v>
                </c:pt>
                <c:pt idx="25">
                  <c:v>3.3870059534782497E-2</c:v>
                </c:pt>
                <c:pt idx="26">
                  <c:v>3.3073079926514877E-2</c:v>
                </c:pt>
                <c:pt idx="27">
                  <c:v>3.1808643842456727E-2</c:v>
                </c:pt>
                <c:pt idx="28">
                  <c:v>3.0502176751221188E-2</c:v>
                </c:pt>
                <c:pt idx="29">
                  <c:v>2.7906678470255915E-2</c:v>
                </c:pt>
                <c:pt idx="30">
                  <c:v>2.5033266393526828E-2</c:v>
                </c:pt>
                <c:pt idx="31">
                  <c:v>2.630903103630991E-2</c:v>
                </c:pt>
                <c:pt idx="32">
                  <c:v>2.8693045313762239E-2</c:v>
                </c:pt>
                <c:pt idx="33">
                  <c:v>3.2596808075387743E-2</c:v>
                </c:pt>
                <c:pt idx="34">
                  <c:v>3.3462836223474769E-2</c:v>
                </c:pt>
                <c:pt idx="35">
                  <c:v>3.1780988069129081E-2</c:v>
                </c:pt>
                <c:pt idx="36">
                  <c:v>3.2997078119396075E-2</c:v>
                </c:pt>
                <c:pt idx="37">
                  <c:v>3.4241810296995578E-2</c:v>
                </c:pt>
                <c:pt idx="38">
                  <c:v>3.5259393566231922E-2</c:v>
                </c:pt>
                <c:pt idx="39">
                  <c:v>3.2524924643797831E-2</c:v>
                </c:pt>
                <c:pt idx="40">
                  <c:v>2.8308242375685959E-2</c:v>
                </c:pt>
                <c:pt idx="41">
                  <c:v>2.54404048951909E-2</c:v>
                </c:pt>
                <c:pt idx="42">
                  <c:v>2.3287513921568817E-2</c:v>
                </c:pt>
                <c:pt idx="43">
                  <c:v>2.3365554652546534E-2</c:v>
                </c:pt>
                <c:pt idx="44">
                  <c:v>2.3054756675168077E-2</c:v>
                </c:pt>
                <c:pt idx="45">
                  <c:v>2.3566114628330095E-2</c:v>
                </c:pt>
                <c:pt idx="46">
                  <c:v>2.5888630394799238E-2</c:v>
                </c:pt>
                <c:pt idx="47">
                  <c:v>2.6265547596405793E-2</c:v>
                </c:pt>
                <c:pt idx="48">
                  <c:v>2.7412822111043234E-2</c:v>
                </c:pt>
                <c:pt idx="49">
                  <c:v>2.5962622488181153E-2</c:v>
                </c:pt>
                <c:pt idx="50">
                  <c:v>2.4525712064247307E-2</c:v>
                </c:pt>
                <c:pt idx="51">
                  <c:v>2.4473274634488791E-2</c:v>
                </c:pt>
                <c:pt idx="52">
                  <c:v>3.1101577984060602E-2</c:v>
                </c:pt>
                <c:pt idx="53">
                  <c:v>3.3390590546211449E-2</c:v>
                </c:pt>
                <c:pt idx="54">
                  <c:v>2.4773509299877497E-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40737801608579088"/>
          <c:min val="0.18705920295984374"/>
        </c:scaling>
        <c:delete val="0"/>
        <c:axPos val="b"/>
        <c:title>
          <c:tx>
            <c:rich>
              <a:bodyPr rot="0" spcFirstLastPara="1" vertOverflow="ellipsis" vert="horz" wrap="square" anchor="ctr" anchorCtr="1"/>
              <a:lstStyle/>
              <a:p>
                <a:pPr>
                  <a:defRPr sz="800" b="0">
                    <a:latin typeface="Nexa Bold"/>
                  </a:defRPr>
                </a:pPr>
                <a:r>
                  <a:rPr lang="en-US"/>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1291069944164441</c:v>
                </c:pt>
                <c:pt idx="1">
                  <c:v>0.13485892486555889</c:v>
                </c:pt>
                <c:pt idx="2">
                  <c:v>0.13361697278764331</c:v>
                </c:pt>
                <c:pt idx="3">
                  <c:v>0.13181455947245191</c:v>
                </c:pt>
                <c:pt idx="4">
                  <c:v>0.13079849733141291</c:v>
                </c:pt>
                <c:pt idx="5">
                  <c:v>0.12786527339341361</c:v>
                </c:pt>
                <c:pt idx="6">
                  <c:v>0.13389772495720559</c:v>
                </c:pt>
                <c:pt idx="7">
                  <c:v>0.1359519354250221</c:v>
                </c:pt>
                <c:pt idx="8">
                  <c:v>0.13408395448492219</c:v>
                </c:pt>
                <c:pt idx="9">
                  <c:v>0.1272173036352085</c:v>
                </c:pt>
                <c:pt idx="10">
                  <c:v>0.12580154817273331</c:v>
                </c:pt>
                <c:pt idx="11">
                  <c:v>0.1247833670603628</c:v>
                </c:pt>
                <c:pt idx="12">
                  <c:v>0.12616612542700109</c:v>
                </c:pt>
                <c:pt idx="13">
                  <c:v>0.13426073846412021</c:v>
                </c:pt>
                <c:pt idx="14">
                  <c:v>0.13040345544745011</c:v>
                </c:pt>
                <c:pt idx="15">
                  <c:v>0.12568196098787579</c:v>
                </c:pt>
                <c:pt idx="16">
                  <c:v>0.1284543866213313</c:v>
                </c:pt>
                <c:pt idx="17">
                  <c:v>0.13252000199740169</c:v>
                </c:pt>
                <c:pt idx="18">
                  <c:v>0.12612196270786419</c:v>
                </c:pt>
                <c:pt idx="19">
                  <c:v>0.13496886950214251</c:v>
                </c:pt>
                <c:pt idx="20">
                  <c:v>0.13064933940560819</c:v>
                </c:pt>
                <c:pt idx="21">
                  <c:v>0.12635635491031241</c:v>
                </c:pt>
                <c:pt idx="22">
                  <c:v>0.12863609693980929</c:v>
                </c:pt>
                <c:pt idx="23">
                  <c:v>0.13116494310893009</c:v>
                </c:pt>
                <c:pt idx="24">
                  <c:v>0.1278058186678292</c:v>
                </c:pt>
                <c:pt idx="25">
                  <c:v>0.1235932293079324</c:v>
                </c:pt>
                <c:pt idx="26">
                  <c:v>0.12290934252239009</c:v>
                </c:pt>
                <c:pt idx="27">
                  <c:v>0.12109503765009599</c:v>
                </c:pt>
                <c:pt idx="28">
                  <c:v>0.12207135397276341</c:v>
                </c:pt>
                <c:pt idx="29">
                  <c:v>0.1263122981136704</c:v>
                </c:pt>
                <c:pt idx="30">
                  <c:v>0.1263263635992006</c:v>
                </c:pt>
                <c:pt idx="31">
                  <c:v>0.12476889875077329</c:v>
                </c:pt>
                <c:pt idx="32">
                  <c:v>0.12674353123399981</c:v>
                </c:pt>
                <c:pt idx="33">
                  <c:v>0.12588695742723971</c:v>
                </c:pt>
                <c:pt idx="34">
                  <c:v>0.12390000002667199</c:v>
                </c:pt>
                <c:pt idx="35">
                  <c:v>0.12440850519118039</c:v>
                </c:pt>
                <c:pt idx="36">
                  <c:v>0.12336288941275771</c:v>
                </c:pt>
                <c:pt idx="37">
                  <c:v>0.1236579395008299</c:v>
                </c:pt>
                <c:pt idx="38">
                  <c:v>0.1244360084590832</c:v>
                </c:pt>
                <c:pt idx="39">
                  <c:v>0.12224083915887329</c:v>
                </c:pt>
                <c:pt idx="40">
                  <c:v>0.1219327444047168</c:v>
                </c:pt>
                <c:pt idx="41">
                  <c:v>0.1250560323566518</c:v>
                </c:pt>
                <c:pt idx="42">
                  <c:v>0.12745512740440279</c:v>
                </c:pt>
                <c:pt idx="43">
                  <c:v>0.1211984894858895</c:v>
                </c:pt>
                <c:pt idx="44">
                  <c:v>0.1258670226690102</c:v>
                </c:pt>
                <c:pt idx="45">
                  <c:v>0.1272339848348821</c:v>
                </c:pt>
                <c:pt idx="46">
                  <c:v>0.13490346412193621</c:v>
                </c:pt>
                <c:pt idx="47">
                  <c:v>0.1232399985423943</c:v>
                </c:pt>
                <c:pt idx="48">
                  <c:v>0.12311641114157899</c:v>
                </c:pt>
                <c:pt idx="49">
                  <c:v>0.1234350759255986</c:v>
                </c:pt>
                <c:pt idx="50">
                  <c:v>0.12419744604278141</c:v>
                </c:pt>
                <c:pt idx="51">
                  <c:v>0.13145508336915421</c:v>
                </c:pt>
                <c:pt idx="52">
                  <c:v>0.13109930113357529</c:v>
                </c:pt>
                <c:pt idx="53">
                  <c:v>0.13568928560863899</c:v>
                </c:pt>
                <c:pt idx="54">
                  <c:v>0.1285210371531505</c:v>
                </c:pt>
                <c:pt idx="55">
                  <c:v>0.1300753516373136</c:v>
                </c:pt>
                <c:pt idx="56">
                  <c:v>0.12489749950473671</c:v>
                </c:pt>
                <c:pt idx="57">
                  <c:v>0.10266521645136149</c:v>
                </c:pt>
                <c:pt idx="58">
                  <c:v>9.4621929093130358E-2</c:v>
                </c:pt>
                <c:pt idx="59">
                  <c:v>9.8212612965823731E-2</c:v>
                </c:pt>
                <c:pt idx="60">
                  <c:v>0.1102654339127445</c:v>
                </c:pt>
                <c:pt idx="61">
                  <c:v>0.1086326326560431</c:v>
                </c:pt>
                <c:pt idx="62">
                  <c:v>0.10273100071317991</c:v>
                </c:pt>
                <c:pt idx="63">
                  <c:v>0.1056131313298932</c:v>
                </c:pt>
                <c:pt idx="64">
                  <c:v>0.116037952360732</c:v>
                </c:pt>
                <c:pt idx="65">
                  <c:v>0.13065683342069531</c:v>
                </c:pt>
                <c:pt idx="66">
                  <c:v>0.132712182958446</c:v>
                </c:pt>
                <c:pt idx="67">
                  <c:v>0.12498087731066</c:v>
                </c:pt>
                <c:pt idx="68">
                  <c:v>0.1318623648264734</c:v>
                </c:pt>
                <c:pt idx="69">
                  <c:v>0.13405085209231629</c:v>
                </c:pt>
                <c:pt idx="70">
                  <c:v>0.12663942767242409</c:v>
                </c:pt>
                <c:pt idx="71">
                  <c:v>0.13715997078444109</c:v>
                </c:pt>
                <c:pt idx="72">
                  <c:v>0.1312699287114284</c:v>
                </c:pt>
                <c:pt idx="73">
                  <c:v>0.1290474255800157</c:v>
                </c:pt>
                <c:pt idx="74">
                  <c:v>0.12976627424972709</c:v>
                </c:pt>
                <c:pt idx="75">
                  <c:v>0.12686829869724861</c:v>
                </c:pt>
                <c:pt idx="76">
                  <c:v>0.1253623579280761</c:v>
                </c:pt>
                <c:pt idx="77">
                  <c:v>0.12968156222074531</c:v>
                </c:pt>
                <c:pt idx="78">
                  <c:v>0.12750329032649099</c:v>
                </c:pt>
                <c:pt idx="79">
                  <c:v>0.12461050546445129</c:v>
                </c:pt>
                <c:pt idx="80">
                  <c:v>0.12900335189603049</c:v>
                </c:pt>
                <c:pt idx="81">
                  <c:v>0.12741746962889991</c:v>
                </c:pt>
                <c:pt idx="82">
                  <c:v>0.1227246355993528</c:v>
                </c:pt>
                <c:pt idx="83">
                  <c:v>0.12325497363003669</c:v>
                </c:pt>
                <c:pt idx="84">
                  <c:v>0.1237777050026681</c:v>
                </c:pt>
                <c:pt idx="85">
                  <c:v>0.1227618684932686</c:v>
                </c:pt>
                <c:pt idx="86">
                  <c:v>0.12625273778634091</c:v>
                </c:pt>
                <c:pt idx="87">
                  <c:v>0.12848401925218161</c:v>
                </c:pt>
                <c:pt idx="88">
                  <c:v>0.12808991008793849</c:v>
                </c:pt>
                <c:pt idx="89">
                  <c:v>0.12669599383578639</c:v>
                </c:pt>
                <c:pt idx="90">
                  <c:v>0.128457244567205</c:v>
                </c:pt>
                <c:pt idx="91">
                  <c:v>0.1287495738807907</c:v>
                </c:pt>
                <c:pt idx="92">
                  <c:v>0.12753778198649329</c:v>
                </c:pt>
                <c:pt idx="93">
                  <c:v>0.12858384689357691</c:v>
                </c:pt>
                <c:pt idx="94">
                  <c:v>0.13053873342212541</c:v>
                </c:pt>
                <c:pt idx="95">
                  <c:v>0.1283681251237693</c:v>
                </c:pt>
                <c:pt idx="96">
                  <c:v>0.12712219330013799</c:v>
                </c:pt>
                <c:pt idx="97">
                  <c:v>0.12537888942730019</c:v>
                </c:pt>
                <c:pt idx="98">
                  <c:v>0.12745921704595151</c:v>
                </c:pt>
                <c:pt idx="99">
                  <c:v>0.1212266665697815</c:v>
                </c:pt>
                <c:pt idx="100">
                  <c:v>0.1141728668578047</c:v>
                </c:pt>
                <c:pt idx="101">
                  <c:v>0.115957494325048</c:v>
                </c:pt>
              </c:numCache>
            </c:numRef>
          </c:xVal>
          <c:yVal>
            <c:numRef>
              <c:f>Sheet1!$B$2:$B$103</c:f>
              <c:numCache>
                <c:formatCode>General</c:formatCode>
                <c:ptCount val="102"/>
                <c:pt idx="0">
                  <c:v>3.1549194168607013E-2</c:v>
                </c:pt>
                <c:pt idx="1">
                  <c:v>2.5925076493376501E-2</c:v>
                </c:pt>
                <c:pt idx="2">
                  <c:v>1.9457371147598559E-2</c:v>
                </c:pt>
                <c:pt idx="3">
                  <c:v>2.1005226955186751E-2</c:v>
                </c:pt>
                <c:pt idx="4">
                  <c:v>2.3683174888924512E-2</c:v>
                </c:pt>
                <c:pt idx="5">
                  <c:v>2.481491169212223E-2</c:v>
                </c:pt>
                <c:pt idx="6">
                  <c:v>2.2966901329024649E-2</c:v>
                </c:pt>
                <c:pt idx="7">
                  <c:v>2.1693356757167159E-2</c:v>
                </c:pt>
                <c:pt idx="8">
                  <c:v>2.508474647577718E-2</c:v>
                </c:pt>
                <c:pt idx="9">
                  <c:v>3.2219360006132687E-2</c:v>
                </c:pt>
                <c:pt idx="10">
                  <c:v>3.3455366889535383E-2</c:v>
                </c:pt>
                <c:pt idx="11">
                  <c:v>3.077420503855852E-2</c:v>
                </c:pt>
                <c:pt idx="12">
                  <c:v>3.166311843777065E-2</c:v>
                </c:pt>
                <c:pt idx="13">
                  <c:v>2.9573633835338661E-2</c:v>
                </c:pt>
                <c:pt idx="14">
                  <c:v>2.943829474961886E-2</c:v>
                </c:pt>
                <c:pt idx="15">
                  <c:v>3.2326555355538883E-2</c:v>
                </c:pt>
                <c:pt idx="16">
                  <c:v>3.045418321235838E-2</c:v>
                </c:pt>
                <c:pt idx="17">
                  <c:v>3.0177244147381321E-2</c:v>
                </c:pt>
                <c:pt idx="18">
                  <c:v>3.0949579617420529E-2</c:v>
                </c:pt>
                <c:pt idx="19">
                  <c:v>3.3044676701229417E-2</c:v>
                </c:pt>
                <c:pt idx="20">
                  <c:v>3.4502368865567047E-2</c:v>
                </c:pt>
                <c:pt idx="21">
                  <c:v>3.8171203781773647E-2</c:v>
                </c:pt>
                <c:pt idx="22">
                  <c:v>3.2633840746857157E-2</c:v>
                </c:pt>
                <c:pt idx="23">
                  <c:v>3.22851825867847E-2</c:v>
                </c:pt>
                <c:pt idx="24">
                  <c:v>3.4293774474369272E-2</c:v>
                </c:pt>
                <c:pt idx="25">
                  <c:v>3.3493331489235549E-2</c:v>
                </c:pt>
                <c:pt idx="26">
                  <c:v>3.2256296982208908E-2</c:v>
                </c:pt>
                <c:pt idx="27">
                  <c:v>3.256327154323236E-2</c:v>
                </c:pt>
                <c:pt idx="28">
                  <c:v>3.0215972855570969E-2</c:v>
                </c:pt>
                <c:pt idx="29">
                  <c:v>2.971323515475446E-2</c:v>
                </c:pt>
                <c:pt idx="30">
                  <c:v>2.9886044202056931E-2</c:v>
                </c:pt>
                <c:pt idx="31">
                  <c:v>3.0113049153545669E-2</c:v>
                </c:pt>
                <c:pt idx="32">
                  <c:v>3.0121682992946059E-2</c:v>
                </c:pt>
                <c:pt idx="33">
                  <c:v>2.8704102443482309E-2</c:v>
                </c:pt>
                <c:pt idx="34">
                  <c:v>3.0602403901330309E-2</c:v>
                </c:pt>
                <c:pt idx="35">
                  <c:v>3.1456536502498793E-2</c:v>
                </c:pt>
                <c:pt idx="36">
                  <c:v>3.1516667937295108E-2</c:v>
                </c:pt>
                <c:pt idx="37">
                  <c:v>3.3226585884057157E-2</c:v>
                </c:pt>
                <c:pt idx="38">
                  <c:v>3.3016326225624587E-2</c:v>
                </c:pt>
                <c:pt idx="39">
                  <c:v>3.0075909553288729E-2</c:v>
                </c:pt>
                <c:pt idx="40">
                  <c:v>3.030822714314705E-2</c:v>
                </c:pt>
                <c:pt idx="41">
                  <c:v>3.1273537834975489E-2</c:v>
                </c:pt>
                <c:pt idx="42">
                  <c:v>3.005901690014778E-2</c:v>
                </c:pt>
                <c:pt idx="43">
                  <c:v>3.0573863083611631E-2</c:v>
                </c:pt>
                <c:pt idx="44">
                  <c:v>3.254448153409624E-2</c:v>
                </c:pt>
                <c:pt idx="45">
                  <c:v>3.2420025270644671E-2</c:v>
                </c:pt>
                <c:pt idx="46">
                  <c:v>3.0841270586476861E-2</c:v>
                </c:pt>
                <c:pt idx="47">
                  <c:v>3.4545476528939613E-2</c:v>
                </c:pt>
                <c:pt idx="48">
                  <c:v>3.9378011399146942E-2</c:v>
                </c:pt>
                <c:pt idx="49">
                  <c:v>3.4585845792310457E-2</c:v>
                </c:pt>
                <c:pt idx="50">
                  <c:v>3.6889295123608737E-2</c:v>
                </c:pt>
                <c:pt idx="51">
                  <c:v>3.516974061970235E-2</c:v>
                </c:pt>
                <c:pt idx="52">
                  <c:v>3.3440411726256947E-2</c:v>
                </c:pt>
                <c:pt idx="53">
                  <c:v>3.0775515895011849E-2</c:v>
                </c:pt>
                <c:pt idx="54">
                  <c:v>2.856172806220978E-2</c:v>
                </c:pt>
                <c:pt idx="55">
                  <c:v>2.9260191711765832E-2</c:v>
                </c:pt>
                <c:pt idx="56">
                  <c:v>3.1178692703543051E-2</c:v>
                </c:pt>
                <c:pt idx="57">
                  <c:v>3.7031471681131703E-2</c:v>
                </c:pt>
                <c:pt idx="58">
                  <c:v>3.9909501581123753E-2</c:v>
                </c:pt>
                <c:pt idx="59">
                  <c:v>3.3090443177845791E-2</c:v>
                </c:pt>
                <c:pt idx="60">
                  <c:v>2.0429936026239701E-2</c:v>
                </c:pt>
                <c:pt idx="61">
                  <c:v>1.594233918003489E-2</c:v>
                </c:pt>
                <c:pt idx="62">
                  <c:v>2.6561543645322629E-2</c:v>
                </c:pt>
                <c:pt idx="63">
                  <c:v>3.5068893654044378E-2</c:v>
                </c:pt>
                <c:pt idx="64">
                  <c:v>3.0967228847484721E-2</c:v>
                </c:pt>
                <c:pt idx="65">
                  <c:v>2.602705616299417E-2</c:v>
                </c:pt>
                <c:pt idx="66">
                  <c:v>2.587150374122359E-2</c:v>
                </c:pt>
                <c:pt idx="67">
                  <c:v>2.691260699372984E-2</c:v>
                </c:pt>
                <c:pt idx="68">
                  <c:v>2.5874418970458959E-2</c:v>
                </c:pt>
                <c:pt idx="69">
                  <c:v>2.3193315376484971E-2</c:v>
                </c:pt>
                <c:pt idx="70">
                  <c:v>2.2686657383630061E-2</c:v>
                </c:pt>
                <c:pt idx="71">
                  <c:v>2.6189284143623481E-2</c:v>
                </c:pt>
                <c:pt idx="72">
                  <c:v>2.7336338114147821E-2</c:v>
                </c:pt>
                <c:pt idx="73">
                  <c:v>2.7740990571672709E-2</c:v>
                </c:pt>
                <c:pt idx="74">
                  <c:v>2.877527311984417E-2</c:v>
                </c:pt>
                <c:pt idx="75">
                  <c:v>2.8510329318482429E-2</c:v>
                </c:pt>
                <c:pt idx="76">
                  <c:v>2.7909474603405621E-2</c:v>
                </c:pt>
                <c:pt idx="77">
                  <c:v>2.354699792786898E-2</c:v>
                </c:pt>
                <c:pt idx="78">
                  <c:v>2.3516397046911521E-2</c:v>
                </c:pt>
                <c:pt idx="79">
                  <c:v>2.2115174941799771E-2</c:v>
                </c:pt>
                <c:pt idx="80">
                  <c:v>2.2268202762568419E-2</c:v>
                </c:pt>
                <c:pt idx="81">
                  <c:v>2.1244426266941788E-2</c:v>
                </c:pt>
                <c:pt idx="82">
                  <c:v>3.1177386289303839E-2</c:v>
                </c:pt>
                <c:pt idx="83">
                  <c:v>2.630647686699077E-2</c:v>
                </c:pt>
                <c:pt idx="84">
                  <c:v>2.5524833007679371E-2</c:v>
                </c:pt>
                <c:pt idx="85">
                  <c:v>2.6871534411513371E-2</c:v>
                </c:pt>
                <c:pt idx="86">
                  <c:v>2.6338851413823881E-2</c:v>
                </c:pt>
                <c:pt idx="87">
                  <c:v>2.464870108961555E-2</c:v>
                </c:pt>
                <c:pt idx="88">
                  <c:v>2.6238033764437702E-2</c:v>
                </c:pt>
                <c:pt idx="89">
                  <c:v>3.0191859532939729E-2</c:v>
                </c:pt>
                <c:pt idx="90">
                  <c:v>3.071685169632082E-2</c:v>
                </c:pt>
                <c:pt idx="91">
                  <c:v>3.1790352756617277E-2</c:v>
                </c:pt>
                <c:pt idx="92">
                  <c:v>2.9789485452214989E-2</c:v>
                </c:pt>
                <c:pt idx="93">
                  <c:v>2.7419432969366012E-2</c:v>
                </c:pt>
                <c:pt idx="94">
                  <c:v>2.5375304588112151E-2</c:v>
                </c:pt>
                <c:pt idx="95">
                  <c:v>2.727143524464504E-2</c:v>
                </c:pt>
                <c:pt idx="96">
                  <c:v>2.430072520573312E-2</c:v>
                </c:pt>
                <c:pt idx="97">
                  <c:v>2.5953063658202231E-2</c:v>
                </c:pt>
                <c:pt idx="98">
                  <c:v>2.870484051773789E-2</c:v>
                </c:pt>
                <c:pt idx="99">
                  <c:v>3.0161179689259059E-2</c:v>
                </c:pt>
                <c:pt idx="100">
                  <c:v>3.7558407981539428E-2</c:v>
                </c:pt>
                <c:pt idx="101">
                  <c:v>3.5796970668813113E-2</c:v>
                </c:pt>
              </c:numCache>
            </c:numRef>
          </c:yVal>
          <c:smooth val="0"/>
          <c:extLst>
            <c:ext xmlns:c16="http://schemas.microsoft.com/office/drawing/2014/chart" uri="{C3380CC4-5D6E-409C-BE32-E72D297353CC}">
              <c16:uniqueId val="{00000000-096C-4121-9522-6AB7243CCAAE}"/>
            </c:ext>
          </c:extLst>
        </c:ser>
        <c:ser>
          <c:idx val="1"/>
          <c:order val="1"/>
          <c:tx>
            <c:strRef>
              <c:f>Sheet1!$B$10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6:$A$157</c:f>
              <c:numCache>
                <c:formatCode>General</c:formatCode>
                <c:ptCount val="52"/>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numCache>
            </c:numRef>
          </c:xVal>
          <c:yVal>
            <c:numRef>
              <c:f>Sheet1!$B$106:$B$157</c:f>
              <c:numCache>
                <c:formatCode>General</c:formatCode>
                <c:ptCount val="52"/>
                <c:pt idx="0">
                  <c:v>3.3379430772150658E-2</c:v>
                </c:pt>
                <c:pt idx="1">
                  <c:v>3.5297770608354727E-2</c:v>
                </c:pt>
                <c:pt idx="2">
                  <c:v>3.603152077608085E-2</c:v>
                </c:pt>
                <c:pt idx="3">
                  <c:v>3.0978674639028671E-2</c:v>
                </c:pt>
                <c:pt idx="4">
                  <c:v>2.8133515753956471E-2</c:v>
                </c:pt>
                <c:pt idx="5">
                  <c:v>2.7512069607189622E-2</c:v>
                </c:pt>
                <c:pt idx="6">
                  <c:v>2.753590860107619E-2</c:v>
                </c:pt>
                <c:pt idx="7">
                  <c:v>2.7306049137985969E-2</c:v>
                </c:pt>
                <c:pt idx="8">
                  <c:v>2.683860754587173E-2</c:v>
                </c:pt>
                <c:pt idx="9">
                  <c:v>2.8577136215520639E-2</c:v>
                </c:pt>
                <c:pt idx="10">
                  <c:v>2.9045708307140341E-2</c:v>
                </c:pt>
                <c:pt idx="11">
                  <c:v>3.0151694267354031E-2</c:v>
                </c:pt>
                <c:pt idx="12">
                  <c:v>3.1278274774940933E-2</c:v>
                </c:pt>
                <c:pt idx="13">
                  <c:v>3.2623144271831599E-2</c:v>
                </c:pt>
                <c:pt idx="14">
                  <c:v>3.2081452766552027E-2</c:v>
                </c:pt>
                <c:pt idx="15">
                  <c:v>2.8476513020004542E-2</c:v>
                </c:pt>
                <c:pt idx="16">
                  <c:v>2.889792926206242E-2</c:v>
                </c:pt>
                <c:pt idx="17">
                  <c:v>2.8572345272906731E-2</c:v>
                </c:pt>
                <c:pt idx="18">
                  <c:v>2.758215728763419E-2</c:v>
                </c:pt>
                <c:pt idx="19">
                  <c:v>2.6684207925807661E-2</c:v>
                </c:pt>
                <c:pt idx="20">
                  <c:v>2.507409816863837E-2</c:v>
                </c:pt>
                <c:pt idx="21">
                  <c:v>3.7053775555914388E-2</c:v>
                </c:pt>
                <c:pt idx="22">
                  <c:v>4.1201839145334811E-2</c:v>
                </c:pt>
                <c:pt idx="23">
                  <c:v>3.952108516249337E-2</c:v>
                </c:pt>
                <c:pt idx="24">
                  <c:v>3.301132678213544E-2</c:v>
                </c:pt>
                <c:pt idx="25">
                  <c:v>3.4672282379825628E-2</c:v>
                </c:pt>
                <c:pt idx="26">
                  <c:v>3.6478521099227869E-2</c:v>
                </c:pt>
                <c:pt idx="27">
                  <c:v>3.1719960612283417E-2</c:v>
                </c:pt>
                <c:pt idx="28">
                  <c:v>2.9844699099281859E-2</c:v>
                </c:pt>
                <c:pt idx="29">
                  <c:v>2.824703792935155E-2</c:v>
                </c:pt>
                <c:pt idx="30">
                  <c:v>2.3926861689124789E-2</c:v>
                </c:pt>
                <c:pt idx="31">
                  <c:v>2.077067140814904E-2</c:v>
                </c:pt>
                <c:pt idx="32">
                  <c:v>2.3460558709885782E-2</c:v>
                </c:pt>
                <c:pt idx="33">
                  <c:v>3.042796286207031E-2</c:v>
                </c:pt>
                <c:pt idx="34">
                  <c:v>3.1037706913624011E-2</c:v>
                </c:pt>
                <c:pt idx="35">
                  <c:v>2.928997264422914E-2</c:v>
                </c:pt>
                <c:pt idx="36">
                  <c:v>2.9697936908540851E-2</c:v>
                </c:pt>
                <c:pt idx="37">
                  <c:v>3.0248130900335801E-2</c:v>
                </c:pt>
                <c:pt idx="38">
                  <c:v>3.5070387750061743E-2</c:v>
                </c:pt>
                <c:pt idx="39">
                  <c:v>3.120833777020552E-2</c:v>
                </c:pt>
                <c:pt idx="40">
                  <c:v>2.682679016675503E-2</c:v>
                </c:pt>
                <c:pt idx="41">
                  <c:v>2.4203784771293649E-2</c:v>
                </c:pt>
                <c:pt idx="42">
                  <c:v>2.4098053977022381E-2</c:v>
                </c:pt>
                <c:pt idx="43">
                  <c:v>2.4523754132153151E-2</c:v>
                </c:pt>
                <c:pt idx="44">
                  <c:v>2.2379504666963371E-2</c:v>
                </c:pt>
                <c:pt idx="45">
                  <c:v>2.104065524243157E-2</c:v>
                </c:pt>
                <c:pt idx="46">
                  <c:v>2.202824012890214E-2</c:v>
                </c:pt>
                <c:pt idx="47">
                  <c:v>2.3321641522021069E-2</c:v>
                </c:pt>
                <c:pt idx="48">
                  <c:v>2.5721900660138009E-2</c:v>
                </c:pt>
                <c:pt idx="49">
                  <c:v>2.4967370312040962E-2</c:v>
                </c:pt>
                <c:pt idx="50">
                  <c:v>2.603335979145837E-2</c:v>
                </c:pt>
                <c:pt idx="51">
                  <c:v>2.5702227757022279E-2</c:v>
                </c:pt>
              </c:numCache>
            </c:numRef>
          </c:yVal>
          <c:smooth val="0"/>
          <c:extLst>
            <c:ext xmlns:c16="http://schemas.microsoft.com/office/drawing/2014/chart" uri="{C3380CC4-5D6E-409C-BE32-E72D297353CC}">
              <c16:uniqueId val="{00000002-096C-4121-9522-6AB7243CCAAE}"/>
            </c:ext>
          </c:extLst>
        </c:ser>
        <c:ser>
          <c:idx val="2"/>
          <c:order val="2"/>
          <c:tx>
            <c:strRef>
              <c:f>Sheet1!$B$15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0:$A$161</c:f>
              <c:numCache>
                <c:formatCode>General</c:formatCode>
                <c:ptCount val="2"/>
                <c:pt idx="0">
                  <c:v>0</c:v>
                </c:pt>
                <c:pt idx="1">
                  <c:v>0.1108820277239114</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5-096C-4121-9522-6AB7243CCAAE}"/>
            </c:ext>
          </c:extLst>
        </c:ser>
        <c:ser>
          <c:idx val="3"/>
          <c:order val="3"/>
          <c:tx>
            <c:strRef>
              <c:f>Sheet1!$B$16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0.1108820277239114</c:v>
                </c:pt>
                <c:pt idx="1">
                  <c:v>0.1108820277239114</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8:$A$169</c:f>
              <c:numCache>
                <c:formatCode>General</c:formatCode>
                <c:ptCount val="2"/>
                <c:pt idx="0">
                  <c:v>0</c:v>
                </c:pt>
                <c:pt idx="1">
                  <c:v>0.11732114474802791</c:v>
                </c:pt>
              </c:numCache>
            </c:numRef>
          </c:xVal>
          <c:yVal>
            <c:numRef>
              <c:f>Sheet1!$B$168:$B$169</c:f>
              <c:numCache>
                <c:formatCode>General</c:formatCode>
                <c:ptCount val="2"/>
                <c:pt idx="0">
                  <c:v>3.1101577984060609E-2</c:v>
                </c:pt>
                <c:pt idx="1">
                  <c:v>3.1101577984060609E-2</c:v>
                </c:pt>
              </c:numCache>
            </c:numRef>
          </c:yVal>
          <c:smooth val="0"/>
          <c:extLst>
            <c:ext xmlns:c16="http://schemas.microsoft.com/office/drawing/2014/chart" uri="{C3380CC4-5D6E-409C-BE32-E72D297353CC}">
              <c16:uniqueId val="{0000000D-096C-4121-9522-6AB7243CCAAE}"/>
            </c:ext>
          </c:extLst>
        </c:ser>
        <c:ser>
          <c:idx val="5"/>
          <c:order val="5"/>
          <c:tx>
            <c:strRef>
              <c:f>Sheet1!$B$17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0.11732114474802791</c:v>
                </c:pt>
                <c:pt idx="1">
                  <c:v>0.11732114474802791</c:v>
                </c:pt>
              </c:numCache>
            </c:numRef>
          </c:xVal>
          <c:yVal>
            <c:numRef>
              <c:f>Sheet1!$B$172:$B$173</c:f>
              <c:numCache>
                <c:formatCode>General</c:formatCode>
                <c:ptCount val="2"/>
                <c:pt idx="0">
                  <c:v>3.1101577984060609E-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6:$A$177</c:f>
              <c:numCache>
                <c:formatCode>General</c:formatCode>
                <c:ptCount val="2"/>
                <c:pt idx="0">
                  <c:v>0</c:v>
                </c:pt>
                <c:pt idx="1">
                  <c:v>0.13512234665834599</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5-096C-4121-9522-6AB7243CCAAE}"/>
            </c:ext>
          </c:extLst>
        </c:ser>
        <c:ser>
          <c:idx val="7"/>
          <c:order val="7"/>
          <c:tx>
            <c:strRef>
              <c:f>Sheet1!$B$17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0:$A$181</c:f>
              <c:numCache>
                <c:formatCode>General</c:formatCode>
                <c:ptCount val="2"/>
                <c:pt idx="0">
                  <c:v>0.13512234665834599</c:v>
                </c:pt>
                <c:pt idx="1">
                  <c:v>0.13512234665834599</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4:$A$238</c:f>
              <c:numCache>
                <c:formatCode>General</c:formatCode>
                <c:ptCount val="55"/>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pt idx="52">
                  <c:v>0.11732114474802791</c:v>
                </c:pt>
                <c:pt idx="53">
                  <c:v>0.1108820277239114</c:v>
                </c:pt>
                <c:pt idx="54">
                  <c:v>0.13512234665834599</c:v>
                </c:pt>
              </c:numCache>
            </c:numRef>
          </c:xVal>
          <c:yVal>
            <c:numRef>
              <c:f>Sheet1!$B$184:$B$238</c:f>
              <c:numCache>
                <c:formatCode>General</c:formatCode>
                <c:ptCount val="55"/>
                <c:pt idx="0">
                  <c:v>3.1620668745252142E-2</c:v>
                </c:pt>
                <c:pt idx="1">
                  <c:v>3.1654790245678951E-2</c:v>
                </c:pt>
                <c:pt idx="2">
                  <c:v>3.2783325344754151E-2</c:v>
                </c:pt>
                <c:pt idx="3">
                  <c:v>3.022688607526958E-2</c:v>
                </c:pt>
                <c:pt idx="4">
                  <c:v>2.8540776744242852E-2</c:v>
                </c:pt>
                <c:pt idx="5">
                  <c:v>2.8198639317480349E-2</c:v>
                </c:pt>
                <c:pt idx="6">
                  <c:v>2.8149354774764782E-2</c:v>
                </c:pt>
                <c:pt idx="7">
                  <c:v>2.8199004366077019E-2</c:v>
                </c:pt>
                <c:pt idx="8">
                  <c:v>3.0157282303857849E-2</c:v>
                </c:pt>
                <c:pt idx="9">
                  <c:v>2.9717490317624731E-2</c:v>
                </c:pt>
                <c:pt idx="10">
                  <c:v>2.880162617160174E-2</c:v>
                </c:pt>
                <c:pt idx="11">
                  <c:v>3.0799476543192809E-2</c:v>
                </c:pt>
                <c:pt idx="12">
                  <c:v>2.8080121278043681E-2</c:v>
                </c:pt>
                <c:pt idx="13">
                  <c:v>2.8247092051713919E-2</c:v>
                </c:pt>
                <c:pt idx="14">
                  <c:v>2.639540124703324E-2</c:v>
                </c:pt>
                <c:pt idx="15">
                  <c:v>1.9220157910636009E-2</c:v>
                </c:pt>
                <c:pt idx="16">
                  <c:v>2.9292926757015069E-2</c:v>
                </c:pt>
                <c:pt idx="17">
                  <c:v>2.9541107656935999E-2</c:v>
                </c:pt>
                <c:pt idx="18">
                  <c:v>3.1154431279754719E-2</c:v>
                </c:pt>
                <c:pt idx="19">
                  <c:v>2.9461129531890291E-2</c:v>
                </c:pt>
                <c:pt idx="20">
                  <c:v>3.0313783713891131E-2</c:v>
                </c:pt>
                <c:pt idx="21">
                  <c:v>3.3508822667282862E-2</c:v>
                </c:pt>
                <c:pt idx="22">
                  <c:v>3.4739165058279807E-2</c:v>
                </c:pt>
                <c:pt idx="23">
                  <c:v>3.3561500120319547E-2</c:v>
                </c:pt>
                <c:pt idx="24">
                  <c:v>3.0961282548418428E-2</c:v>
                </c:pt>
                <c:pt idx="25">
                  <c:v>3.325613118609181E-2</c:v>
                </c:pt>
                <c:pt idx="26">
                  <c:v>3.230935798656305E-2</c:v>
                </c:pt>
                <c:pt idx="27">
                  <c:v>3.0186042242885399E-2</c:v>
                </c:pt>
                <c:pt idx="28">
                  <c:v>2.9826699740302571E-2</c:v>
                </c:pt>
                <c:pt idx="29">
                  <c:v>2.8461825588360749E-2</c:v>
                </c:pt>
                <c:pt idx="30">
                  <c:v>2.6667445839888119E-2</c:v>
                </c:pt>
                <c:pt idx="31">
                  <c:v>2.9333797528733729E-2</c:v>
                </c:pt>
                <c:pt idx="32">
                  <c:v>2.8469462201818171E-2</c:v>
                </c:pt>
                <c:pt idx="33">
                  <c:v>3.1278574864500211E-2</c:v>
                </c:pt>
                <c:pt idx="34">
                  <c:v>3.362517184260494E-2</c:v>
                </c:pt>
                <c:pt idx="35">
                  <c:v>3.1259339751075838E-2</c:v>
                </c:pt>
                <c:pt idx="36">
                  <c:v>3.2466678789921898E-2</c:v>
                </c:pt>
                <c:pt idx="37">
                  <c:v>3.336561461501103E-2</c:v>
                </c:pt>
                <c:pt idx="38">
                  <c:v>3.1897061212580187E-2</c:v>
                </c:pt>
                <c:pt idx="39">
                  <c:v>3.0591232179052279E-2</c:v>
                </c:pt>
                <c:pt idx="40">
                  <c:v>2.6490890509876141E-2</c:v>
                </c:pt>
                <c:pt idx="41">
                  <c:v>2.5005655171483909E-2</c:v>
                </c:pt>
                <c:pt idx="42">
                  <c:v>2.471524594195228E-2</c:v>
                </c:pt>
                <c:pt idx="43">
                  <c:v>2.5740688254943609E-2</c:v>
                </c:pt>
                <c:pt idx="44">
                  <c:v>2.534241769031121E-2</c:v>
                </c:pt>
                <c:pt idx="45">
                  <c:v>2.5785004878787769E-2</c:v>
                </c:pt>
                <c:pt idx="46">
                  <c:v>2.6712805427711591E-2</c:v>
                </c:pt>
                <c:pt idx="47">
                  <c:v>2.6016063432124481E-2</c:v>
                </c:pt>
                <c:pt idx="48">
                  <c:v>2.645901837190287E-2</c:v>
                </c:pt>
                <c:pt idx="49">
                  <c:v>2.253097533810856E-2</c:v>
                </c:pt>
                <c:pt idx="50">
                  <c:v>2.3407974477709061E-2</c:v>
                </c:pt>
                <c:pt idx="51">
                  <c:v>2.5267129597052979E-2</c:v>
                </c:pt>
                <c:pt idx="52">
                  <c:v>3.1101577984060599E-2</c:v>
                </c:pt>
                <c:pt idx="53">
                  <c:v>3.3390590546211449E-2</c:v>
                </c:pt>
                <c:pt idx="54">
                  <c:v>2.47735092998775E-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18089307194123574"/>
          <c:min val="7.5697543274504286E-2"/>
        </c:scaling>
        <c:delete val="0"/>
        <c:axPos val="b"/>
        <c:title>
          <c:tx>
            <c:rich>
              <a:bodyPr rot="0" spcFirstLastPara="1" vertOverflow="ellipsis" vert="horz" wrap="square" anchor="ctr" anchorCtr="1"/>
              <a:lstStyle/>
              <a:p>
                <a:pPr>
                  <a:defRPr sz="800" b="0">
                    <a:solidFill>
                      <a:srgbClr val="575555"/>
                    </a:solidFill>
                    <a:latin typeface="Nexa Bold"/>
                  </a:defRPr>
                </a:pPr>
                <a:r>
                  <a:rPr lang="en-US"/>
                  <a:t>Price Ix vs. Gillette Fusion5</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1291069944164441</c:v>
                </c:pt>
                <c:pt idx="1">
                  <c:v>0.13485892486555889</c:v>
                </c:pt>
                <c:pt idx="2">
                  <c:v>0.13361697278764331</c:v>
                </c:pt>
                <c:pt idx="3">
                  <c:v>0.13181455947245191</c:v>
                </c:pt>
                <c:pt idx="4">
                  <c:v>0.13079849733141291</c:v>
                </c:pt>
                <c:pt idx="5">
                  <c:v>0.12786527339341361</c:v>
                </c:pt>
                <c:pt idx="6">
                  <c:v>0.13389772495720559</c:v>
                </c:pt>
                <c:pt idx="7">
                  <c:v>0.1359519354250221</c:v>
                </c:pt>
                <c:pt idx="8">
                  <c:v>0.13408395448492219</c:v>
                </c:pt>
                <c:pt idx="9">
                  <c:v>0.1272173036352085</c:v>
                </c:pt>
                <c:pt idx="10">
                  <c:v>0.12580154817273331</c:v>
                </c:pt>
                <c:pt idx="11">
                  <c:v>0.1247833670603628</c:v>
                </c:pt>
                <c:pt idx="12">
                  <c:v>0.12616612542700109</c:v>
                </c:pt>
                <c:pt idx="13">
                  <c:v>0.13426073846412021</c:v>
                </c:pt>
                <c:pt idx="14">
                  <c:v>0.13040345544745011</c:v>
                </c:pt>
                <c:pt idx="15">
                  <c:v>0.12568196098787579</c:v>
                </c:pt>
                <c:pt idx="16">
                  <c:v>0.1284543866213313</c:v>
                </c:pt>
                <c:pt idx="17">
                  <c:v>0.13252000199740169</c:v>
                </c:pt>
                <c:pt idx="18">
                  <c:v>0.12612196270786419</c:v>
                </c:pt>
                <c:pt idx="19">
                  <c:v>0.13496886950214251</c:v>
                </c:pt>
                <c:pt idx="20">
                  <c:v>0.13064933940560819</c:v>
                </c:pt>
                <c:pt idx="21">
                  <c:v>0.12635635491031241</c:v>
                </c:pt>
                <c:pt idx="22">
                  <c:v>0.12863609693980929</c:v>
                </c:pt>
                <c:pt idx="23">
                  <c:v>0.13116494310893009</c:v>
                </c:pt>
                <c:pt idx="24">
                  <c:v>0.1278058186678292</c:v>
                </c:pt>
                <c:pt idx="25">
                  <c:v>0.1235932293079324</c:v>
                </c:pt>
                <c:pt idx="26">
                  <c:v>0.12290934252239009</c:v>
                </c:pt>
                <c:pt idx="27">
                  <c:v>0.12109503765009599</c:v>
                </c:pt>
                <c:pt idx="28">
                  <c:v>0.12207135397276341</c:v>
                </c:pt>
                <c:pt idx="29">
                  <c:v>0.1263122981136704</c:v>
                </c:pt>
                <c:pt idx="30">
                  <c:v>0.1263263635992006</c:v>
                </c:pt>
                <c:pt idx="31">
                  <c:v>0.12476889875077329</c:v>
                </c:pt>
                <c:pt idx="32">
                  <c:v>0.12674353123399981</c:v>
                </c:pt>
                <c:pt idx="33">
                  <c:v>0.12588695742723971</c:v>
                </c:pt>
                <c:pt idx="34">
                  <c:v>0.12390000002667199</c:v>
                </c:pt>
                <c:pt idx="35">
                  <c:v>0.12440850519118039</c:v>
                </c:pt>
                <c:pt idx="36">
                  <c:v>0.12336288941275771</c:v>
                </c:pt>
                <c:pt idx="37">
                  <c:v>0.1236579395008299</c:v>
                </c:pt>
                <c:pt idx="38">
                  <c:v>0.1244360084590832</c:v>
                </c:pt>
                <c:pt idx="39">
                  <c:v>0.12224083915887329</c:v>
                </c:pt>
                <c:pt idx="40">
                  <c:v>0.1219327444047168</c:v>
                </c:pt>
                <c:pt idx="41">
                  <c:v>0.1250560323566518</c:v>
                </c:pt>
                <c:pt idx="42">
                  <c:v>0.12745512740440279</c:v>
                </c:pt>
                <c:pt idx="43">
                  <c:v>0.1211984894858895</c:v>
                </c:pt>
                <c:pt idx="44">
                  <c:v>0.1258670226690102</c:v>
                </c:pt>
                <c:pt idx="45">
                  <c:v>0.1272339848348821</c:v>
                </c:pt>
                <c:pt idx="46">
                  <c:v>0.13490346412193621</c:v>
                </c:pt>
                <c:pt idx="47">
                  <c:v>0.1232399985423943</c:v>
                </c:pt>
                <c:pt idx="48">
                  <c:v>0.12311641114157899</c:v>
                </c:pt>
                <c:pt idx="49">
                  <c:v>0.1234350759255986</c:v>
                </c:pt>
                <c:pt idx="50">
                  <c:v>0.12419744604278141</c:v>
                </c:pt>
                <c:pt idx="51">
                  <c:v>0.13145508336915421</c:v>
                </c:pt>
                <c:pt idx="52">
                  <c:v>0.13109930113357529</c:v>
                </c:pt>
                <c:pt idx="53">
                  <c:v>0.13568928560863899</c:v>
                </c:pt>
                <c:pt idx="54">
                  <c:v>0.1285210371531505</c:v>
                </c:pt>
                <c:pt idx="55">
                  <c:v>0.1300753516373136</c:v>
                </c:pt>
                <c:pt idx="56">
                  <c:v>0.12489749950473671</c:v>
                </c:pt>
                <c:pt idx="57">
                  <c:v>0.10266521645136149</c:v>
                </c:pt>
                <c:pt idx="58">
                  <c:v>9.4621929093130358E-2</c:v>
                </c:pt>
                <c:pt idx="59">
                  <c:v>9.8212612965823731E-2</c:v>
                </c:pt>
                <c:pt idx="60">
                  <c:v>0.1102654339127445</c:v>
                </c:pt>
                <c:pt idx="61">
                  <c:v>0.1086326326560431</c:v>
                </c:pt>
                <c:pt idx="62">
                  <c:v>0.10273100071317991</c:v>
                </c:pt>
                <c:pt idx="63">
                  <c:v>0.1056131313298932</c:v>
                </c:pt>
                <c:pt idx="64">
                  <c:v>0.116037952360732</c:v>
                </c:pt>
                <c:pt idx="65">
                  <c:v>0.13065683342069531</c:v>
                </c:pt>
                <c:pt idx="66">
                  <c:v>0.132712182958446</c:v>
                </c:pt>
                <c:pt idx="67">
                  <c:v>0.12498087731066</c:v>
                </c:pt>
                <c:pt idx="68">
                  <c:v>0.1318623648264734</c:v>
                </c:pt>
                <c:pt idx="69">
                  <c:v>0.13405085209231629</c:v>
                </c:pt>
                <c:pt idx="70">
                  <c:v>0.12663942767242409</c:v>
                </c:pt>
                <c:pt idx="71">
                  <c:v>0.13715997078444109</c:v>
                </c:pt>
                <c:pt idx="72">
                  <c:v>0.1312699287114284</c:v>
                </c:pt>
                <c:pt idx="73">
                  <c:v>0.1290474255800157</c:v>
                </c:pt>
                <c:pt idx="74">
                  <c:v>0.12976627424972709</c:v>
                </c:pt>
                <c:pt idx="75">
                  <c:v>0.12686829869724861</c:v>
                </c:pt>
                <c:pt idx="76">
                  <c:v>0.1253623579280761</c:v>
                </c:pt>
                <c:pt idx="77">
                  <c:v>0.12968156222074531</c:v>
                </c:pt>
                <c:pt idx="78">
                  <c:v>0.12750329032649099</c:v>
                </c:pt>
                <c:pt idx="79">
                  <c:v>0.12461050546445129</c:v>
                </c:pt>
                <c:pt idx="80">
                  <c:v>0.12900335189603049</c:v>
                </c:pt>
                <c:pt idx="81">
                  <c:v>0.12741746962889991</c:v>
                </c:pt>
                <c:pt idx="82">
                  <c:v>0.1227246355993528</c:v>
                </c:pt>
                <c:pt idx="83">
                  <c:v>0.12325497363003669</c:v>
                </c:pt>
                <c:pt idx="84">
                  <c:v>0.1237777050026681</c:v>
                </c:pt>
                <c:pt idx="85">
                  <c:v>0.1227618684932686</c:v>
                </c:pt>
                <c:pt idx="86">
                  <c:v>0.12625273778634091</c:v>
                </c:pt>
                <c:pt idx="87">
                  <c:v>0.12848401925218161</c:v>
                </c:pt>
                <c:pt idx="88">
                  <c:v>0.12808991008793849</c:v>
                </c:pt>
                <c:pt idx="89">
                  <c:v>0.12669599383578639</c:v>
                </c:pt>
                <c:pt idx="90">
                  <c:v>0.128457244567205</c:v>
                </c:pt>
                <c:pt idx="91">
                  <c:v>0.1287495738807907</c:v>
                </c:pt>
                <c:pt idx="92">
                  <c:v>0.12753778198649329</c:v>
                </c:pt>
                <c:pt idx="93">
                  <c:v>0.12858384689357691</c:v>
                </c:pt>
                <c:pt idx="94">
                  <c:v>0.13053873342212541</c:v>
                </c:pt>
                <c:pt idx="95">
                  <c:v>0.1283681251237693</c:v>
                </c:pt>
                <c:pt idx="96">
                  <c:v>0.12712219330013799</c:v>
                </c:pt>
                <c:pt idx="97">
                  <c:v>0.12537888942730019</c:v>
                </c:pt>
                <c:pt idx="98">
                  <c:v>0.12745921704595151</c:v>
                </c:pt>
                <c:pt idx="99">
                  <c:v>0.1212266665697815</c:v>
                </c:pt>
                <c:pt idx="100">
                  <c:v>0.1141728668578047</c:v>
                </c:pt>
                <c:pt idx="101">
                  <c:v>0.115957494325048</c:v>
                </c:pt>
              </c:numCache>
            </c:numRef>
          </c:xVal>
          <c:yVal>
            <c:numRef>
              <c:f>Sheet1!$B$2:$B$103</c:f>
              <c:numCache>
                <c:formatCode>General</c:formatCode>
                <c:ptCount val="102"/>
                <c:pt idx="0">
                  <c:v>3.1549194168607013E-2</c:v>
                </c:pt>
                <c:pt idx="1">
                  <c:v>2.5925076493376501E-2</c:v>
                </c:pt>
                <c:pt idx="2">
                  <c:v>1.9457371147598559E-2</c:v>
                </c:pt>
                <c:pt idx="3">
                  <c:v>2.1005226955186751E-2</c:v>
                </c:pt>
                <c:pt idx="4">
                  <c:v>2.3683174888924512E-2</c:v>
                </c:pt>
                <c:pt idx="5">
                  <c:v>2.481491169212223E-2</c:v>
                </c:pt>
                <c:pt idx="6">
                  <c:v>2.2966901329024649E-2</c:v>
                </c:pt>
                <c:pt idx="7">
                  <c:v>2.1693356757167159E-2</c:v>
                </c:pt>
                <c:pt idx="8">
                  <c:v>2.508474647577718E-2</c:v>
                </c:pt>
                <c:pt idx="9">
                  <c:v>3.2219360006132687E-2</c:v>
                </c:pt>
                <c:pt idx="10">
                  <c:v>3.3455366889535383E-2</c:v>
                </c:pt>
                <c:pt idx="11">
                  <c:v>3.077420503855852E-2</c:v>
                </c:pt>
                <c:pt idx="12">
                  <c:v>3.166311843777065E-2</c:v>
                </c:pt>
                <c:pt idx="13">
                  <c:v>2.9573633835338661E-2</c:v>
                </c:pt>
                <c:pt idx="14">
                  <c:v>2.943829474961886E-2</c:v>
                </c:pt>
                <c:pt idx="15">
                  <c:v>3.2326555355538883E-2</c:v>
                </c:pt>
                <c:pt idx="16">
                  <c:v>3.045418321235838E-2</c:v>
                </c:pt>
                <c:pt idx="17">
                  <c:v>3.0177244147381321E-2</c:v>
                </c:pt>
                <c:pt idx="18">
                  <c:v>3.0949579617420529E-2</c:v>
                </c:pt>
                <c:pt idx="19">
                  <c:v>3.3044676701229417E-2</c:v>
                </c:pt>
                <c:pt idx="20">
                  <c:v>3.4502368865567047E-2</c:v>
                </c:pt>
                <c:pt idx="21">
                  <c:v>3.8171203781773647E-2</c:v>
                </c:pt>
                <c:pt idx="22">
                  <c:v>3.2633840746857157E-2</c:v>
                </c:pt>
                <c:pt idx="23">
                  <c:v>3.22851825867847E-2</c:v>
                </c:pt>
                <c:pt idx="24">
                  <c:v>3.4293774474369272E-2</c:v>
                </c:pt>
                <c:pt idx="25">
                  <c:v>3.3493331489235549E-2</c:v>
                </c:pt>
                <c:pt idx="26">
                  <c:v>3.2256296982208908E-2</c:v>
                </c:pt>
                <c:pt idx="27">
                  <c:v>3.256327154323236E-2</c:v>
                </c:pt>
                <c:pt idx="28">
                  <c:v>3.0215972855570969E-2</c:v>
                </c:pt>
                <c:pt idx="29">
                  <c:v>2.971323515475446E-2</c:v>
                </c:pt>
                <c:pt idx="30">
                  <c:v>2.9886044202056931E-2</c:v>
                </c:pt>
                <c:pt idx="31">
                  <c:v>3.0113049153545669E-2</c:v>
                </c:pt>
                <c:pt idx="32">
                  <c:v>3.0121682992946059E-2</c:v>
                </c:pt>
                <c:pt idx="33">
                  <c:v>2.8704102443482309E-2</c:v>
                </c:pt>
                <c:pt idx="34">
                  <c:v>3.0602403901330309E-2</c:v>
                </c:pt>
                <c:pt idx="35">
                  <c:v>3.1456536502498793E-2</c:v>
                </c:pt>
                <c:pt idx="36">
                  <c:v>3.1516667937295108E-2</c:v>
                </c:pt>
                <c:pt idx="37">
                  <c:v>3.3226585884057157E-2</c:v>
                </c:pt>
                <c:pt idx="38">
                  <c:v>3.3016326225624587E-2</c:v>
                </c:pt>
                <c:pt idx="39">
                  <c:v>3.0075909553288729E-2</c:v>
                </c:pt>
                <c:pt idx="40">
                  <c:v>3.030822714314705E-2</c:v>
                </c:pt>
                <c:pt idx="41">
                  <c:v>3.1273537834975489E-2</c:v>
                </c:pt>
                <c:pt idx="42">
                  <c:v>3.005901690014778E-2</c:v>
                </c:pt>
                <c:pt idx="43">
                  <c:v>3.0573863083611631E-2</c:v>
                </c:pt>
                <c:pt idx="44">
                  <c:v>3.254448153409624E-2</c:v>
                </c:pt>
                <c:pt idx="45">
                  <c:v>3.2420025270644671E-2</c:v>
                </c:pt>
                <c:pt idx="46">
                  <c:v>3.0841270586476861E-2</c:v>
                </c:pt>
                <c:pt idx="47">
                  <c:v>3.4545476528939613E-2</c:v>
                </c:pt>
                <c:pt idx="48">
                  <c:v>3.9378011399146942E-2</c:v>
                </c:pt>
                <c:pt idx="49">
                  <c:v>3.4585845792310457E-2</c:v>
                </c:pt>
                <c:pt idx="50">
                  <c:v>3.6889295123608737E-2</c:v>
                </c:pt>
                <c:pt idx="51">
                  <c:v>3.516974061970235E-2</c:v>
                </c:pt>
                <c:pt idx="52">
                  <c:v>3.3440411726256947E-2</c:v>
                </c:pt>
                <c:pt idx="53">
                  <c:v>3.0775515895011849E-2</c:v>
                </c:pt>
                <c:pt idx="54">
                  <c:v>2.856172806220978E-2</c:v>
                </c:pt>
                <c:pt idx="55">
                  <c:v>2.9260191711765832E-2</c:v>
                </c:pt>
                <c:pt idx="56">
                  <c:v>3.1178692703543051E-2</c:v>
                </c:pt>
                <c:pt idx="57">
                  <c:v>3.7031471681131703E-2</c:v>
                </c:pt>
                <c:pt idx="58">
                  <c:v>3.9909501581123753E-2</c:v>
                </c:pt>
                <c:pt idx="59">
                  <c:v>3.3090443177845791E-2</c:v>
                </c:pt>
                <c:pt idx="60">
                  <c:v>2.0429936026239701E-2</c:v>
                </c:pt>
                <c:pt idx="61">
                  <c:v>1.594233918003489E-2</c:v>
                </c:pt>
                <c:pt idx="62">
                  <c:v>2.6561543645322629E-2</c:v>
                </c:pt>
                <c:pt idx="63">
                  <c:v>3.5068893654044378E-2</c:v>
                </c:pt>
                <c:pt idx="64">
                  <c:v>3.0967228847484721E-2</c:v>
                </c:pt>
                <c:pt idx="65">
                  <c:v>2.602705616299417E-2</c:v>
                </c:pt>
                <c:pt idx="66">
                  <c:v>2.587150374122359E-2</c:v>
                </c:pt>
                <c:pt idx="67">
                  <c:v>2.691260699372984E-2</c:v>
                </c:pt>
                <c:pt idx="68">
                  <c:v>2.5874418970458959E-2</c:v>
                </c:pt>
                <c:pt idx="69">
                  <c:v>2.3193315376484971E-2</c:v>
                </c:pt>
                <c:pt idx="70">
                  <c:v>2.2686657383630061E-2</c:v>
                </c:pt>
                <c:pt idx="71">
                  <c:v>2.6189284143623481E-2</c:v>
                </c:pt>
                <c:pt idx="72">
                  <c:v>2.7336338114147821E-2</c:v>
                </c:pt>
                <c:pt idx="73">
                  <c:v>2.7740990571672709E-2</c:v>
                </c:pt>
                <c:pt idx="74">
                  <c:v>2.877527311984417E-2</c:v>
                </c:pt>
                <c:pt idx="75">
                  <c:v>2.8510329318482429E-2</c:v>
                </c:pt>
                <c:pt idx="76">
                  <c:v>2.7909474603405621E-2</c:v>
                </c:pt>
                <c:pt idx="77">
                  <c:v>2.354699792786898E-2</c:v>
                </c:pt>
                <c:pt idx="78">
                  <c:v>2.3516397046911521E-2</c:v>
                </c:pt>
                <c:pt idx="79">
                  <c:v>2.2115174941799771E-2</c:v>
                </c:pt>
                <c:pt idx="80">
                  <c:v>2.2268202762568419E-2</c:v>
                </c:pt>
                <c:pt idx="81">
                  <c:v>2.1244426266941788E-2</c:v>
                </c:pt>
                <c:pt idx="82">
                  <c:v>3.1177386289303839E-2</c:v>
                </c:pt>
                <c:pt idx="83">
                  <c:v>2.630647686699077E-2</c:v>
                </c:pt>
                <c:pt idx="84">
                  <c:v>2.5524833007679371E-2</c:v>
                </c:pt>
                <c:pt idx="85">
                  <c:v>2.6871534411513371E-2</c:v>
                </c:pt>
                <c:pt idx="86">
                  <c:v>2.6338851413823881E-2</c:v>
                </c:pt>
                <c:pt idx="87">
                  <c:v>2.464870108961555E-2</c:v>
                </c:pt>
                <c:pt idx="88">
                  <c:v>2.6238033764437702E-2</c:v>
                </c:pt>
                <c:pt idx="89">
                  <c:v>3.0191859532939729E-2</c:v>
                </c:pt>
                <c:pt idx="90">
                  <c:v>3.071685169632082E-2</c:v>
                </c:pt>
                <c:pt idx="91">
                  <c:v>3.1790352756617277E-2</c:v>
                </c:pt>
                <c:pt idx="92">
                  <c:v>2.9789485452214989E-2</c:v>
                </c:pt>
                <c:pt idx="93">
                  <c:v>2.7419432969366012E-2</c:v>
                </c:pt>
                <c:pt idx="94">
                  <c:v>2.5375304588112151E-2</c:v>
                </c:pt>
                <c:pt idx="95">
                  <c:v>2.727143524464504E-2</c:v>
                </c:pt>
                <c:pt idx="96">
                  <c:v>2.430072520573312E-2</c:v>
                </c:pt>
                <c:pt idx="97">
                  <c:v>2.5953063658202231E-2</c:v>
                </c:pt>
                <c:pt idx="98">
                  <c:v>2.870484051773789E-2</c:v>
                </c:pt>
                <c:pt idx="99">
                  <c:v>3.0161179689259059E-2</c:v>
                </c:pt>
                <c:pt idx="100">
                  <c:v>3.7558407981539428E-2</c:v>
                </c:pt>
                <c:pt idx="101">
                  <c:v>3.5796970668813113E-2</c:v>
                </c:pt>
              </c:numCache>
            </c:numRef>
          </c:yVal>
          <c:smooth val="0"/>
          <c:extLst>
            <c:ext xmlns:c16="http://schemas.microsoft.com/office/drawing/2014/chart" uri="{C3380CC4-5D6E-409C-BE32-E72D297353CC}">
              <c16:uniqueId val="{00000000-096C-4121-9522-6AB7243CCAAE}"/>
            </c:ext>
          </c:extLst>
        </c:ser>
        <c:ser>
          <c:idx val="1"/>
          <c:order val="1"/>
          <c:tx>
            <c:strRef>
              <c:f>Sheet1!$B$10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6:$A$157</c:f>
              <c:numCache>
                <c:formatCode>General</c:formatCode>
                <c:ptCount val="52"/>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numCache>
            </c:numRef>
          </c:xVal>
          <c:yVal>
            <c:numRef>
              <c:f>Sheet1!$B$106:$B$157</c:f>
              <c:numCache>
                <c:formatCode>General</c:formatCode>
                <c:ptCount val="52"/>
                <c:pt idx="0">
                  <c:v>3.3379430772150658E-2</c:v>
                </c:pt>
                <c:pt idx="1">
                  <c:v>3.5297770608354727E-2</c:v>
                </c:pt>
                <c:pt idx="2">
                  <c:v>3.603152077608085E-2</c:v>
                </c:pt>
                <c:pt idx="3">
                  <c:v>3.0978674639028671E-2</c:v>
                </c:pt>
                <c:pt idx="4">
                  <c:v>2.8133515753956471E-2</c:v>
                </c:pt>
                <c:pt idx="5">
                  <c:v>2.7512069607189622E-2</c:v>
                </c:pt>
                <c:pt idx="6">
                  <c:v>2.753590860107619E-2</c:v>
                </c:pt>
                <c:pt idx="7">
                  <c:v>2.7306049137985969E-2</c:v>
                </c:pt>
                <c:pt idx="8">
                  <c:v>2.683860754587173E-2</c:v>
                </c:pt>
                <c:pt idx="9">
                  <c:v>2.8577136215520639E-2</c:v>
                </c:pt>
                <c:pt idx="10">
                  <c:v>2.9045708307140341E-2</c:v>
                </c:pt>
                <c:pt idx="11">
                  <c:v>3.0151694267354031E-2</c:v>
                </c:pt>
                <c:pt idx="12">
                  <c:v>3.1278274774940933E-2</c:v>
                </c:pt>
                <c:pt idx="13">
                  <c:v>3.2623144271831599E-2</c:v>
                </c:pt>
                <c:pt idx="14">
                  <c:v>3.2081452766552027E-2</c:v>
                </c:pt>
                <c:pt idx="15">
                  <c:v>2.8476513020004542E-2</c:v>
                </c:pt>
                <c:pt idx="16">
                  <c:v>2.889792926206242E-2</c:v>
                </c:pt>
                <c:pt idx="17">
                  <c:v>2.8572345272906731E-2</c:v>
                </c:pt>
                <c:pt idx="18">
                  <c:v>2.758215728763419E-2</c:v>
                </c:pt>
                <c:pt idx="19">
                  <c:v>2.6684207925807661E-2</c:v>
                </c:pt>
                <c:pt idx="20">
                  <c:v>2.507409816863837E-2</c:v>
                </c:pt>
                <c:pt idx="21">
                  <c:v>3.7053775555914388E-2</c:v>
                </c:pt>
                <c:pt idx="22">
                  <c:v>4.1201839145334811E-2</c:v>
                </c:pt>
                <c:pt idx="23">
                  <c:v>3.952108516249337E-2</c:v>
                </c:pt>
                <c:pt idx="24">
                  <c:v>3.301132678213544E-2</c:v>
                </c:pt>
                <c:pt idx="25">
                  <c:v>3.4672282379825628E-2</c:v>
                </c:pt>
                <c:pt idx="26">
                  <c:v>3.6478521099227869E-2</c:v>
                </c:pt>
                <c:pt idx="27">
                  <c:v>3.1719960612283417E-2</c:v>
                </c:pt>
                <c:pt idx="28">
                  <c:v>2.9844699099281859E-2</c:v>
                </c:pt>
                <c:pt idx="29">
                  <c:v>2.824703792935155E-2</c:v>
                </c:pt>
                <c:pt idx="30">
                  <c:v>2.3926861689124789E-2</c:v>
                </c:pt>
                <c:pt idx="31">
                  <c:v>2.077067140814904E-2</c:v>
                </c:pt>
                <c:pt idx="32">
                  <c:v>2.3460558709885782E-2</c:v>
                </c:pt>
                <c:pt idx="33">
                  <c:v>3.042796286207031E-2</c:v>
                </c:pt>
                <c:pt idx="34">
                  <c:v>3.1037706913624011E-2</c:v>
                </c:pt>
                <c:pt idx="35">
                  <c:v>2.928997264422914E-2</c:v>
                </c:pt>
                <c:pt idx="36">
                  <c:v>2.9697936908540851E-2</c:v>
                </c:pt>
                <c:pt idx="37">
                  <c:v>3.0248130900335801E-2</c:v>
                </c:pt>
                <c:pt idx="38">
                  <c:v>3.5070387750061743E-2</c:v>
                </c:pt>
                <c:pt idx="39">
                  <c:v>3.120833777020552E-2</c:v>
                </c:pt>
                <c:pt idx="40">
                  <c:v>2.682679016675503E-2</c:v>
                </c:pt>
                <c:pt idx="41">
                  <c:v>2.4203784771293649E-2</c:v>
                </c:pt>
                <c:pt idx="42">
                  <c:v>2.4098053977022381E-2</c:v>
                </c:pt>
                <c:pt idx="43">
                  <c:v>2.4523754132153151E-2</c:v>
                </c:pt>
                <c:pt idx="44">
                  <c:v>2.2379504666963371E-2</c:v>
                </c:pt>
                <c:pt idx="45">
                  <c:v>2.104065524243157E-2</c:v>
                </c:pt>
                <c:pt idx="46">
                  <c:v>2.202824012890214E-2</c:v>
                </c:pt>
                <c:pt idx="47">
                  <c:v>2.3321641522021069E-2</c:v>
                </c:pt>
                <c:pt idx="48">
                  <c:v>2.5721900660138009E-2</c:v>
                </c:pt>
                <c:pt idx="49">
                  <c:v>2.4967370312040962E-2</c:v>
                </c:pt>
                <c:pt idx="50">
                  <c:v>2.603335979145837E-2</c:v>
                </c:pt>
                <c:pt idx="51">
                  <c:v>2.5702227757022279E-2</c:v>
                </c:pt>
              </c:numCache>
            </c:numRef>
          </c:yVal>
          <c:smooth val="0"/>
          <c:extLst>
            <c:ext xmlns:c16="http://schemas.microsoft.com/office/drawing/2014/chart" uri="{C3380CC4-5D6E-409C-BE32-E72D297353CC}">
              <c16:uniqueId val="{00000002-096C-4121-9522-6AB7243CCAAE}"/>
            </c:ext>
          </c:extLst>
        </c:ser>
        <c:ser>
          <c:idx val="2"/>
          <c:order val="2"/>
          <c:tx>
            <c:strRef>
              <c:f>Sheet1!$B$15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0:$A$161</c:f>
              <c:numCache>
                <c:formatCode>General</c:formatCode>
                <c:ptCount val="2"/>
                <c:pt idx="0">
                  <c:v>0</c:v>
                </c:pt>
                <c:pt idx="1">
                  <c:v>0.1108820277239114</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5-096C-4121-9522-6AB7243CCAAE}"/>
            </c:ext>
          </c:extLst>
        </c:ser>
        <c:ser>
          <c:idx val="3"/>
          <c:order val="3"/>
          <c:tx>
            <c:strRef>
              <c:f>Sheet1!$B$16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0.1108820277239114</c:v>
                </c:pt>
                <c:pt idx="1">
                  <c:v>0.1108820277239114</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8:$A$169</c:f>
              <c:numCache>
                <c:formatCode>General</c:formatCode>
                <c:ptCount val="2"/>
                <c:pt idx="0">
                  <c:v>0</c:v>
                </c:pt>
                <c:pt idx="1">
                  <c:v>0.11732114474802791</c:v>
                </c:pt>
              </c:numCache>
            </c:numRef>
          </c:xVal>
          <c:yVal>
            <c:numRef>
              <c:f>Sheet1!$B$168:$B$169</c:f>
              <c:numCache>
                <c:formatCode>General</c:formatCode>
                <c:ptCount val="2"/>
                <c:pt idx="0">
                  <c:v>3.1101577984060609E-2</c:v>
                </c:pt>
                <c:pt idx="1">
                  <c:v>3.1101577984060609E-2</c:v>
                </c:pt>
              </c:numCache>
            </c:numRef>
          </c:yVal>
          <c:smooth val="0"/>
          <c:extLst>
            <c:ext xmlns:c16="http://schemas.microsoft.com/office/drawing/2014/chart" uri="{C3380CC4-5D6E-409C-BE32-E72D297353CC}">
              <c16:uniqueId val="{0000000D-096C-4121-9522-6AB7243CCAAE}"/>
            </c:ext>
          </c:extLst>
        </c:ser>
        <c:ser>
          <c:idx val="5"/>
          <c:order val="5"/>
          <c:tx>
            <c:strRef>
              <c:f>Sheet1!$B$17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0.11732114474802791</c:v>
                </c:pt>
                <c:pt idx="1">
                  <c:v>0.11732114474802791</c:v>
                </c:pt>
              </c:numCache>
            </c:numRef>
          </c:xVal>
          <c:yVal>
            <c:numRef>
              <c:f>Sheet1!$B$172:$B$173</c:f>
              <c:numCache>
                <c:formatCode>General</c:formatCode>
                <c:ptCount val="2"/>
                <c:pt idx="0">
                  <c:v>3.1101577984060609E-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6:$A$177</c:f>
              <c:numCache>
                <c:formatCode>General</c:formatCode>
                <c:ptCount val="2"/>
                <c:pt idx="0">
                  <c:v>0</c:v>
                </c:pt>
                <c:pt idx="1">
                  <c:v>0.13512234665834599</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5-096C-4121-9522-6AB7243CCAAE}"/>
            </c:ext>
          </c:extLst>
        </c:ser>
        <c:ser>
          <c:idx val="7"/>
          <c:order val="7"/>
          <c:tx>
            <c:strRef>
              <c:f>Sheet1!$B$17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0:$A$181</c:f>
              <c:numCache>
                <c:formatCode>General</c:formatCode>
                <c:ptCount val="2"/>
                <c:pt idx="0">
                  <c:v>0.13512234665834599</c:v>
                </c:pt>
                <c:pt idx="1">
                  <c:v>0.13512234665834599</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4:$A$238</c:f>
              <c:numCache>
                <c:formatCode>General</c:formatCode>
                <c:ptCount val="55"/>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pt idx="52">
                  <c:v>0.11732114474802791</c:v>
                </c:pt>
                <c:pt idx="53">
                  <c:v>0.1108820277239114</c:v>
                </c:pt>
                <c:pt idx="54">
                  <c:v>0.13512234665834599</c:v>
                </c:pt>
              </c:numCache>
            </c:numRef>
          </c:xVal>
          <c:yVal>
            <c:numRef>
              <c:f>Sheet1!$B$184:$B$238</c:f>
              <c:numCache>
                <c:formatCode>General</c:formatCode>
                <c:ptCount val="55"/>
                <c:pt idx="0">
                  <c:v>3.1620668745252142E-2</c:v>
                </c:pt>
                <c:pt idx="1">
                  <c:v>3.1654790245678951E-2</c:v>
                </c:pt>
                <c:pt idx="2">
                  <c:v>3.2783325344754151E-2</c:v>
                </c:pt>
                <c:pt idx="3">
                  <c:v>3.022688607526958E-2</c:v>
                </c:pt>
                <c:pt idx="4">
                  <c:v>2.8540776744242852E-2</c:v>
                </c:pt>
                <c:pt idx="5">
                  <c:v>2.8198639317480349E-2</c:v>
                </c:pt>
                <c:pt idx="6">
                  <c:v>2.8149354774764782E-2</c:v>
                </c:pt>
                <c:pt idx="7">
                  <c:v>2.8199004366077019E-2</c:v>
                </c:pt>
                <c:pt idx="8">
                  <c:v>3.0157282303857849E-2</c:v>
                </c:pt>
                <c:pt idx="9">
                  <c:v>2.9717490317624731E-2</c:v>
                </c:pt>
                <c:pt idx="10">
                  <c:v>2.880162617160174E-2</c:v>
                </c:pt>
                <c:pt idx="11">
                  <c:v>3.0799476543192809E-2</c:v>
                </c:pt>
                <c:pt idx="12">
                  <c:v>2.8080121278043681E-2</c:v>
                </c:pt>
                <c:pt idx="13">
                  <c:v>2.8247092051713919E-2</c:v>
                </c:pt>
                <c:pt idx="14">
                  <c:v>2.639540124703324E-2</c:v>
                </c:pt>
                <c:pt idx="15">
                  <c:v>1.9220157910636009E-2</c:v>
                </c:pt>
                <c:pt idx="16">
                  <c:v>2.9292926757015069E-2</c:v>
                </c:pt>
                <c:pt idx="17">
                  <c:v>2.9541107656935999E-2</c:v>
                </c:pt>
                <c:pt idx="18">
                  <c:v>3.1154431279754719E-2</c:v>
                </c:pt>
                <c:pt idx="19">
                  <c:v>2.9461129531890291E-2</c:v>
                </c:pt>
                <c:pt idx="20">
                  <c:v>3.0313783713891131E-2</c:v>
                </c:pt>
                <c:pt idx="21">
                  <c:v>3.3508822667282862E-2</c:v>
                </c:pt>
                <c:pt idx="22">
                  <c:v>3.4739165058279807E-2</c:v>
                </c:pt>
                <c:pt idx="23">
                  <c:v>3.3561500120319547E-2</c:v>
                </c:pt>
                <c:pt idx="24">
                  <c:v>3.0961282548418428E-2</c:v>
                </c:pt>
                <c:pt idx="25">
                  <c:v>3.325613118609181E-2</c:v>
                </c:pt>
                <c:pt idx="26">
                  <c:v>3.230935798656305E-2</c:v>
                </c:pt>
                <c:pt idx="27">
                  <c:v>3.0186042242885399E-2</c:v>
                </c:pt>
                <c:pt idx="28">
                  <c:v>2.9826699740302571E-2</c:v>
                </c:pt>
                <c:pt idx="29">
                  <c:v>2.8461825588360749E-2</c:v>
                </c:pt>
                <c:pt idx="30">
                  <c:v>2.6667445839888119E-2</c:v>
                </c:pt>
                <c:pt idx="31">
                  <c:v>2.9333797528733729E-2</c:v>
                </c:pt>
                <c:pt idx="32">
                  <c:v>2.8469462201818171E-2</c:v>
                </c:pt>
                <c:pt idx="33">
                  <c:v>3.1278574864500211E-2</c:v>
                </c:pt>
                <c:pt idx="34">
                  <c:v>3.362517184260494E-2</c:v>
                </c:pt>
                <c:pt idx="35">
                  <c:v>3.1259339751075838E-2</c:v>
                </c:pt>
                <c:pt idx="36">
                  <c:v>3.2466678789921898E-2</c:v>
                </c:pt>
                <c:pt idx="37">
                  <c:v>3.336561461501103E-2</c:v>
                </c:pt>
                <c:pt idx="38">
                  <c:v>3.1897061212580187E-2</c:v>
                </c:pt>
                <c:pt idx="39">
                  <c:v>3.0591232179052279E-2</c:v>
                </c:pt>
                <c:pt idx="40">
                  <c:v>2.6490890509876141E-2</c:v>
                </c:pt>
                <c:pt idx="41">
                  <c:v>2.5005655171483909E-2</c:v>
                </c:pt>
                <c:pt idx="42">
                  <c:v>2.471524594195228E-2</c:v>
                </c:pt>
                <c:pt idx="43">
                  <c:v>2.5740688254943609E-2</c:v>
                </c:pt>
                <c:pt idx="44">
                  <c:v>2.534241769031121E-2</c:v>
                </c:pt>
                <c:pt idx="45">
                  <c:v>2.5785004878787769E-2</c:v>
                </c:pt>
                <c:pt idx="46">
                  <c:v>2.6712805427711591E-2</c:v>
                </c:pt>
                <c:pt idx="47">
                  <c:v>2.6016063432124481E-2</c:v>
                </c:pt>
                <c:pt idx="48">
                  <c:v>2.645901837190287E-2</c:v>
                </c:pt>
                <c:pt idx="49">
                  <c:v>2.253097533810856E-2</c:v>
                </c:pt>
                <c:pt idx="50">
                  <c:v>2.3407974477709061E-2</c:v>
                </c:pt>
                <c:pt idx="51">
                  <c:v>2.5267129597052979E-2</c:v>
                </c:pt>
                <c:pt idx="52">
                  <c:v>3.1101577984060599E-2</c:v>
                </c:pt>
                <c:pt idx="53">
                  <c:v>3.3390590546211449E-2</c:v>
                </c:pt>
                <c:pt idx="54">
                  <c:v>2.47735092998775E-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18089307194123574"/>
          <c:min val="7.5697543274504286E-2"/>
        </c:scaling>
        <c:delete val="0"/>
        <c:axPos val="b"/>
        <c:title>
          <c:tx>
            <c:rich>
              <a:bodyPr rot="0" spcFirstLastPara="1" vertOverflow="ellipsis" vert="horz" wrap="square" anchor="ctr" anchorCtr="1"/>
              <a:lstStyle/>
              <a:p>
                <a:pPr>
                  <a:defRPr sz="800" b="0">
                    <a:solidFill>
                      <a:srgbClr val="575555"/>
                    </a:solidFill>
                    <a:latin typeface="Nexa Bold"/>
                  </a:defRPr>
                </a:pPr>
                <a:r>
                  <a:rPr lang="en-US"/>
                  <a:t>Price Ix vs. Gillette Fusion5</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3084051742229012</c:v>
                </c:pt>
                <c:pt idx="1">
                  <c:v>0.31591786351078627</c:v>
                </c:pt>
                <c:pt idx="2">
                  <c:v>0.32058023334902946</c:v>
                </c:pt>
                <c:pt idx="3">
                  <c:v>0.31551466024025998</c:v>
                </c:pt>
                <c:pt idx="4">
                  <c:v>0.31248983133575575</c:v>
                </c:pt>
                <c:pt idx="5">
                  <c:v>0.31209899175068745</c:v>
                </c:pt>
                <c:pt idx="6">
                  <c:v>0.31243915630070307</c:v>
                </c:pt>
                <c:pt idx="7">
                  <c:v>0.3133619793471481</c:v>
                </c:pt>
                <c:pt idx="8">
                  <c:v>0.31671907756813417</c:v>
                </c:pt>
                <c:pt idx="9">
                  <c:v>0.31082322826247477</c:v>
                </c:pt>
                <c:pt idx="10">
                  <c:v>0.31047212859141043</c:v>
                </c:pt>
                <c:pt idx="11">
                  <c:v>0.30851195946449417</c:v>
                </c:pt>
                <c:pt idx="12">
                  <c:v>0.30743476600274672</c:v>
                </c:pt>
                <c:pt idx="13">
                  <c:v>0.30557876018361524</c:v>
                </c:pt>
                <c:pt idx="14">
                  <c:v>0.30608180521683359</c:v>
                </c:pt>
                <c:pt idx="15">
                  <c:v>0.30537959003209308</c:v>
                </c:pt>
                <c:pt idx="16">
                  <c:v>0.30479028449342177</c:v>
                </c:pt>
                <c:pt idx="17">
                  <c:v>0.30535697989231286</c:v>
                </c:pt>
                <c:pt idx="18">
                  <c:v>0.30758733419811496</c:v>
                </c:pt>
                <c:pt idx="19">
                  <c:v>0.30384356418742708</c:v>
                </c:pt>
                <c:pt idx="20">
                  <c:v>0.30255871389344829</c:v>
                </c:pt>
                <c:pt idx="21">
                  <c:v>0.30131492720175512</c:v>
                </c:pt>
                <c:pt idx="22">
                  <c:v>0.30402402402402401</c:v>
                </c:pt>
                <c:pt idx="23">
                  <c:v>0.3041818228723267</c:v>
                </c:pt>
                <c:pt idx="24">
                  <c:v>0.30380595989557657</c:v>
                </c:pt>
                <c:pt idx="25">
                  <c:v>0.30266464709715091</c:v>
                </c:pt>
                <c:pt idx="26">
                  <c:v>0.30198090992432275</c:v>
                </c:pt>
                <c:pt idx="27">
                  <c:v>0.30261018186645428</c:v>
                </c:pt>
                <c:pt idx="28">
                  <c:v>0.30379475941413642</c:v>
                </c:pt>
                <c:pt idx="29">
                  <c:v>0.30510575091808745</c:v>
                </c:pt>
                <c:pt idx="30">
                  <c:v>0.30547263681592041</c:v>
                </c:pt>
                <c:pt idx="31">
                  <c:v>0.30191808942530629</c:v>
                </c:pt>
                <c:pt idx="32">
                  <c:v>0.30004016835781272</c:v>
                </c:pt>
                <c:pt idx="33">
                  <c:v>0.30140260803244229</c:v>
                </c:pt>
                <c:pt idx="34">
                  <c:v>0.30315931183998879</c:v>
                </c:pt>
                <c:pt idx="35">
                  <c:v>0.30423707530585153</c:v>
                </c:pt>
                <c:pt idx="36">
                  <c:v>0.30339368848493503</c:v>
                </c:pt>
                <c:pt idx="37">
                  <c:v>0.30312142377964563</c:v>
                </c:pt>
                <c:pt idx="38">
                  <c:v>0.30421477922015827</c:v>
                </c:pt>
                <c:pt idx="39">
                  <c:v>0.30360700245050509</c:v>
                </c:pt>
                <c:pt idx="40">
                  <c:v>0.30482776067799466</c:v>
                </c:pt>
                <c:pt idx="41">
                  <c:v>0.30496561046396053</c:v>
                </c:pt>
                <c:pt idx="42">
                  <c:v>0.30474260101509459</c:v>
                </c:pt>
                <c:pt idx="43">
                  <c:v>0.30487658997567685</c:v>
                </c:pt>
                <c:pt idx="44">
                  <c:v>0.30417377406912238</c:v>
                </c:pt>
                <c:pt idx="45">
                  <c:v>0.30429474182711519</c:v>
                </c:pt>
                <c:pt idx="46">
                  <c:v>0.30416987037597953</c:v>
                </c:pt>
                <c:pt idx="47">
                  <c:v>0.30177142857142858</c:v>
                </c:pt>
                <c:pt idx="48">
                  <c:v>0.30034428178139644</c:v>
                </c:pt>
                <c:pt idx="49">
                  <c:v>0.30020553910468561</c:v>
                </c:pt>
                <c:pt idx="50">
                  <c:v>0.30020393921120919</c:v>
                </c:pt>
                <c:pt idx="51">
                  <c:v>0.30029572161037082</c:v>
                </c:pt>
                <c:pt idx="52">
                  <c:v>0.30085731375024921</c:v>
                </c:pt>
                <c:pt idx="53">
                  <c:v>0.30374794069192751</c:v>
                </c:pt>
                <c:pt idx="54">
                  <c:v>0.30475569923731716</c:v>
                </c:pt>
                <c:pt idx="55">
                  <c:v>0.30484411191281596</c:v>
                </c:pt>
                <c:pt idx="56">
                  <c:v>0.29666067320451317</c:v>
                </c:pt>
                <c:pt idx="57">
                  <c:v>0.25400835544515327</c:v>
                </c:pt>
                <c:pt idx="58">
                  <c:v>0.23382400369980466</c:v>
                </c:pt>
                <c:pt idx="59">
                  <c:v>0.23943026116791946</c:v>
                </c:pt>
                <c:pt idx="60">
                  <c:v>0.25369491863085675</c:v>
                </c:pt>
                <c:pt idx="61">
                  <c:v>0.26335839430757868</c:v>
                </c:pt>
                <c:pt idx="62">
                  <c:v>0.24811366501794199</c:v>
                </c:pt>
                <c:pt idx="63">
                  <c:v>0.25331883600138116</c:v>
                </c:pt>
                <c:pt idx="64">
                  <c:v>0.27606841827999473</c:v>
                </c:pt>
                <c:pt idx="65">
                  <c:v>0.28160478817918266</c:v>
                </c:pt>
                <c:pt idx="66">
                  <c:v>0.29229782021117312</c:v>
                </c:pt>
                <c:pt idx="67">
                  <c:v>0.30127414335954045</c:v>
                </c:pt>
                <c:pt idx="68">
                  <c:v>0.30305886879569066</c:v>
                </c:pt>
                <c:pt idx="69">
                  <c:v>0.30492991022208221</c:v>
                </c:pt>
                <c:pt idx="70">
                  <c:v>0.30628978911194849</c:v>
                </c:pt>
                <c:pt idx="71">
                  <c:v>0.30507690665654685</c:v>
                </c:pt>
                <c:pt idx="72">
                  <c:v>0.30607670596048481</c:v>
                </c:pt>
                <c:pt idx="73">
                  <c:v>0.3116373241246056</c:v>
                </c:pt>
                <c:pt idx="74">
                  <c:v>0.31424842998124136</c:v>
                </c:pt>
                <c:pt idx="75">
                  <c:v>0.31320176754871626</c:v>
                </c:pt>
                <c:pt idx="76">
                  <c:v>0.31380953870863448</c:v>
                </c:pt>
                <c:pt idx="77">
                  <c:v>0.32590348409435188</c:v>
                </c:pt>
                <c:pt idx="78">
                  <c:v>0.33061711871301291</c:v>
                </c:pt>
                <c:pt idx="79">
                  <c:v>0.33376024237416513</c:v>
                </c:pt>
                <c:pt idx="80">
                  <c:v>0.334863282523373</c:v>
                </c:pt>
                <c:pt idx="81">
                  <c:v>0.33732775797715603</c:v>
                </c:pt>
                <c:pt idx="82">
                  <c:v>0.3340239432262419</c:v>
                </c:pt>
                <c:pt idx="83">
                  <c:v>0.32813911724353323</c:v>
                </c:pt>
                <c:pt idx="84">
                  <c:v>0.32451377453380215</c:v>
                </c:pt>
                <c:pt idx="85">
                  <c:v>0.3242920313313794</c:v>
                </c:pt>
                <c:pt idx="86">
                  <c:v>0.32834757834757833</c:v>
                </c:pt>
                <c:pt idx="87">
                  <c:v>0.33024565689467972</c:v>
                </c:pt>
                <c:pt idx="88">
                  <c:v>0.33047076978575868</c:v>
                </c:pt>
                <c:pt idx="89">
                  <c:v>0.32960364974033468</c:v>
                </c:pt>
                <c:pt idx="90">
                  <c:v>0.32877782475231143</c:v>
                </c:pt>
                <c:pt idx="91">
                  <c:v>0.33265505668454848</c:v>
                </c:pt>
                <c:pt idx="92">
                  <c:v>0.33383080669232584</c:v>
                </c:pt>
                <c:pt idx="93">
                  <c:v>0.33445095599479496</c:v>
                </c:pt>
                <c:pt idx="94">
                  <c:v>0.33425385899470356</c:v>
                </c:pt>
                <c:pt idx="95">
                  <c:v>0.33302358553829059</c:v>
                </c:pt>
                <c:pt idx="96">
                  <c:v>0.3331230702831911</c:v>
                </c:pt>
                <c:pt idx="97">
                  <c:v>0.33248279672509923</c:v>
                </c:pt>
                <c:pt idx="98">
                  <c:v>0.33184443040565192</c:v>
                </c:pt>
                <c:pt idx="99">
                  <c:v>0.31234357273380736</c:v>
                </c:pt>
                <c:pt idx="100">
                  <c:v>0.30123106937136429</c:v>
                </c:pt>
                <c:pt idx="101">
                  <c:v>0.30056872662328632</c:v>
                </c:pt>
              </c:numCache>
            </c:numRef>
          </c:xVal>
          <c:yVal>
            <c:numRef>
              <c:f>Sheet1!$B$2:$B$103</c:f>
              <c:numCache>
                <c:formatCode>General</c:formatCode>
                <c:ptCount val="102"/>
                <c:pt idx="0">
                  <c:v>3.1549194168607006E-2</c:v>
                </c:pt>
                <c:pt idx="1">
                  <c:v>2.5925076493376501E-2</c:v>
                </c:pt>
                <c:pt idx="2">
                  <c:v>1.9457371147598559E-2</c:v>
                </c:pt>
                <c:pt idx="3">
                  <c:v>2.1005226955186754E-2</c:v>
                </c:pt>
                <c:pt idx="4">
                  <c:v>2.3683174888924508E-2</c:v>
                </c:pt>
                <c:pt idx="5">
                  <c:v>2.4814911692122233E-2</c:v>
                </c:pt>
                <c:pt idx="6">
                  <c:v>2.2966901329024649E-2</c:v>
                </c:pt>
                <c:pt idx="7">
                  <c:v>2.1693356757167159E-2</c:v>
                </c:pt>
                <c:pt idx="8">
                  <c:v>2.508474647577718E-2</c:v>
                </c:pt>
                <c:pt idx="9">
                  <c:v>3.2219360006132694E-2</c:v>
                </c:pt>
                <c:pt idx="10">
                  <c:v>3.3455366889535383E-2</c:v>
                </c:pt>
                <c:pt idx="11">
                  <c:v>3.0774205038558523E-2</c:v>
                </c:pt>
                <c:pt idx="12">
                  <c:v>3.166311843777065E-2</c:v>
                </c:pt>
                <c:pt idx="13">
                  <c:v>2.9573633835338665E-2</c:v>
                </c:pt>
                <c:pt idx="14">
                  <c:v>2.9438294749618857E-2</c:v>
                </c:pt>
                <c:pt idx="15">
                  <c:v>3.2326555355538883E-2</c:v>
                </c:pt>
                <c:pt idx="16">
                  <c:v>3.0454183212358377E-2</c:v>
                </c:pt>
                <c:pt idx="17">
                  <c:v>3.0177244147381318E-2</c:v>
                </c:pt>
                <c:pt idx="18">
                  <c:v>3.0949579617420526E-2</c:v>
                </c:pt>
                <c:pt idx="19">
                  <c:v>3.3044676701229417E-2</c:v>
                </c:pt>
                <c:pt idx="20">
                  <c:v>3.4502368865567047E-2</c:v>
                </c:pt>
                <c:pt idx="21">
                  <c:v>3.8171203781773647E-2</c:v>
                </c:pt>
                <c:pt idx="22">
                  <c:v>3.2633840746857157E-2</c:v>
                </c:pt>
                <c:pt idx="23">
                  <c:v>3.22851825867847E-2</c:v>
                </c:pt>
                <c:pt idx="24">
                  <c:v>3.4293774474369265E-2</c:v>
                </c:pt>
                <c:pt idx="25">
                  <c:v>3.3493331489235549E-2</c:v>
                </c:pt>
                <c:pt idx="26">
                  <c:v>3.2256296982208908E-2</c:v>
                </c:pt>
                <c:pt idx="27">
                  <c:v>3.256327154323236E-2</c:v>
                </c:pt>
                <c:pt idx="28">
                  <c:v>3.0215972855570965E-2</c:v>
                </c:pt>
                <c:pt idx="29">
                  <c:v>2.971323515475446E-2</c:v>
                </c:pt>
                <c:pt idx="30">
                  <c:v>2.9886044202056927E-2</c:v>
                </c:pt>
                <c:pt idx="31">
                  <c:v>3.0113049153545669E-2</c:v>
                </c:pt>
                <c:pt idx="32">
                  <c:v>3.0121682992946059E-2</c:v>
                </c:pt>
                <c:pt idx="33">
                  <c:v>2.8704102443482309E-2</c:v>
                </c:pt>
                <c:pt idx="34">
                  <c:v>3.0602403901330309E-2</c:v>
                </c:pt>
                <c:pt idx="35">
                  <c:v>3.1456536502498786E-2</c:v>
                </c:pt>
                <c:pt idx="36">
                  <c:v>3.1516667937295108E-2</c:v>
                </c:pt>
                <c:pt idx="37">
                  <c:v>3.3226585884057164E-2</c:v>
                </c:pt>
                <c:pt idx="38">
                  <c:v>3.3016326225624587E-2</c:v>
                </c:pt>
                <c:pt idx="39">
                  <c:v>3.0075909553288729E-2</c:v>
                </c:pt>
                <c:pt idx="40">
                  <c:v>3.0308227143147046E-2</c:v>
                </c:pt>
                <c:pt idx="41">
                  <c:v>3.1273537834975489E-2</c:v>
                </c:pt>
                <c:pt idx="42">
                  <c:v>3.0059016900147784E-2</c:v>
                </c:pt>
                <c:pt idx="43">
                  <c:v>3.0573863083611635E-2</c:v>
                </c:pt>
                <c:pt idx="44">
                  <c:v>3.254448153409624E-2</c:v>
                </c:pt>
                <c:pt idx="45">
                  <c:v>3.2420025270644671E-2</c:v>
                </c:pt>
                <c:pt idx="46">
                  <c:v>3.0841270586476857E-2</c:v>
                </c:pt>
                <c:pt idx="47">
                  <c:v>3.4545476528939606E-2</c:v>
                </c:pt>
                <c:pt idx="48">
                  <c:v>3.9378011399146942E-2</c:v>
                </c:pt>
                <c:pt idx="49">
                  <c:v>3.4585845792310457E-2</c:v>
                </c:pt>
                <c:pt idx="50">
                  <c:v>3.6889295123608744E-2</c:v>
                </c:pt>
                <c:pt idx="51">
                  <c:v>3.516974061970235E-2</c:v>
                </c:pt>
                <c:pt idx="52">
                  <c:v>3.3440411726256954E-2</c:v>
                </c:pt>
                <c:pt idx="53">
                  <c:v>3.0775515895011849E-2</c:v>
                </c:pt>
                <c:pt idx="54">
                  <c:v>2.856172806220978E-2</c:v>
                </c:pt>
                <c:pt idx="55">
                  <c:v>2.9260191711765828E-2</c:v>
                </c:pt>
                <c:pt idx="56">
                  <c:v>3.1178692703543048E-2</c:v>
                </c:pt>
                <c:pt idx="57">
                  <c:v>3.7031471681131703E-2</c:v>
                </c:pt>
                <c:pt idx="58">
                  <c:v>3.9909501581123753E-2</c:v>
                </c:pt>
                <c:pt idx="59">
                  <c:v>3.3090443177845791E-2</c:v>
                </c:pt>
                <c:pt idx="60">
                  <c:v>2.0429936026239697E-2</c:v>
                </c:pt>
                <c:pt idx="61">
                  <c:v>1.5942339180034886E-2</c:v>
                </c:pt>
                <c:pt idx="62">
                  <c:v>2.6561543645322632E-2</c:v>
                </c:pt>
                <c:pt idx="63">
                  <c:v>3.5068893654044385E-2</c:v>
                </c:pt>
                <c:pt idx="64">
                  <c:v>3.0967228847484717E-2</c:v>
                </c:pt>
                <c:pt idx="65">
                  <c:v>2.6027056162994167E-2</c:v>
                </c:pt>
                <c:pt idx="66">
                  <c:v>2.5871503741223587E-2</c:v>
                </c:pt>
                <c:pt idx="67">
                  <c:v>2.691260699372984E-2</c:v>
                </c:pt>
                <c:pt idx="68">
                  <c:v>2.5874418970458959E-2</c:v>
                </c:pt>
                <c:pt idx="69">
                  <c:v>2.3193315376484971E-2</c:v>
                </c:pt>
                <c:pt idx="70">
                  <c:v>2.2686657383630057E-2</c:v>
                </c:pt>
                <c:pt idx="71">
                  <c:v>2.6189284143623485E-2</c:v>
                </c:pt>
                <c:pt idx="72">
                  <c:v>2.7336338114147821E-2</c:v>
                </c:pt>
                <c:pt idx="73">
                  <c:v>2.7740990571672709E-2</c:v>
                </c:pt>
                <c:pt idx="74">
                  <c:v>2.8775273119844166E-2</c:v>
                </c:pt>
                <c:pt idx="75">
                  <c:v>2.8510329318482425E-2</c:v>
                </c:pt>
                <c:pt idx="76">
                  <c:v>2.7909474603405617E-2</c:v>
                </c:pt>
                <c:pt idx="77">
                  <c:v>2.354699792786898E-2</c:v>
                </c:pt>
                <c:pt idx="78">
                  <c:v>2.3516397046911525E-2</c:v>
                </c:pt>
                <c:pt idx="79">
                  <c:v>2.2115174941799768E-2</c:v>
                </c:pt>
                <c:pt idx="80">
                  <c:v>2.2268202762568419E-2</c:v>
                </c:pt>
                <c:pt idx="81">
                  <c:v>2.1244426266941792E-2</c:v>
                </c:pt>
                <c:pt idx="82">
                  <c:v>3.1177386289303839E-2</c:v>
                </c:pt>
                <c:pt idx="83">
                  <c:v>2.6306476866990773E-2</c:v>
                </c:pt>
                <c:pt idx="84">
                  <c:v>2.5524833007679375E-2</c:v>
                </c:pt>
                <c:pt idx="85">
                  <c:v>2.6871534411513368E-2</c:v>
                </c:pt>
                <c:pt idx="86">
                  <c:v>2.6338851413823878E-2</c:v>
                </c:pt>
                <c:pt idx="87">
                  <c:v>2.4648701089615546E-2</c:v>
                </c:pt>
                <c:pt idx="88">
                  <c:v>2.6238033764437702E-2</c:v>
                </c:pt>
                <c:pt idx="89">
                  <c:v>3.0191859532939729E-2</c:v>
                </c:pt>
                <c:pt idx="90">
                  <c:v>3.0716851696320817E-2</c:v>
                </c:pt>
                <c:pt idx="91">
                  <c:v>3.1790352756617284E-2</c:v>
                </c:pt>
                <c:pt idx="92">
                  <c:v>2.9789485452214992E-2</c:v>
                </c:pt>
                <c:pt idx="93">
                  <c:v>2.7419432969366012E-2</c:v>
                </c:pt>
                <c:pt idx="94">
                  <c:v>2.5375304588112154E-2</c:v>
                </c:pt>
                <c:pt idx="95">
                  <c:v>2.7271435244645044E-2</c:v>
                </c:pt>
                <c:pt idx="96">
                  <c:v>2.4300725205733124E-2</c:v>
                </c:pt>
                <c:pt idx="97">
                  <c:v>2.5953063658202231E-2</c:v>
                </c:pt>
                <c:pt idx="98">
                  <c:v>2.870484051773789E-2</c:v>
                </c:pt>
                <c:pt idx="99">
                  <c:v>3.0161179689259059E-2</c:v>
                </c:pt>
                <c:pt idx="100">
                  <c:v>3.7558407981539428E-2</c:v>
                </c:pt>
                <c:pt idx="101">
                  <c:v>3.5796970668813106E-2</c:v>
                </c:pt>
              </c:numCache>
            </c:numRef>
          </c:yVal>
          <c:smooth val="0"/>
          <c:extLst>
            <c:ext xmlns:c16="http://schemas.microsoft.com/office/drawing/2014/chart" uri="{C3380CC4-5D6E-409C-BE32-E72D297353CC}">
              <c16:uniqueId val="{00000000-F32D-48B7-BC20-E66FC6253BAD}"/>
            </c:ext>
          </c:extLst>
        </c:ser>
        <c:ser>
          <c:idx val="1"/>
          <c:order val="1"/>
          <c:tx>
            <c:strRef>
              <c:f>Sheet1!$B$10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6:$A$157</c:f>
              <c:numCache>
                <c:formatCode>General</c:formatCode>
                <c:ptCount val="52"/>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numCache>
            </c:numRef>
          </c:xVal>
          <c:yVal>
            <c:numRef>
              <c:f>Sheet1!$B$106:$B$157</c:f>
              <c:numCache>
                <c:formatCode>General</c:formatCode>
                <c:ptCount val="52"/>
                <c:pt idx="0">
                  <c:v>3.3379430772150658E-2</c:v>
                </c:pt>
                <c:pt idx="1">
                  <c:v>3.5297770608354727E-2</c:v>
                </c:pt>
                <c:pt idx="2">
                  <c:v>3.603152077608085E-2</c:v>
                </c:pt>
                <c:pt idx="3">
                  <c:v>3.0978674639028675E-2</c:v>
                </c:pt>
                <c:pt idx="4">
                  <c:v>2.8133515753956471E-2</c:v>
                </c:pt>
                <c:pt idx="5">
                  <c:v>2.7512069607189618E-2</c:v>
                </c:pt>
                <c:pt idx="6">
                  <c:v>2.7535908601076187E-2</c:v>
                </c:pt>
                <c:pt idx="7">
                  <c:v>2.7306049137985969E-2</c:v>
                </c:pt>
                <c:pt idx="8">
                  <c:v>2.6838607545871734E-2</c:v>
                </c:pt>
                <c:pt idx="9">
                  <c:v>2.8577136215520643E-2</c:v>
                </c:pt>
                <c:pt idx="10">
                  <c:v>2.9045708307140341E-2</c:v>
                </c:pt>
                <c:pt idx="11">
                  <c:v>3.0151694267354034E-2</c:v>
                </c:pt>
                <c:pt idx="12">
                  <c:v>3.1278274774940926E-2</c:v>
                </c:pt>
                <c:pt idx="13">
                  <c:v>3.2623144271831599E-2</c:v>
                </c:pt>
                <c:pt idx="14">
                  <c:v>3.2081452766552027E-2</c:v>
                </c:pt>
                <c:pt idx="15">
                  <c:v>2.8476513020004538E-2</c:v>
                </c:pt>
                <c:pt idx="16">
                  <c:v>2.8897929262062423E-2</c:v>
                </c:pt>
                <c:pt idx="17">
                  <c:v>2.8572345272906727E-2</c:v>
                </c:pt>
                <c:pt idx="18">
                  <c:v>2.7582157287634194E-2</c:v>
                </c:pt>
                <c:pt idx="19">
                  <c:v>2.6684207925807661E-2</c:v>
                </c:pt>
                <c:pt idx="20">
                  <c:v>2.5074098168638374E-2</c:v>
                </c:pt>
                <c:pt idx="21">
                  <c:v>3.7053775555914395E-2</c:v>
                </c:pt>
                <c:pt idx="22">
                  <c:v>4.1201839145334811E-2</c:v>
                </c:pt>
                <c:pt idx="23">
                  <c:v>3.952108516249337E-2</c:v>
                </c:pt>
                <c:pt idx="24">
                  <c:v>3.301132678213544E-2</c:v>
                </c:pt>
                <c:pt idx="25">
                  <c:v>3.4672282379825628E-2</c:v>
                </c:pt>
                <c:pt idx="26">
                  <c:v>3.6478521099227869E-2</c:v>
                </c:pt>
                <c:pt idx="27">
                  <c:v>3.1719960612283417E-2</c:v>
                </c:pt>
                <c:pt idx="28">
                  <c:v>2.9844699099281863E-2</c:v>
                </c:pt>
                <c:pt idx="29">
                  <c:v>2.8247037929351546E-2</c:v>
                </c:pt>
                <c:pt idx="30">
                  <c:v>2.3926861689124793E-2</c:v>
                </c:pt>
                <c:pt idx="31">
                  <c:v>2.0770671408149036E-2</c:v>
                </c:pt>
                <c:pt idx="32">
                  <c:v>2.3460558709885785E-2</c:v>
                </c:pt>
                <c:pt idx="33">
                  <c:v>3.0427962862070307E-2</c:v>
                </c:pt>
                <c:pt idx="34">
                  <c:v>3.1037706913624008E-2</c:v>
                </c:pt>
                <c:pt idx="35">
                  <c:v>2.928997264422914E-2</c:v>
                </c:pt>
                <c:pt idx="36">
                  <c:v>2.9697936908540855E-2</c:v>
                </c:pt>
                <c:pt idx="37">
                  <c:v>3.0248130900335804E-2</c:v>
                </c:pt>
                <c:pt idx="38">
                  <c:v>3.5070387750061743E-2</c:v>
                </c:pt>
                <c:pt idx="39">
                  <c:v>3.1208337770205517E-2</c:v>
                </c:pt>
                <c:pt idx="40">
                  <c:v>2.6826790166755026E-2</c:v>
                </c:pt>
                <c:pt idx="41">
                  <c:v>2.4203784771293646E-2</c:v>
                </c:pt>
                <c:pt idx="42">
                  <c:v>2.4098053977022377E-2</c:v>
                </c:pt>
                <c:pt idx="43">
                  <c:v>2.4523754132153155E-2</c:v>
                </c:pt>
                <c:pt idx="44">
                  <c:v>2.2379504666963371E-2</c:v>
                </c:pt>
                <c:pt idx="45">
                  <c:v>2.104065524243157E-2</c:v>
                </c:pt>
                <c:pt idx="46">
                  <c:v>2.2028240128902143E-2</c:v>
                </c:pt>
                <c:pt idx="47">
                  <c:v>2.3321641522021073E-2</c:v>
                </c:pt>
                <c:pt idx="48">
                  <c:v>2.5721900660138006E-2</c:v>
                </c:pt>
                <c:pt idx="49">
                  <c:v>2.4967370312040958E-2</c:v>
                </c:pt>
                <c:pt idx="50">
                  <c:v>2.6033359791458374E-2</c:v>
                </c:pt>
                <c:pt idx="51">
                  <c:v>2.5702227757022279E-2</c:v>
                </c:pt>
              </c:numCache>
            </c:numRef>
          </c:yVal>
          <c:smooth val="0"/>
          <c:extLst>
            <c:ext xmlns:c16="http://schemas.microsoft.com/office/drawing/2014/chart" uri="{C3380CC4-5D6E-409C-BE32-E72D297353CC}">
              <c16:uniqueId val="{00000002-F32D-48B7-BC20-E66FC6253BAD}"/>
            </c:ext>
          </c:extLst>
        </c:ser>
        <c:ser>
          <c:idx val="2"/>
          <c:order val="2"/>
          <c:tx>
            <c:strRef>
              <c:f>Sheet1!$B$159</c:f>
              <c:strCache>
                <c:ptCount val="1"/>
                <c:pt idx="0">
                  <c:v>Custom Linep3yQ</c:v>
                </c:pt>
              </c:strCache>
            </c:strRef>
          </c:tx>
          <c:spPr>
            <a:ln w="19050" cap="rnd">
              <a:solidFill>
                <a:srgbClr val="C00000"/>
              </a:solidFill>
              <a:prstDash val="sysDot"/>
              <a:round/>
            </a:ln>
            <a:effectLst/>
          </c:spPr>
          <c:marker>
            <c:symbol val="none"/>
          </c:marker>
          <c:xVal>
            <c:numRef>
              <c:f>Sheet1!$A$160:$A$161</c:f>
              <c:numCache>
                <c:formatCode>General</c:formatCode>
                <c:ptCount val="2"/>
                <c:pt idx="0">
                  <c:v>0</c:v>
                </c:pt>
                <c:pt idx="1">
                  <c:v>0.27575744047645689</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3-F32D-48B7-BC20-E66FC6253BAD}"/>
            </c:ext>
          </c:extLst>
        </c:ser>
        <c:ser>
          <c:idx val="3"/>
          <c:order val="3"/>
          <c:tx>
            <c:strRef>
              <c:f>Sheet1!$B$16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0.27575744047645689</c:v>
                </c:pt>
                <c:pt idx="1">
                  <c:v>0.27575744047645689</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8:$A$169</c:f>
              <c:numCache>
                <c:formatCode>General</c:formatCode>
                <c:ptCount val="2"/>
                <c:pt idx="0">
                  <c:v>0</c:v>
                </c:pt>
                <c:pt idx="1">
                  <c:v>0.28987004975079905</c:v>
                </c:pt>
              </c:numCache>
            </c:numRef>
          </c:xVal>
          <c:yVal>
            <c:numRef>
              <c:f>Sheet1!$B$168:$B$169</c:f>
              <c:numCache>
                <c:formatCode>General</c:formatCode>
                <c:ptCount val="2"/>
                <c:pt idx="0">
                  <c:v>3.1101577984060606E-2</c:v>
                </c:pt>
                <c:pt idx="1">
                  <c:v>3.1101577984060606E-2</c:v>
                </c:pt>
              </c:numCache>
            </c:numRef>
          </c:yVal>
          <c:smooth val="0"/>
          <c:extLst>
            <c:ext xmlns:c16="http://schemas.microsoft.com/office/drawing/2014/chart" uri="{C3380CC4-5D6E-409C-BE32-E72D297353CC}">
              <c16:uniqueId val="{0000000A-F32D-48B7-BC20-E66FC6253BAD}"/>
            </c:ext>
          </c:extLst>
        </c:ser>
        <c:ser>
          <c:idx val="5"/>
          <c:order val="5"/>
          <c:tx>
            <c:strRef>
              <c:f>Sheet1!$B$17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0.28987004975079905</c:v>
                </c:pt>
                <c:pt idx="1">
                  <c:v>0.28987004975079905</c:v>
                </c:pt>
              </c:numCache>
            </c:numRef>
          </c:xVal>
          <c:yVal>
            <c:numRef>
              <c:f>Sheet1!$B$172:$B$173</c:f>
              <c:numCache>
                <c:formatCode>General</c:formatCode>
                <c:ptCount val="2"/>
                <c:pt idx="0">
                  <c:v>3.1101577984060606E-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6:$A$177</c:f>
              <c:numCache>
                <c:formatCode>General</c:formatCode>
                <c:ptCount val="2"/>
                <c:pt idx="0">
                  <c:v>0</c:v>
                </c:pt>
                <c:pt idx="1">
                  <c:v>0.32888493428125432</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1-F32D-48B7-BC20-E66FC6253BAD}"/>
            </c:ext>
          </c:extLst>
        </c:ser>
        <c:ser>
          <c:idx val="7"/>
          <c:order val="7"/>
          <c:tx>
            <c:strRef>
              <c:f>Sheet1!$B$17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0:$A$181</c:f>
              <c:numCache>
                <c:formatCode>General</c:formatCode>
                <c:ptCount val="2"/>
                <c:pt idx="0">
                  <c:v>0.32888493428125432</c:v>
                </c:pt>
                <c:pt idx="1">
                  <c:v>0.32888493428125432</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4:$A$238</c:f>
              <c:numCache>
                <c:formatCode>General</c:formatCode>
                <c:ptCount val="55"/>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pt idx="52">
                  <c:v>0.28987004975079905</c:v>
                </c:pt>
                <c:pt idx="53">
                  <c:v>0.27575744047645689</c:v>
                </c:pt>
                <c:pt idx="54">
                  <c:v>0.32888493428125432</c:v>
                </c:pt>
              </c:numCache>
            </c:numRef>
          </c:xVal>
          <c:yVal>
            <c:numRef>
              <c:f>Sheet1!$B$184:$B$238</c:f>
              <c:numCache>
                <c:formatCode>General</c:formatCode>
                <c:ptCount val="55"/>
                <c:pt idx="0">
                  <c:v>2.9413873016704839E-2</c:v>
                </c:pt>
                <c:pt idx="1">
                  <c:v>2.9896344890080709E-2</c:v>
                </c:pt>
                <c:pt idx="2">
                  <c:v>3.0155656486461964E-2</c:v>
                </c:pt>
                <c:pt idx="3">
                  <c:v>2.7109900331363727E-2</c:v>
                </c:pt>
                <c:pt idx="4">
                  <c:v>2.4371775225560388E-2</c:v>
                </c:pt>
                <c:pt idx="5">
                  <c:v>2.4094268404047922E-2</c:v>
                </c:pt>
                <c:pt idx="6">
                  <c:v>2.4322183284519114E-2</c:v>
                </c:pt>
                <c:pt idx="7">
                  <c:v>2.5263903460272262E-2</c:v>
                </c:pt>
                <c:pt idx="8">
                  <c:v>2.7533717749061021E-2</c:v>
                </c:pt>
                <c:pt idx="9">
                  <c:v>2.9136059572005948E-2</c:v>
                </c:pt>
                <c:pt idx="10">
                  <c:v>2.8439725189245424E-2</c:v>
                </c:pt>
                <c:pt idx="11">
                  <c:v>2.8481575446516888E-2</c:v>
                </c:pt>
                <c:pt idx="12">
                  <c:v>3.0108594349578348E-2</c:v>
                </c:pt>
                <c:pt idx="13">
                  <c:v>3.169054387055209E-2</c:v>
                </c:pt>
                <c:pt idx="14">
                  <c:v>3.1465934595702259E-2</c:v>
                </c:pt>
                <c:pt idx="15">
                  <c:v>3.1477667841337743E-2</c:v>
                </c:pt>
                <c:pt idx="16">
                  <c:v>3.1573121681829512E-2</c:v>
                </c:pt>
                <c:pt idx="17">
                  <c:v>3.1532924296196564E-2</c:v>
                </c:pt>
                <c:pt idx="18">
                  <c:v>3.0515660900336583E-2</c:v>
                </c:pt>
                <c:pt idx="19">
                  <c:v>3.0211789143868836E-2</c:v>
                </c:pt>
                <c:pt idx="20">
                  <c:v>2.8955614795748236E-2</c:v>
                </c:pt>
                <c:pt idx="21">
                  <c:v>3.2772131418724967E-2</c:v>
                </c:pt>
                <c:pt idx="22">
                  <c:v>3.3542665870490845E-2</c:v>
                </c:pt>
                <c:pt idx="23">
                  <c:v>3.3435184307609174E-2</c:v>
                </c:pt>
                <c:pt idx="24">
                  <c:v>3.268271460365052E-2</c:v>
                </c:pt>
                <c:pt idx="25">
                  <c:v>3.3870059534782497E-2</c:v>
                </c:pt>
                <c:pt idx="26">
                  <c:v>3.3073079926514877E-2</c:v>
                </c:pt>
                <c:pt idx="27">
                  <c:v>3.1808643842456727E-2</c:v>
                </c:pt>
                <c:pt idx="28">
                  <c:v>3.0502176751221188E-2</c:v>
                </c:pt>
                <c:pt idx="29">
                  <c:v>2.7906678470255915E-2</c:v>
                </c:pt>
                <c:pt idx="30">
                  <c:v>2.5033266393526828E-2</c:v>
                </c:pt>
                <c:pt idx="31">
                  <c:v>2.630903103630991E-2</c:v>
                </c:pt>
                <c:pt idx="32">
                  <c:v>2.8693045313762239E-2</c:v>
                </c:pt>
                <c:pt idx="33">
                  <c:v>3.2596808075387743E-2</c:v>
                </c:pt>
                <c:pt idx="34">
                  <c:v>3.3462836223474769E-2</c:v>
                </c:pt>
                <c:pt idx="35">
                  <c:v>3.1780988069129081E-2</c:v>
                </c:pt>
                <c:pt idx="36">
                  <c:v>3.2997078119396075E-2</c:v>
                </c:pt>
                <c:pt idx="37">
                  <c:v>3.4241810296995578E-2</c:v>
                </c:pt>
                <c:pt idx="38">
                  <c:v>3.5259393566231922E-2</c:v>
                </c:pt>
                <c:pt idx="39">
                  <c:v>3.2524924643797831E-2</c:v>
                </c:pt>
                <c:pt idx="40">
                  <c:v>2.8308242375685959E-2</c:v>
                </c:pt>
                <c:pt idx="41">
                  <c:v>2.54404048951909E-2</c:v>
                </c:pt>
                <c:pt idx="42">
                  <c:v>2.3287513921568817E-2</c:v>
                </c:pt>
                <c:pt idx="43">
                  <c:v>2.3365554652546534E-2</c:v>
                </c:pt>
                <c:pt idx="44">
                  <c:v>2.3054756675168077E-2</c:v>
                </c:pt>
                <c:pt idx="45">
                  <c:v>2.3566114628330095E-2</c:v>
                </c:pt>
                <c:pt idx="46">
                  <c:v>2.5888630394799238E-2</c:v>
                </c:pt>
                <c:pt idx="47">
                  <c:v>2.6265547596405793E-2</c:v>
                </c:pt>
                <c:pt idx="48">
                  <c:v>2.7412822111043234E-2</c:v>
                </c:pt>
                <c:pt idx="49">
                  <c:v>2.5962622488181153E-2</c:v>
                </c:pt>
                <c:pt idx="50">
                  <c:v>2.4525712064247307E-2</c:v>
                </c:pt>
                <c:pt idx="51">
                  <c:v>2.4473274634488791E-2</c:v>
                </c:pt>
                <c:pt idx="52">
                  <c:v>3.1101577984060602E-2</c:v>
                </c:pt>
                <c:pt idx="53">
                  <c:v>3.3390590546211449E-2</c:v>
                </c:pt>
                <c:pt idx="54">
                  <c:v>2.4773509299877497E-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40737801608579088"/>
          <c:min val="0.18705920295984374"/>
        </c:scaling>
        <c:delete val="0"/>
        <c:axPos val="b"/>
        <c:title>
          <c:tx>
            <c:rich>
              <a:bodyPr rot="0" spcFirstLastPara="1" vertOverflow="ellipsis" vert="horz" wrap="square" anchor="ctr" anchorCtr="1"/>
              <a:lstStyle/>
              <a:p>
                <a:pPr>
                  <a:defRPr sz="800" b="0">
                    <a:latin typeface="Nexa Bold"/>
                  </a:defRPr>
                </a:pPr>
                <a:r>
                  <a:rPr lang="en-US"/>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1291069944164441</c:v>
                </c:pt>
                <c:pt idx="1">
                  <c:v>0.13485892486555889</c:v>
                </c:pt>
                <c:pt idx="2">
                  <c:v>0.13361697278764331</c:v>
                </c:pt>
                <c:pt idx="3">
                  <c:v>0.13181455947245191</c:v>
                </c:pt>
                <c:pt idx="4">
                  <c:v>0.13079849733141291</c:v>
                </c:pt>
                <c:pt idx="5">
                  <c:v>0.12786527339341361</c:v>
                </c:pt>
                <c:pt idx="6">
                  <c:v>0.13389772495720559</c:v>
                </c:pt>
                <c:pt idx="7">
                  <c:v>0.1359519354250221</c:v>
                </c:pt>
                <c:pt idx="8">
                  <c:v>0.13408395448492219</c:v>
                </c:pt>
                <c:pt idx="9">
                  <c:v>0.1272173036352085</c:v>
                </c:pt>
                <c:pt idx="10">
                  <c:v>0.12580154817273331</c:v>
                </c:pt>
                <c:pt idx="11">
                  <c:v>0.1247833670603628</c:v>
                </c:pt>
                <c:pt idx="12">
                  <c:v>0.12616612542700109</c:v>
                </c:pt>
                <c:pt idx="13">
                  <c:v>0.13426073846412021</c:v>
                </c:pt>
                <c:pt idx="14">
                  <c:v>0.13040345544745011</c:v>
                </c:pt>
                <c:pt idx="15">
                  <c:v>0.12568196098787579</c:v>
                </c:pt>
                <c:pt idx="16">
                  <c:v>0.1284543866213313</c:v>
                </c:pt>
                <c:pt idx="17">
                  <c:v>0.13252000199740169</c:v>
                </c:pt>
                <c:pt idx="18">
                  <c:v>0.12612196270786419</c:v>
                </c:pt>
                <c:pt idx="19">
                  <c:v>0.13496886950214251</c:v>
                </c:pt>
                <c:pt idx="20">
                  <c:v>0.13064933940560819</c:v>
                </c:pt>
                <c:pt idx="21">
                  <c:v>0.12635635491031241</c:v>
                </c:pt>
                <c:pt idx="22">
                  <c:v>0.12863609693980929</c:v>
                </c:pt>
                <c:pt idx="23">
                  <c:v>0.13116494310893009</c:v>
                </c:pt>
                <c:pt idx="24">
                  <c:v>0.1278058186678292</c:v>
                </c:pt>
                <c:pt idx="25">
                  <c:v>0.1235932293079324</c:v>
                </c:pt>
                <c:pt idx="26">
                  <c:v>0.12290934252239009</c:v>
                </c:pt>
                <c:pt idx="27">
                  <c:v>0.12109503765009599</c:v>
                </c:pt>
                <c:pt idx="28">
                  <c:v>0.12207135397276341</c:v>
                </c:pt>
                <c:pt idx="29">
                  <c:v>0.1263122981136704</c:v>
                </c:pt>
                <c:pt idx="30">
                  <c:v>0.1263263635992006</c:v>
                </c:pt>
                <c:pt idx="31">
                  <c:v>0.12476889875077329</c:v>
                </c:pt>
                <c:pt idx="32">
                  <c:v>0.12674353123399981</c:v>
                </c:pt>
                <c:pt idx="33">
                  <c:v>0.12588695742723971</c:v>
                </c:pt>
                <c:pt idx="34">
                  <c:v>0.12390000002667199</c:v>
                </c:pt>
                <c:pt idx="35">
                  <c:v>0.12440850519118039</c:v>
                </c:pt>
                <c:pt idx="36">
                  <c:v>0.12336288941275771</c:v>
                </c:pt>
                <c:pt idx="37">
                  <c:v>0.1236579395008299</c:v>
                </c:pt>
                <c:pt idx="38">
                  <c:v>0.1244360084590832</c:v>
                </c:pt>
                <c:pt idx="39">
                  <c:v>0.12224083915887329</c:v>
                </c:pt>
                <c:pt idx="40">
                  <c:v>0.1219327444047168</c:v>
                </c:pt>
                <c:pt idx="41">
                  <c:v>0.1250560323566518</c:v>
                </c:pt>
                <c:pt idx="42">
                  <c:v>0.12745512740440279</c:v>
                </c:pt>
                <c:pt idx="43">
                  <c:v>0.1211984894858895</c:v>
                </c:pt>
                <c:pt idx="44">
                  <c:v>0.1258670226690102</c:v>
                </c:pt>
                <c:pt idx="45">
                  <c:v>0.1272339848348821</c:v>
                </c:pt>
                <c:pt idx="46">
                  <c:v>0.13490346412193621</c:v>
                </c:pt>
                <c:pt idx="47">
                  <c:v>0.1232399985423943</c:v>
                </c:pt>
                <c:pt idx="48">
                  <c:v>0.12311641114157899</c:v>
                </c:pt>
                <c:pt idx="49">
                  <c:v>0.1234350759255986</c:v>
                </c:pt>
                <c:pt idx="50">
                  <c:v>0.12419744604278141</c:v>
                </c:pt>
                <c:pt idx="51">
                  <c:v>0.13145508336915421</c:v>
                </c:pt>
                <c:pt idx="52">
                  <c:v>0.13109930113357529</c:v>
                </c:pt>
                <c:pt idx="53">
                  <c:v>0.13568928560863899</c:v>
                </c:pt>
                <c:pt idx="54">
                  <c:v>0.1285210371531505</c:v>
                </c:pt>
                <c:pt idx="55">
                  <c:v>0.1300753516373136</c:v>
                </c:pt>
                <c:pt idx="56">
                  <c:v>0.12489749950473671</c:v>
                </c:pt>
                <c:pt idx="57">
                  <c:v>0.10266521645136149</c:v>
                </c:pt>
                <c:pt idx="58">
                  <c:v>9.4621929093130358E-2</c:v>
                </c:pt>
                <c:pt idx="59">
                  <c:v>9.8212612965823731E-2</c:v>
                </c:pt>
                <c:pt idx="60">
                  <c:v>0.1102654339127445</c:v>
                </c:pt>
                <c:pt idx="61">
                  <c:v>0.1086326326560431</c:v>
                </c:pt>
                <c:pt idx="62">
                  <c:v>0.10273100071317991</c:v>
                </c:pt>
                <c:pt idx="63">
                  <c:v>0.1056131313298932</c:v>
                </c:pt>
                <c:pt idx="64">
                  <c:v>0.116037952360732</c:v>
                </c:pt>
                <c:pt idx="65">
                  <c:v>0.13065683342069531</c:v>
                </c:pt>
                <c:pt idx="66">
                  <c:v>0.132712182958446</c:v>
                </c:pt>
                <c:pt idx="67">
                  <c:v>0.12498087731066</c:v>
                </c:pt>
                <c:pt idx="68">
                  <c:v>0.1318623648264734</c:v>
                </c:pt>
                <c:pt idx="69">
                  <c:v>0.13405085209231629</c:v>
                </c:pt>
                <c:pt idx="70">
                  <c:v>0.12663942767242409</c:v>
                </c:pt>
                <c:pt idx="71">
                  <c:v>0.13715997078444109</c:v>
                </c:pt>
                <c:pt idx="72">
                  <c:v>0.1312699287114284</c:v>
                </c:pt>
                <c:pt idx="73">
                  <c:v>0.1290474255800157</c:v>
                </c:pt>
                <c:pt idx="74">
                  <c:v>0.12976627424972709</c:v>
                </c:pt>
                <c:pt idx="75">
                  <c:v>0.12686829869724861</c:v>
                </c:pt>
                <c:pt idx="76">
                  <c:v>0.1253623579280761</c:v>
                </c:pt>
                <c:pt idx="77">
                  <c:v>0.12968156222074531</c:v>
                </c:pt>
                <c:pt idx="78">
                  <c:v>0.12750329032649099</c:v>
                </c:pt>
                <c:pt idx="79">
                  <c:v>0.12461050546445129</c:v>
                </c:pt>
                <c:pt idx="80">
                  <c:v>0.12900335189603049</c:v>
                </c:pt>
                <c:pt idx="81">
                  <c:v>0.12741746962889991</c:v>
                </c:pt>
                <c:pt idx="82">
                  <c:v>0.1227246355993528</c:v>
                </c:pt>
                <c:pt idx="83">
                  <c:v>0.12325497363003669</c:v>
                </c:pt>
                <c:pt idx="84">
                  <c:v>0.1237777050026681</c:v>
                </c:pt>
                <c:pt idx="85">
                  <c:v>0.1227618684932686</c:v>
                </c:pt>
                <c:pt idx="86">
                  <c:v>0.12625273778634091</c:v>
                </c:pt>
                <c:pt idx="87">
                  <c:v>0.12848401925218161</c:v>
                </c:pt>
                <c:pt idx="88">
                  <c:v>0.12808991008793849</c:v>
                </c:pt>
                <c:pt idx="89">
                  <c:v>0.12669599383578639</c:v>
                </c:pt>
                <c:pt idx="90">
                  <c:v>0.128457244567205</c:v>
                </c:pt>
                <c:pt idx="91">
                  <c:v>0.1287495738807907</c:v>
                </c:pt>
                <c:pt idx="92">
                  <c:v>0.12753778198649329</c:v>
                </c:pt>
                <c:pt idx="93">
                  <c:v>0.12858384689357691</c:v>
                </c:pt>
                <c:pt idx="94">
                  <c:v>0.13053873342212541</c:v>
                </c:pt>
                <c:pt idx="95">
                  <c:v>0.1283681251237693</c:v>
                </c:pt>
                <c:pt idx="96">
                  <c:v>0.12712219330013799</c:v>
                </c:pt>
                <c:pt idx="97">
                  <c:v>0.12537888942730019</c:v>
                </c:pt>
                <c:pt idx="98">
                  <c:v>0.12745921704595151</c:v>
                </c:pt>
                <c:pt idx="99">
                  <c:v>0.1212266665697815</c:v>
                </c:pt>
                <c:pt idx="100">
                  <c:v>0.1141728668578047</c:v>
                </c:pt>
                <c:pt idx="101">
                  <c:v>0.115957494325048</c:v>
                </c:pt>
              </c:numCache>
            </c:numRef>
          </c:xVal>
          <c:yVal>
            <c:numRef>
              <c:f>Sheet1!$B$2:$B$103</c:f>
              <c:numCache>
                <c:formatCode>General</c:formatCode>
                <c:ptCount val="102"/>
                <c:pt idx="0">
                  <c:v>3.1549194168607013E-2</c:v>
                </c:pt>
                <c:pt idx="1">
                  <c:v>2.5925076493376501E-2</c:v>
                </c:pt>
                <c:pt idx="2">
                  <c:v>1.9457371147598559E-2</c:v>
                </c:pt>
                <c:pt idx="3">
                  <c:v>2.1005226955186751E-2</c:v>
                </c:pt>
                <c:pt idx="4">
                  <c:v>2.3683174888924512E-2</c:v>
                </c:pt>
                <c:pt idx="5">
                  <c:v>2.481491169212223E-2</c:v>
                </c:pt>
                <c:pt idx="6">
                  <c:v>2.2966901329024649E-2</c:v>
                </c:pt>
                <c:pt idx="7">
                  <c:v>2.1693356757167159E-2</c:v>
                </c:pt>
                <c:pt idx="8">
                  <c:v>2.508474647577718E-2</c:v>
                </c:pt>
                <c:pt idx="9">
                  <c:v>3.2219360006132687E-2</c:v>
                </c:pt>
                <c:pt idx="10">
                  <c:v>3.3455366889535383E-2</c:v>
                </c:pt>
                <c:pt idx="11">
                  <c:v>3.077420503855852E-2</c:v>
                </c:pt>
                <c:pt idx="12">
                  <c:v>3.166311843777065E-2</c:v>
                </c:pt>
                <c:pt idx="13">
                  <c:v>2.9573633835338661E-2</c:v>
                </c:pt>
                <c:pt idx="14">
                  <c:v>2.943829474961886E-2</c:v>
                </c:pt>
                <c:pt idx="15">
                  <c:v>3.2326555355538883E-2</c:v>
                </c:pt>
                <c:pt idx="16">
                  <c:v>3.045418321235838E-2</c:v>
                </c:pt>
                <c:pt idx="17">
                  <c:v>3.0177244147381321E-2</c:v>
                </c:pt>
                <c:pt idx="18">
                  <c:v>3.0949579617420529E-2</c:v>
                </c:pt>
                <c:pt idx="19">
                  <c:v>3.3044676701229417E-2</c:v>
                </c:pt>
                <c:pt idx="20">
                  <c:v>3.4502368865567047E-2</c:v>
                </c:pt>
                <c:pt idx="21">
                  <c:v>3.8171203781773647E-2</c:v>
                </c:pt>
                <c:pt idx="22">
                  <c:v>3.2633840746857157E-2</c:v>
                </c:pt>
                <c:pt idx="23">
                  <c:v>3.22851825867847E-2</c:v>
                </c:pt>
                <c:pt idx="24">
                  <c:v>3.4293774474369272E-2</c:v>
                </c:pt>
                <c:pt idx="25">
                  <c:v>3.3493331489235549E-2</c:v>
                </c:pt>
                <c:pt idx="26">
                  <c:v>3.2256296982208908E-2</c:v>
                </c:pt>
                <c:pt idx="27">
                  <c:v>3.256327154323236E-2</c:v>
                </c:pt>
                <c:pt idx="28">
                  <c:v>3.0215972855570969E-2</c:v>
                </c:pt>
                <c:pt idx="29">
                  <c:v>2.971323515475446E-2</c:v>
                </c:pt>
                <c:pt idx="30">
                  <c:v>2.9886044202056931E-2</c:v>
                </c:pt>
                <c:pt idx="31">
                  <c:v>3.0113049153545669E-2</c:v>
                </c:pt>
                <c:pt idx="32">
                  <c:v>3.0121682992946059E-2</c:v>
                </c:pt>
                <c:pt idx="33">
                  <c:v>2.8704102443482309E-2</c:v>
                </c:pt>
                <c:pt idx="34">
                  <c:v>3.0602403901330309E-2</c:v>
                </c:pt>
                <c:pt idx="35">
                  <c:v>3.1456536502498793E-2</c:v>
                </c:pt>
                <c:pt idx="36">
                  <c:v>3.1516667937295108E-2</c:v>
                </c:pt>
                <c:pt idx="37">
                  <c:v>3.3226585884057157E-2</c:v>
                </c:pt>
                <c:pt idx="38">
                  <c:v>3.3016326225624587E-2</c:v>
                </c:pt>
                <c:pt idx="39">
                  <c:v>3.0075909553288729E-2</c:v>
                </c:pt>
                <c:pt idx="40">
                  <c:v>3.030822714314705E-2</c:v>
                </c:pt>
                <c:pt idx="41">
                  <c:v>3.1273537834975489E-2</c:v>
                </c:pt>
                <c:pt idx="42">
                  <c:v>3.005901690014778E-2</c:v>
                </c:pt>
                <c:pt idx="43">
                  <c:v>3.0573863083611631E-2</c:v>
                </c:pt>
                <c:pt idx="44">
                  <c:v>3.254448153409624E-2</c:v>
                </c:pt>
                <c:pt idx="45">
                  <c:v>3.2420025270644671E-2</c:v>
                </c:pt>
                <c:pt idx="46">
                  <c:v>3.0841270586476861E-2</c:v>
                </c:pt>
                <c:pt idx="47">
                  <c:v>3.4545476528939613E-2</c:v>
                </c:pt>
                <c:pt idx="48">
                  <c:v>3.9378011399146942E-2</c:v>
                </c:pt>
                <c:pt idx="49">
                  <c:v>3.4585845792310457E-2</c:v>
                </c:pt>
                <c:pt idx="50">
                  <c:v>3.6889295123608737E-2</c:v>
                </c:pt>
                <c:pt idx="51">
                  <c:v>3.516974061970235E-2</c:v>
                </c:pt>
                <c:pt idx="52">
                  <c:v>3.3440411726256947E-2</c:v>
                </c:pt>
                <c:pt idx="53">
                  <c:v>3.0775515895011849E-2</c:v>
                </c:pt>
                <c:pt idx="54">
                  <c:v>2.856172806220978E-2</c:v>
                </c:pt>
                <c:pt idx="55">
                  <c:v>2.9260191711765832E-2</c:v>
                </c:pt>
                <c:pt idx="56">
                  <c:v>3.1178692703543051E-2</c:v>
                </c:pt>
                <c:pt idx="57">
                  <c:v>3.7031471681131703E-2</c:v>
                </c:pt>
                <c:pt idx="58">
                  <c:v>3.9909501581123753E-2</c:v>
                </c:pt>
                <c:pt idx="59">
                  <c:v>3.3090443177845791E-2</c:v>
                </c:pt>
                <c:pt idx="60">
                  <c:v>2.0429936026239701E-2</c:v>
                </c:pt>
                <c:pt idx="61">
                  <c:v>1.594233918003489E-2</c:v>
                </c:pt>
                <c:pt idx="62">
                  <c:v>2.6561543645322629E-2</c:v>
                </c:pt>
                <c:pt idx="63">
                  <c:v>3.5068893654044378E-2</c:v>
                </c:pt>
                <c:pt idx="64">
                  <c:v>3.0967228847484721E-2</c:v>
                </c:pt>
                <c:pt idx="65">
                  <c:v>2.602705616299417E-2</c:v>
                </c:pt>
                <c:pt idx="66">
                  <c:v>2.587150374122359E-2</c:v>
                </c:pt>
                <c:pt idx="67">
                  <c:v>2.691260699372984E-2</c:v>
                </c:pt>
                <c:pt idx="68">
                  <c:v>2.5874418970458959E-2</c:v>
                </c:pt>
                <c:pt idx="69">
                  <c:v>2.3193315376484971E-2</c:v>
                </c:pt>
                <c:pt idx="70">
                  <c:v>2.2686657383630061E-2</c:v>
                </c:pt>
                <c:pt idx="71">
                  <c:v>2.6189284143623481E-2</c:v>
                </c:pt>
                <c:pt idx="72">
                  <c:v>2.7336338114147821E-2</c:v>
                </c:pt>
                <c:pt idx="73">
                  <c:v>2.7740990571672709E-2</c:v>
                </c:pt>
                <c:pt idx="74">
                  <c:v>2.877527311984417E-2</c:v>
                </c:pt>
                <c:pt idx="75">
                  <c:v>2.8510329318482429E-2</c:v>
                </c:pt>
                <c:pt idx="76">
                  <c:v>2.7909474603405621E-2</c:v>
                </c:pt>
                <c:pt idx="77">
                  <c:v>2.354699792786898E-2</c:v>
                </c:pt>
                <c:pt idx="78">
                  <c:v>2.3516397046911521E-2</c:v>
                </c:pt>
                <c:pt idx="79">
                  <c:v>2.2115174941799771E-2</c:v>
                </c:pt>
                <c:pt idx="80">
                  <c:v>2.2268202762568419E-2</c:v>
                </c:pt>
                <c:pt idx="81">
                  <c:v>2.1244426266941788E-2</c:v>
                </c:pt>
                <c:pt idx="82">
                  <c:v>3.1177386289303839E-2</c:v>
                </c:pt>
                <c:pt idx="83">
                  <c:v>2.630647686699077E-2</c:v>
                </c:pt>
                <c:pt idx="84">
                  <c:v>2.5524833007679371E-2</c:v>
                </c:pt>
                <c:pt idx="85">
                  <c:v>2.6871534411513371E-2</c:v>
                </c:pt>
                <c:pt idx="86">
                  <c:v>2.6338851413823881E-2</c:v>
                </c:pt>
                <c:pt idx="87">
                  <c:v>2.464870108961555E-2</c:v>
                </c:pt>
                <c:pt idx="88">
                  <c:v>2.6238033764437702E-2</c:v>
                </c:pt>
                <c:pt idx="89">
                  <c:v>3.0191859532939729E-2</c:v>
                </c:pt>
                <c:pt idx="90">
                  <c:v>3.071685169632082E-2</c:v>
                </c:pt>
                <c:pt idx="91">
                  <c:v>3.1790352756617277E-2</c:v>
                </c:pt>
                <c:pt idx="92">
                  <c:v>2.9789485452214989E-2</c:v>
                </c:pt>
                <c:pt idx="93">
                  <c:v>2.7419432969366012E-2</c:v>
                </c:pt>
                <c:pt idx="94">
                  <c:v>2.5375304588112151E-2</c:v>
                </c:pt>
                <c:pt idx="95">
                  <c:v>2.727143524464504E-2</c:v>
                </c:pt>
                <c:pt idx="96">
                  <c:v>2.430072520573312E-2</c:v>
                </c:pt>
                <c:pt idx="97">
                  <c:v>2.5953063658202231E-2</c:v>
                </c:pt>
                <c:pt idx="98">
                  <c:v>2.870484051773789E-2</c:v>
                </c:pt>
                <c:pt idx="99">
                  <c:v>3.0161179689259059E-2</c:v>
                </c:pt>
                <c:pt idx="100">
                  <c:v>3.7558407981539428E-2</c:v>
                </c:pt>
                <c:pt idx="101">
                  <c:v>3.5796970668813113E-2</c:v>
                </c:pt>
              </c:numCache>
            </c:numRef>
          </c:yVal>
          <c:smooth val="0"/>
          <c:extLst>
            <c:ext xmlns:c16="http://schemas.microsoft.com/office/drawing/2014/chart" uri="{C3380CC4-5D6E-409C-BE32-E72D297353CC}">
              <c16:uniqueId val="{00000000-096C-4121-9522-6AB7243CCAAE}"/>
            </c:ext>
          </c:extLst>
        </c:ser>
        <c:ser>
          <c:idx val="1"/>
          <c:order val="1"/>
          <c:tx>
            <c:strRef>
              <c:f>Sheet1!$B$10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6:$A$157</c:f>
              <c:numCache>
                <c:formatCode>General</c:formatCode>
                <c:ptCount val="52"/>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numCache>
            </c:numRef>
          </c:xVal>
          <c:yVal>
            <c:numRef>
              <c:f>Sheet1!$B$106:$B$157</c:f>
              <c:numCache>
                <c:formatCode>General</c:formatCode>
                <c:ptCount val="52"/>
                <c:pt idx="0">
                  <c:v>3.3379430772150658E-2</c:v>
                </c:pt>
                <c:pt idx="1">
                  <c:v>3.5297770608354727E-2</c:v>
                </c:pt>
                <c:pt idx="2">
                  <c:v>3.603152077608085E-2</c:v>
                </c:pt>
                <c:pt idx="3">
                  <c:v>3.0978674639028671E-2</c:v>
                </c:pt>
                <c:pt idx="4">
                  <c:v>2.8133515753956471E-2</c:v>
                </c:pt>
                <c:pt idx="5">
                  <c:v>2.7512069607189622E-2</c:v>
                </c:pt>
                <c:pt idx="6">
                  <c:v>2.753590860107619E-2</c:v>
                </c:pt>
                <c:pt idx="7">
                  <c:v>2.7306049137985969E-2</c:v>
                </c:pt>
                <c:pt idx="8">
                  <c:v>2.683860754587173E-2</c:v>
                </c:pt>
                <c:pt idx="9">
                  <c:v>2.8577136215520639E-2</c:v>
                </c:pt>
                <c:pt idx="10">
                  <c:v>2.9045708307140341E-2</c:v>
                </c:pt>
                <c:pt idx="11">
                  <c:v>3.0151694267354031E-2</c:v>
                </c:pt>
                <c:pt idx="12">
                  <c:v>3.1278274774940933E-2</c:v>
                </c:pt>
                <c:pt idx="13">
                  <c:v>3.2623144271831599E-2</c:v>
                </c:pt>
                <c:pt idx="14">
                  <c:v>3.2081452766552027E-2</c:v>
                </c:pt>
                <c:pt idx="15">
                  <c:v>2.8476513020004542E-2</c:v>
                </c:pt>
                <c:pt idx="16">
                  <c:v>2.889792926206242E-2</c:v>
                </c:pt>
                <c:pt idx="17">
                  <c:v>2.8572345272906731E-2</c:v>
                </c:pt>
                <c:pt idx="18">
                  <c:v>2.758215728763419E-2</c:v>
                </c:pt>
                <c:pt idx="19">
                  <c:v>2.6684207925807661E-2</c:v>
                </c:pt>
                <c:pt idx="20">
                  <c:v>2.507409816863837E-2</c:v>
                </c:pt>
                <c:pt idx="21">
                  <c:v>3.7053775555914388E-2</c:v>
                </c:pt>
                <c:pt idx="22">
                  <c:v>4.1201839145334811E-2</c:v>
                </c:pt>
                <c:pt idx="23">
                  <c:v>3.952108516249337E-2</c:v>
                </c:pt>
                <c:pt idx="24">
                  <c:v>3.301132678213544E-2</c:v>
                </c:pt>
                <c:pt idx="25">
                  <c:v>3.4672282379825628E-2</c:v>
                </c:pt>
                <c:pt idx="26">
                  <c:v>3.6478521099227869E-2</c:v>
                </c:pt>
                <c:pt idx="27">
                  <c:v>3.1719960612283417E-2</c:v>
                </c:pt>
                <c:pt idx="28">
                  <c:v>2.9844699099281859E-2</c:v>
                </c:pt>
                <c:pt idx="29">
                  <c:v>2.824703792935155E-2</c:v>
                </c:pt>
                <c:pt idx="30">
                  <c:v>2.3926861689124789E-2</c:v>
                </c:pt>
                <c:pt idx="31">
                  <c:v>2.077067140814904E-2</c:v>
                </c:pt>
                <c:pt idx="32">
                  <c:v>2.3460558709885782E-2</c:v>
                </c:pt>
                <c:pt idx="33">
                  <c:v>3.042796286207031E-2</c:v>
                </c:pt>
                <c:pt idx="34">
                  <c:v>3.1037706913624011E-2</c:v>
                </c:pt>
                <c:pt idx="35">
                  <c:v>2.928997264422914E-2</c:v>
                </c:pt>
                <c:pt idx="36">
                  <c:v>2.9697936908540851E-2</c:v>
                </c:pt>
                <c:pt idx="37">
                  <c:v>3.0248130900335801E-2</c:v>
                </c:pt>
                <c:pt idx="38">
                  <c:v>3.5070387750061743E-2</c:v>
                </c:pt>
                <c:pt idx="39">
                  <c:v>3.120833777020552E-2</c:v>
                </c:pt>
                <c:pt idx="40">
                  <c:v>2.682679016675503E-2</c:v>
                </c:pt>
                <c:pt idx="41">
                  <c:v>2.4203784771293649E-2</c:v>
                </c:pt>
                <c:pt idx="42">
                  <c:v>2.4098053977022381E-2</c:v>
                </c:pt>
                <c:pt idx="43">
                  <c:v>2.4523754132153151E-2</c:v>
                </c:pt>
                <c:pt idx="44">
                  <c:v>2.2379504666963371E-2</c:v>
                </c:pt>
                <c:pt idx="45">
                  <c:v>2.104065524243157E-2</c:v>
                </c:pt>
                <c:pt idx="46">
                  <c:v>2.202824012890214E-2</c:v>
                </c:pt>
                <c:pt idx="47">
                  <c:v>2.3321641522021069E-2</c:v>
                </c:pt>
                <c:pt idx="48">
                  <c:v>2.5721900660138009E-2</c:v>
                </c:pt>
                <c:pt idx="49">
                  <c:v>2.4967370312040962E-2</c:v>
                </c:pt>
                <c:pt idx="50">
                  <c:v>2.603335979145837E-2</c:v>
                </c:pt>
                <c:pt idx="51">
                  <c:v>2.5702227757022279E-2</c:v>
                </c:pt>
              </c:numCache>
            </c:numRef>
          </c:yVal>
          <c:smooth val="0"/>
          <c:extLst>
            <c:ext xmlns:c16="http://schemas.microsoft.com/office/drawing/2014/chart" uri="{C3380CC4-5D6E-409C-BE32-E72D297353CC}">
              <c16:uniqueId val="{00000002-096C-4121-9522-6AB7243CCAAE}"/>
            </c:ext>
          </c:extLst>
        </c:ser>
        <c:ser>
          <c:idx val="2"/>
          <c:order val="2"/>
          <c:tx>
            <c:strRef>
              <c:f>Sheet1!$B$15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0:$A$161</c:f>
              <c:numCache>
                <c:formatCode>General</c:formatCode>
                <c:ptCount val="2"/>
                <c:pt idx="0">
                  <c:v>0</c:v>
                </c:pt>
                <c:pt idx="1">
                  <c:v>0.1108820277239114</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5-096C-4121-9522-6AB7243CCAAE}"/>
            </c:ext>
          </c:extLst>
        </c:ser>
        <c:ser>
          <c:idx val="3"/>
          <c:order val="3"/>
          <c:tx>
            <c:strRef>
              <c:f>Sheet1!$B$16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0.1108820277239114</c:v>
                </c:pt>
                <c:pt idx="1">
                  <c:v>0.1108820277239114</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8:$A$169</c:f>
              <c:numCache>
                <c:formatCode>General</c:formatCode>
                <c:ptCount val="2"/>
                <c:pt idx="0">
                  <c:v>0</c:v>
                </c:pt>
                <c:pt idx="1">
                  <c:v>0.11732114474802791</c:v>
                </c:pt>
              </c:numCache>
            </c:numRef>
          </c:xVal>
          <c:yVal>
            <c:numRef>
              <c:f>Sheet1!$B$168:$B$169</c:f>
              <c:numCache>
                <c:formatCode>General</c:formatCode>
                <c:ptCount val="2"/>
                <c:pt idx="0">
                  <c:v>3.1101577984060609E-2</c:v>
                </c:pt>
                <c:pt idx="1">
                  <c:v>3.1101577984060609E-2</c:v>
                </c:pt>
              </c:numCache>
            </c:numRef>
          </c:yVal>
          <c:smooth val="0"/>
          <c:extLst>
            <c:ext xmlns:c16="http://schemas.microsoft.com/office/drawing/2014/chart" uri="{C3380CC4-5D6E-409C-BE32-E72D297353CC}">
              <c16:uniqueId val="{0000000D-096C-4121-9522-6AB7243CCAAE}"/>
            </c:ext>
          </c:extLst>
        </c:ser>
        <c:ser>
          <c:idx val="5"/>
          <c:order val="5"/>
          <c:tx>
            <c:strRef>
              <c:f>Sheet1!$B$17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0.11732114474802791</c:v>
                </c:pt>
                <c:pt idx="1">
                  <c:v>0.11732114474802791</c:v>
                </c:pt>
              </c:numCache>
            </c:numRef>
          </c:xVal>
          <c:yVal>
            <c:numRef>
              <c:f>Sheet1!$B$172:$B$173</c:f>
              <c:numCache>
                <c:formatCode>General</c:formatCode>
                <c:ptCount val="2"/>
                <c:pt idx="0">
                  <c:v>3.1101577984060609E-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6:$A$177</c:f>
              <c:numCache>
                <c:formatCode>General</c:formatCode>
                <c:ptCount val="2"/>
                <c:pt idx="0">
                  <c:v>0</c:v>
                </c:pt>
                <c:pt idx="1">
                  <c:v>0.13512234665834599</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5-096C-4121-9522-6AB7243CCAAE}"/>
            </c:ext>
          </c:extLst>
        </c:ser>
        <c:ser>
          <c:idx val="7"/>
          <c:order val="7"/>
          <c:tx>
            <c:strRef>
              <c:f>Sheet1!$B$17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0:$A$181</c:f>
              <c:numCache>
                <c:formatCode>General</c:formatCode>
                <c:ptCount val="2"/>
                <c:pt idx="0">
                  <c:v>0.13512234665834599</c:v>
                </c:pt>
                <c:pt idx="1">
                  <c:v>0.13512234665834599</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4:$A$238</c:f>
              <c:numCache>
                <c:formatCode>General</c:formatCode>
                <c:ptCount val="55"/>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pt idx="52">
                  <c:v>0.11732114474802791</c:v>
                </c:pt>
                <c:pt idx="53">
                  <c:v>0.1108820277239114</c:v>
                </c:pt>
                <c:pt idx="54">
                  <c:v>0.13512234665834599</c:v>
                </c:pt>
              </c:numCache>
            </c:numRef>
          </c:xVal>
          <c:yVal>
            <c:numRef>
              <c:f>Sheet1!$B$184:$B$238</c:f>
              <c:numCache>
                <c:formatCode>General</c:formatCode>
                <c:ptCount val="55"/>
                <c:pt idx="0">
                  <c:v>3.1620668745252142E-2</c:v>
                </c:pt>
                <c:pt idx="1">
                  <c:v>3.1654790245678951E-2</c:v>
                </c:pt>
                <c:pt idx="2">
                  <c:v>3.2783325344754151E-2</c:v>
                </c:pt>
                <c:pt idx="3">
                  <c:v>3.022688607526958E-2</c:v>
                </c:pt>
                <c:pt idx="4">
                  <c:v>2.8540776744242852E-2</c:v>
                </c:pt>
                <c:pt idx="5">
                  <c:v>2.8198639317480349E-2</c:v>
                </c:pt>
                <c:pt idx="6">
                  <c:v>2.8149354774764782E-2</c:v>
                </c:pt>
                <c:pt idx="7">
                  <c:v>2.8199004366077019E-2</c:v>
                </c:pt>
                <c:pt idx="8">
                  <c:v>3.0157282303857849E-2</c:v>
                </c:pt>
                <c:pt idx="9">
                  <c:v>2.9717490317624731E-2</c:v>
                </c:pt>
                <c:pt idx="10">
                  <c:v>2.880162617160174E-2</c:v>
                </c:pt>
                <c:pt idx="11">
                  <c:v>3.0799476543192809E-2</c:v>
                </c:pt>
                <c:pt idx="12">
                  <c:v>2.8080121278043681E-2</c:v>
                </c:pt>
                <c:pt idx="13">
                  <c:v>2.8247092051713919E-2</c:v>
                </c:pt>
                <c:pt idx="14">
                  <c:v>2.639540124703324E-2</c:v>
                </c:pt>
                <c:pt idx="15">
                  <c:v>1.9220157910636009E-2</c:v>
                </c:pt>
                <c:pt idx="16">
                  <c:v>2.9292926757015069E-2</c:v>
                </c:pt>
                <c:pt idx="17">
                  <c:v>2.9541107656935999E-2</c:v>
                </c:pt>
                <c:pt idx="18">
                  <c:v>3.1154431279754719E-2</c:v>
                </c:pt>
                <c:pt idx="19">
                  <c:v>2.9461129531890291E-2</c:v>
                </c:pt>
                <c:pt idx="20">
                  <c:v>3.0313783713891131E-2</c:v>
                </c:pt>
                <c:pt idx="21">
                  <c:v>3.3508822667282862E-2</c:v>
                </c:pt>
                <c:pt idx="22">
                  <c:v>3.4739165058279807E-2</c:v>
                </c:pt>
                <c:pt idx="23">
                  <c:v>3.3561500120319547E-2</c:v>
                </c:pt>
                <c:pt idx="24">
                  <c:v>3.0961282548418428E-2</c:v>
                </c:pt>
                <c:pt idx="25">
                  <c:v>3.325613118609181E-2</c:v>
                </c:pt>
                <c:pt idx="26">
                  <c:v>3.230935798656305E-2</c:v>
                </c:pt>
                <c:pt idx="27">
                  <c:v>3.0186042242885399E-2</c:v>
                </c:pt>
                <c:pt idx="28">
                  <c:v>2.9826699740302571E-2</c:v>
                </c:pt>
                <c:pt idx="29">
                  <c:v>2.8461825588360749E-2</c:v>
                </c:pt>
                <c:pt idx="30">
                  <c:v>2.6667445839888119E-2</c:v>
                </c:pt>
                <c:pt idx="31">
                  <c:v>2.9333797528733729E-2</c:v>
                </c:pt>
                <c:pt idx="32">
                  <c:v>2.8469462201818171E-2</c:v>
                </c:pt>
                <c:pt idx="33">
                  <c:v>3.1278574864500211E-2</c:v>
                </c:pt>
                <c:pt idx="34">
                  <c:v>3.362517184260494E-2</c:v>
                </c:pt>
                <c:pt idx="35">
                  <c:v>3.1259339751075838E-2</c:v>
                </c:pt>
                <c:pt idx="36">
                  <c:v>3.2466678789921898E-2</c:v>
                </c:pt>
                <c:pt idx="37">
                  <c:v>3.336561461501103E-2</c:v>
                </c:pt>
                <c:pt idx="38">
                  <c:v>3.1897061212580187E-2</c:v>
                </c:pt>
                <c:pt idx="39">
                  <c:v>3.0591232179052279E-2</c:v>
                </c:pt>
                <c:pt idx="40">
                  <c:v>2.6490890509876141E-2</c:v>
                </c:pt>
                <c:pt idx="41">
                  <c:v>2.5005655171483909E-2</c:v>
                </c:pt>
                <c:pt idx="42">
                  <c:v>2.471524594195228E-2</c:v>
                </c:pt>
                <c:pt idx="43">
                  <c:v>2.5740688254943609E-2</c:v>
                </c:pt>
                <c:pt idx="44">
                  <c:v>2.534241769031121E-2</c:v>
                </c:pt>
                <c:pt idx="45">
                  <c:v>2.5785004878787769E-2</c:v>
                </c:pt>
                <c:pt idx="46">
                  <c:v>2.6712805427711591E-2</c:v>
                </c:pt>
                <c:pt idx="47">
                  <c:v>2.6016063432124481E-2</c:v>
                </c:pt>
                <c:pt idx="48">
                  <c:v>2.645901837190287E-2</c:v>
                </c:pt>
                <c:pt idx="49">
                  <c:v>2.253097533810856E-2</c:v>
                </c:pt>
                <c:pt idx="50">
                  <c:v>2.3407974477709061E-2</c:v>
                </c:pt>
                <c:pt idx="51">
                  <c:v>2.5267129597052979E-2</c:v>
                </c:pt>
                <c:pt idx="52">
                  <c:v>3.1101577984060599E-2</c:v>
                </c:pt>
                <c:pt idx="53">
                  <c:v>3.3390590546211449E-2</c:v>
                </c:pt>
                <c:pt idx="54">
                  <c:v>2.47735092998775E-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18089307194123574"/>
          <c:min val="7.5697543274504286E-2"/>
        </c:scaling>
        <c:delete val="0"/>
        <c:axPos val="b"/>
        <c:title>
          <c:tx>
            <c:rich>
              <a:bodyPr rot="0" spcFirstLastPara="1" vertOverflow="ellipsis" vert="horz" wrap="square" anchor="ctr" anchorCtr="1"/>
              <a:lstStyle/>
              <a:p>
                <a:pPr>
                  <a:defRPr sz="800" b="0">
                    <a:solidFill>
                      <a:srgbClr val="575555"/>
                    </a:solidFill>
                    <a:latin typeface="Nexa Bold"/>
                  </a:defRPr>
                </a:pPr>
                <a:r>
                  <a:rPr lang="en-US"/>
                  <a:t>Price Ix vs. Gillette Fusion5</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3084051742229012</c:v>
                </c:pt>
                <c:pt idx="1">
                  <c:v>0.31591786351078627</c:v>
                </c:pt>
                <c:pt idx="2">
                  <c:v>0.32058023334902946</c:v>
                </c:pt>
                <c:pt idx="3">
                  <c:v>0.31551466024025998</c:v>
                </c:pt>
                <c:pt idx="4">
                  <c:v>0.31248983133575575</c:v>
                </c:pt>
                <c:pt idx="5">
                  <c:v>0.31209899175068745</c:v>
                </c:pt>
                <c:pt idx="6">
                  <c:v>0.31243915630070307</c:v>
                </c:pt>
                <c:pt idx="7">
                  <c:v>0.3133619793471481</c:v>
                </c:pt>
                <c:pt idx="8">
                  <c:v>0.31671907756813417</c:v>
                </c:pt>
                <c:pt idx="9">
                  <c:v>0.31082322826247477</c:v>
                </c:pt>
                <c:pt idx="10">
                  <c:v>0.31047212859141043</c:v>
                </c:pt>
                <c:pt idx="11">
                  <c:v>0.30851195946449417</c:v>
                </c:pt>
                <c:pt idx="12">
                  <c:v>0.30743476600274672</c:v>
                </c:pt>
                <c:pt idx="13">
                  <c:v>0.30557876018361524</c:v>
                </c:pt>
                <c:pt idx="14">
                  <c:v>0.30608180521683359</c:v>
                </c:pt>
                <c:pt idx="15">
                  <c:v>0.30537959003209308</c:v>
                </c:pt>
                <c:pt idx="16">
                  <c:v>0.30479028449342177</c:v>
                </c:pt>
                <c:pt idx="17">
                  <c:v>0.30535697989231286</c:v>
                </c:pt>
                <c:pt idx="18">
                  <c:v>0.30758733419811496</c:v>
                </c:pt>
                <c:pt idx="19">
                  <c:v>0.30384356418742708</c:v>
                </c:pt>
                <c:pt idx="20">
                  <c:v>0.30255871389344829</c:v>
                </c:pt>
                <c:pt idx="21">
                  <c:v>0.30131492720175512</c:v>
                </c:pt>
                <c:pt idx="22">
                  <c:v>0.30402402402402401</c:v>
                </c:pt>
                <c:pt idx="23">
                  <c:v>0.3041818228723267</c:v>
                </c:pt>
                <c:pt idx="24">
                  <c:v>0.30380595989557657</c:v>
                </c:pt>
                <c:pt idx="25">
                  <c:v>0.30266464709715091</c:v>
                </c:pt>
                <c:pt idx="26">
                  <c:v>0.30198090992432275</c:v>
                </c:pt>
                <c:pt idx="27">
                  <c:v>0.30261018186645428</c:v>
                </c:pt>
                <c:pt idx="28">
                  <c:v>0.30379475941413642</c:v>
                </c:pt>
                <c:pt idx="29">
                  <c:v>0.30510575091808745</c:v>
                </c:pt>
                <c:pt idx="30">
                  <c:v>0.30547263681592041</c:v>
                </c:pt>
                <c:pt idx="31">
                  <c:v>0.30191808942530629</c:v>
                </c:pt>
                <c:pt idx="32">
                  <c:v>0.30004016835781272</c:v>
                </c:pt>
                <c:pt idx="33">
                  <c:v>0.30140260803244229</c:v>
                </c:pt>
                <c:pt idx="34">
                  <c:v>0.30315931183998879</c:v>
                </c:pt>
                <c:pt idx="35">
                  <c:v>0.30423707530585153</c:v>
                </c:pt>
                <c:pt idx="36">
                  <c:v>0.30339368848493503</c:v>
                </c:pt>
                <c:pt idx="37">
                  <c:v>0.30312142377964563</c:v>
                </c:pt>
                <c:pt idx="38">
                  <c:v>0.30421477922015827</c:v>
                </c:pt>
                <c:pt idx="39">
                  <c:v>0.30360700245050509</c:v>
                </c:pt>
                <c:pt idx="40">
                  <c:v>0.30482776067799466</c:v>
                </c:pt>
                <c:pt idx="41">
                  <c:v>0.30496561046396053</c:v>
                </c:pt>
                <c:pt idx="42">
                  <c:v>0.30474260101509459</c:v>
                </c:pt>
                <c:pt idx="43">
                  <c:v>0.30487658997567685</c:v>
                </c:pt>
                <c:pt idx="44">
                  <c:v>0.30417377406912238</c:v>
                </c:pt>
                <c:pt idx="45">
                  <c:v>0.30429474182711519</c:v>
                </c:pt>
                <c:pt idx="46">
                  <c:v>0.30416987037597953</c:v>
                </c:pt>
                <c:pt idx="47">
                  <c:v>0.30177142857142858</c:v>
                </c:pt>
                <c:pt idx="48">
                  <c:v>0.30034428178139644</c:v>
                </c:pt>
                <c:pt idx="49">
                  <c:v>0.30020553910468561</c:v>
                </c:pt>
                <c:pt idx="50">
                  <c:v>0.30020393921120919</c:v>
                </c:pt>
                <c:pt idx="51">
                  <c:v>0.30029572161037082</c:v>
                </c:pt>
                <c:pt idx="52">
                  <c:v>0.30085731375024921</c:v>
                </c:pt>
                <c:pt idx="53">
                  <c:v>0.30374794069192751</c:v>
                </c:pt>
                <c:pt idx="54">
                  <c:v>0.30475569923731716</c:v>
                </c:pt>
                <c:pt idx="55">
                  <c:v>0.30484411191281596</c:v>
                </c:pt>
                <c:pt idx="56">
                  <c:v>0.29666067320451317</c:v>
                </c:pt>
                <c:pt idx="57">
                  <c:v>0.25400835544515327</c:v>
                </c:pt>
                <c:pt idx="58">
                  <c:v>0.23382400369980466</c:v>
                </c:pt>
                <c:pt idx="59">
                  <c:v>0.23943026116791946</c:v>
                </c:pt>
                <c:pt idx="60">
                  <c:v>0.25369491863085675</c:v>
                </c:pt>
                <c:pt idx="61">
                  <c:v>0.26335839430757868</c:v>
                </c:pt>
                <c:pt idx="62">
                  <c:v>0.24811366501794199</c:v>
                </c:pt>
                <c:pt idx="63">
                  <c:v>0.25331883600138116</c:v>
                </c:pt>
                <c:pt idx="64">
                  <c:v>0.27606841827999473</c:v>
                </c:pt>
                <c:pt idx="65">
                  <c:v>0.28160478817918266</c:v>
                </c:pt>
                <c:pt idx="66">
                  <c:v>0.29229782021117312</c:v>
                </c:pt>
                <c:pt idx="67">
                  <c:v>0.30127414335954045</c:v>
                </c:pt>
                <c:pt idx="68">
                  <c:v>0.30305886879569066</c:v>
                </c:pt>
                <c:pt idx="69">
                  <c:v>0.30492991022208221</c:v>
                </c:pt>
                <c:pt idx="70">
                  <c:v>0.30628978911194849</c:v>
                </c:pt>
                <c:pt idx="71">
                  <c:v>0.30507690665654685</c:v>
                </c:pt>
                <c:pt idx="72">
                  <c:v>0.30607670596048481</c:v>
                </c:pt>
                <c:pt idx="73">
                  <c:v>0.3116373241246056</c:v>
                </c:pt>
                <c:pt idx="74">
                  <c:v>0.31424842998124136</c:v>
                </c:pt>
                <c:pt idx="75">
                  <c:v>0.31320176754871626</c:v>
                </c:pt>
                <c:pt idx="76">
                  <c:v>0.31380953870863448</c:v>
                </c:pt>
                <c:pt idx="77">
                  <c:v>0.32590348409435188</c:v>
                </c:pt>
                <c:pt idx="78">
                  <c:v>0.33061711871301291</c:v>
                </c:pt>
                <c:pt idx="79">
                  <c:v>0.33376024237416513</c:v>
                </c:pt>
                <c:pt idx="80">
                  <c:v>0.334863282523373</c:v>
                </c:pt>
                <c:pt idx="81">
                  <c:v>0.33732775797715603</c:v>
                </c:pt>
                <c:pt idx="82">
                  <c:v>0.3340239432262419</c:v>
                </c:pt>
                <c:pt idx="83">
                  <c:v>0.32813911724353323</c:v>
                </c:pt>
                <c:pt idx="84">
                  <c:v>0.32451377453380215</c:v>
                </c:pt>
                <c:pt idx="85">
                  <c:v>0.3242920313313794</c:v>
                </c:pt>
                <c:pt idx="86">
                  <c:v>0.32834757834757833</c:v>
                </c:pt>
                <c:pt idx="87">
                  <c:v>0.33024565689467972</c:v>
                </c:pt>
                <c:pt idx="88">
                  <c:v>0.33047076978575868</c:v>
                </c:pt>
                <c:pt idx="89">
                  <c:v>0.32960364974033468</c:v>
                </c:pt>
                <c:pt idx="90">
                  <c:v>0.32877782475231143</c:v>
                </c:pt>
                <c:pt idx="91">
                  <c:v>0.33265505668454848</c:v>
                </c:pt>
                <c:pt idx="92">
                  <c:v>0.33383080669232584</c:v>
                </c:pt>
                <c:pt idx="93">
                  <c:v>0.33445095599479496</c:v>
                </c:pt>
                <c:pt idx="94">
                  <c:v>0.33425385899470356</c:v>
                </c:pt>
                <c:pt idx="95">
                  <c:v>0.33302358553829059</c:v>
                </c:pt>
                <c:pt idx="96">
                  <c:v>0.3331230702831911</c:v>
                </c:pt>
                <c:pt idx="97">
                  <c:v>0.33248279672509923</c:v>
                </c:pt>
                <c:pt idx="98">
                  <c:v>0.33184443040565192</c:v>
                </c:pt>
                <c:pt idx="99">
                  <c:v>0.31234357273380736</c:v>
                </c:pt>
                <c:pt idx="100">
                  <c:v>0.30123106937136429</c:v>
                </c:pt>
                <c:pt idx="101">
                  <c:v>0.30056872662328632</c:v>
                </c:pt>
              </c:numCache>
            </c:numRef>
          </c:xVal>
          <c:yVal>
            <c:numRef>
              <c:f>Sheet1!$B$2:$B$103</c:f>
              <c:numCache>
                <c:formatCode>General</c:formatCode>
                <c:ptCount val="102"/>
                <c:pt idx="0">
                  <c:v>3.1549194168607006E-2</c:v>
                </c:pt>
                <c:pt idx="1">
                  <c:v>2.5925076493376501E-2</c:v>
                </c:pt>
                <c:pt idx="2">
                  <c:v>1.9457371147598559E-2</c:v>
                </c:pt>
                <c:pt idx="3">
                  <c:v>2.1005226955186754E-2</c:v>
                </c:pt>
                <c:pt idx="4">
                  <c:v>2.3683174888924508E-2</c:v>
                </c:pt>
                <c:pt idx="5">
                  <c:v>2.4814911692122233E-2</c:v>
                </c:pt>
                <c:pt idx="6">
                  <c:v>2.2966901329024649E-2</c:v>
                </c:pt>
                <c:pt idx="7">
                  <c:v>2.1693356757167159E-2</c:v>
                </c:pt>
                <c:pt idx="8">
                  <c:v>2.508474647577718E-2</c:v>
                </c:pt>
                <c:pt idx="9">
                  <c:v>3.2219360006132694E-2</c:v>
                </c:pt>
                <c:pt idx="10">
                  <c:v>3.3455366889535383E-2</c:v>
                </c:pt>
                <c:pt idx="11">
                  <c:v>3.0774205038558523E-2</c:v>
                </c:pt>
                <c:pt idx="12">
                  <c:v>3.166311843777065E-2</c:v>
                </c:pt>
                <c:pt idx="13">
                  <c:v>2.9573633835338665E-2</c:v>
                </c:pt>
                <c:pt idx="14">
                  <c:v>2.9438294749618857E-2</c:v>
                </c:pt>
                <c:pt idx="15">
                  <c:v>3.2326555355538883E-2</c:v>
                </c:pt>
                <c:pt idx="16">
                  <c:v>3.0454183212358377E-2</c:v>
                </c:pt>
                <c:pt idx="17">
                  <c:v>3.0177244147381318E-2</c:v>
                </c:pt>
                <c:pt idx="18">
                  <c:v>3.0949579617420526E-2</c:v>
                </c:pt>
                <c:pt idx="19">
                  <c:v>3.3044676701229417E-2</c:v>
                </c:pt>
                <c:pt idx="20">
                  <c:v>3.4502368865567047E-2</c:v>
                </c:pt>
                <c:pt idx="21">
                  <c:v>3.8171203781773647E-2</c:v>
                </c:pt>
                <c:pt idx="22">
                  <c:v>3.2633840746857157E-2</c:v>
                </c:pt>
                <c:pt idx="23">
                  <c:v>3.22851825867847E-2</c:v>
                </c:pt>
                <c:pt idx="24">
                  <c:v>3.4293774474369265E-2</c:v>
                </c:pt>
                <c:pt idx="25">
                  <c:v>3.3493331489235549E-2</c:v>
                </c:pt>
                <c:pt idx="26">
                  <c:v>3.2256296982208908E-2</c:v>
                </c:pt>
                <c:pt idx="27">
                  <c:v>3.256327154323236E-2</c:v>
                </c:pt>
                <c:pt idx="28">
                  <c:v>3.0215972855570965E-2</c:v>
                </c:pt>
                <c:pt idx="29">
                  <c:v>2.971323515475446E-2</c:v>
                </c:pt>
                <c:pt idx="30">
                  <c:v>2.9886044202056927E-2</c:v>
                </c:pt>
                <c:pt idx="31">
                  <c:v>3.0113049153545669E-2</c:v>
                </c:pt>
                <c:pt idx="32">
                  <c:v>3.0121682992946059E-2</c:v>
                </c:pt>
                <c:pt idx="33">
                  <c:v>2.8704102443482309E-2</c:v>
                </c:pt>
                <c:pt idx="34">
                  <c:v>3.0602403901330309E-2</c:v>
                </c:pt>
                <c:pt idx="35">
                  <c:v>3.1456536502498786E-2</c:v>
                </c:pt>
                <c:pt idx="36">
                  <c:v>3.1516667937295108E-2</c:v>
                </c:pt>
                <c:pt idx="37">
                  <c:v>3.3226585884057164E-2</c:v>
                </c:pt>
                <c:pt idx="38">
                  <c:v>3.3016326225624587E-2</c:v>
                </c:pt>
                <c:pt idx="39">
                  <c:v>3.0075909553288729E-2</c:v>
                </c:pt>
                <c:pt idx="40">
                  <c:v>3.0308227143147046E-2</c:v>
                </c:pt>
                <c:pt idx="41">
                  <c:v>3.1273537834975489E-2</c:v>
                </c:pt>
                <c:pt idx="42">
                  <c:v>3.0059016900147784E-2</c:v>
                </c:pt>
                <c:pt idx="43">
                  <c:v>3.0573863083611635E-2</c:v>
                </c:pt>
                <c:pt idx="44">
                  <c:v>3.254448153409624E-2</c:v>
                </c:pt>
                <c:pt idx="45">
                  <c:v>3.2420025270644671E-2</c:v>
                </c:pt>
                <c:pt idx="46">
                  <c:v>3.0841270586476857E-2</c:v>
                </c:pt>
                <c:pt idx="47">
                  <c:v>3.4545476528939606E-2</c:v>
                </c:pt>
                <c:pt idx="48">
                  <c:v>3.9378011399146942E-2</c:v>
                </c:pt>
                <c:pt idx="49">
                  <c:v>3.4585845792310457E-2</c:v>
                </c:pt>
                <c:pt idx="50">
                  <c:v>3.6889295123608744E-2</c:v>
                </c:pt>
                <c:pt idx="51">
                  <c:v>3.516974061970235E-2</c:v>
                </c:pt>
                <c:pt idx="52">
                  <c:v>3.3440411726256954E-2</c:v>
                </c:pt>
                <c:pt idx="53">
                  <c:v>3.0775515895011849E-2</c:v>
                </c:pt>
                <c:pt idx="54">
                  <c:v>2.856172806220978E-2</c:v>
                </c:pt>
                <c:pt idx="55">
                  <c:v>2.9260191711765828E-2</c:v>
                </c:pt>
                <c:pt idx="56">
                  <c:v>3.1178692703543048E-2</c:v>
                </c:pt>
                <c:pt idx="57">
                  <c:v>3.7031471681131703E-2</c:v>
                </c:pt>
                <c:pt idx="58">
                  <c:v>3.9909501581123753E-2</c:v>
                </c:pt>
                <c:pt idx="59">
                  <c:v>3.3090443177845791E-2</c:v>
                </c:pt>
                <c:pt idx="60">
                  <c:v>2.0429936026239697E-2</c:v>
                </c:pt>
                <c:pt idx="61">
                  <c:v>1.5942339180034886E-2</c:v>
                </c:pt>
                <c:pt idx="62">
                  <c:v>2.6561543645322632E-2</c:v>
                </c:pt>
                <c:pt idx="63">
                  <c:v>3.5068893654044385E-2</c:v>
                </c:pt>
                <c:pt idx="64">
                  <c:v>3.0967228847484717E-2</c:v>
                </c:pt>
                <c:pt idx="65">
                  <c:v>2.6027056162994167E-2</c:v>
                </c:pt>
                <c:pt idx="66">
                  <c:v>2.5871503741223587E-2</c:v>
                </c:pt>
                <c:pt idx="67">
                  <c:v>2.691260699372984E-2</c:v>
                </c:pt>
                <c:pt idx="68">
                  <c:v>2.5874418970458959E-2</c:v>
                </c:pt>
                <c:pt idx="69">
                  <c:v>2.3193315376484971E-2</c:v>
                </c:pt>
                <c:pt idx="70">
                  <c:v>2.2686657383630057E-2</c:v>
                </c:pt>
                <c:pt idx="71">
                  <c:v>2.6189284143623485E-2</c:v>
                </c:pt>
                <c:pt idx="72">
                  <c:v>2.7336338114147821E-2</c:v>
                </c:pt>
                <c:pt idx="73">
                  <c:v>2.7740990571672709E-2</c:v>
                </c:pt>
                <c:pt idx="74">
                  <c:v>2.8775273119844166E-2</c:v>
                </c:pt>
                <c:pt idx="75">
                  <c:v>2.8510329318482425E-2</c:v>
                </c:pt>
                <c:pt idx="76">
                  <c:v>2.7909474603405617E-2</c:v>
                </c:pt>
                <c:pt idx="77">
                  <c:v>2.354699792786898E-2</c:v>
                </c:pt>
                <c:pt idx="78">
                  <c:v>2.3516397046911525E-2</c:v>
                </c:pt>
                <c:pt idx="79">
                  <c:v>2.2115174941799768E-2</c:v>
                </c:pt>
                <c:pt idx="80">
                  <c:v>2.2268202762568419E-2</c:v>
                </c:pt>
                <c:pt idx="81">
                  <c:v>2.1244426266941792E-2</c:v>
                </c:pt>
                <c:pt idx="82">
                  <c:v>3.1177386289303839E-2</c:v>
                </c:pt>
                <c:pt idx="83">
                  <c:v>2.6306476866990773E-2</c:v>
                </c:pt>
                <c:pt idx="84">
                  <c:v>2.5524833007679375E-2</c:v>
                </c:pt>
                <c:pt idx="85">
                  <c:v>2.6871534411513368E-2</c:v>
                </c:pt>
                <c:pt idx="86">
                  <c:v>2.6338851413823878E-2</c:v>
                </c:pt>
                <c:pt idx="87">
                  <c:v>2.4648701089615546E-2</c:v>
                </c:pt>
                <c:pt idx="88">
                  <c:v>2.6238033764437702E-2</c:v>
                </c:pt>
                <c:pt idx="89">
                  <c:v>3.0191859532939729E-2</c:v>
                </c:pt>
                <c:pt idx="90">
                  <c:v>3.0716851696320817E-2</c:v>
                </c:pt>
                <c:pt idx="91">
                  <c:v>3.1790352756617284E-2</c:v>
                </c:pt>
                <c:pt idx="92">
                  <c:v>2.9789485452214992E-2</c:v>
                </c:pt>
                <c:pt idx="93">
                  <c:v>2.7419432969366012E-2</c:v>
                </c:pt>
                <c:pt idx="94">
                  <c:v>2.5375304588112154E-2</c:v>
                </c:pt>
                <c:pt idx="95">
                  <c:v>2.7271435244645044E-2</c:v>
                </c:pt>
                <c:pt idx="96">
                  <c:v>2.4300725205733124E-2</c:v>
                </c:pt>
                <c:pt idx="97">
                  <c:v>2.5953063658202231E-2</c:v>
                </c:pt>
                <c:pt idx="98">
                  <c:v>2.870484051773789E-2</c:v>
                </c:pt>
                <c:pt idx="99">
                  <c:v>3.0161179689259059E-2</c:v>
                </c:pt>
                <c:pt idx="100">
                  <c:v>3.7558407981539428E-2</c:v>
                </c:pt>
                <c:pt idx="101">
                  <c:v>3.5796970668813106E-2</c:v>
                </c:pt>
              </c:numCache>
            </c:numRef>
          </c:yVal>
          <c:smooth val="0"/>
          <c:extLst>
            <c:ext xmlns:c16="http://schemas.microsoft.com/office/drawing/2014/chart" uri="{C3380CC4-5D6E-409C-BE32-E72D297353CC}">
              <c16:uniqueId val="{00000000-F32D-48B7-BC20-E66FC6253BAD}"/>
            </c:ext>
          </c:extLst>
        </c:ser>
        <c:ser>
          <c:idx val="1"/>
          <c:order val="1"/>
          <c:tx>
            <c:strRef>
              <c:f>Sheet1!$B$10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6:$A$157</c:f>
              <c:numCache>
                <c:formatCode>General</c:formatCode>
                <c:ptCount val="52"/>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numCache>
            </c:numRef>
          </c:xVal>
          <c:yVal>
            <c:numRef>
              <c:f>Sheet1!$B$106:$B$157</c:f>
              <c:numCache>
                <c:formatCode>General</c:formatCode>
                <c:ptCount val="52"/>
                <c:pt idx="0">
                  <c:v>3.3379430772150658E-2</c:v>
                </c:pt>
                <c:pt idx="1">
                  <c:v>3.5297770608354727E-2</c:v>
                </c:pt>
                <c:pt idx="2">
                  <c:v>3.603152077608085E-2</c:v>
                </c:pt>
                <c:pt idx="3">
                  <c:v>3.0978674639028675E-2</c:v>
                </c:pt>
                <c:pt idx="4">
                  <c:v>2.8133515753956471E-2</c:v>
                </c:pt>
                <c:pt idx="5">
                  <c:v>2.7512069607189618E-2</c:v>
                </c:pt>
                <c:pt idx="6">
                  <c:v>2.7535908601076187E-2</c:v>
                </c:pt>
                <c:pt idx="7">
                  <c:v>2.7306049137985969E-2</c:v>
                </c:pt>
                <c:pt idx="8">
                  <c:v>2.6838607545871734E-2</c:v>
                </c:pt>
                <c:pt idx="9">
                  <c:v>2.8577136215520643E-2</c:v>
                </c:pt>
                <c:pt idx="10">
                  <c:v>2.9045708307140341E-2</c:v>
                </c:pt>
                <c:pt idx="11">
                  <c:v>3.0151694267354034E-2</c:v>
                </c:pt>
                <c:pt idx="12">
                  <c:v>3.1278274774940926E-2</c:v>
                </c:pt>
                <c:pt idx="13">
                  <c:v>3.2623144271831599E-2</c:v>
                </c:pt>
                <c:pt idx="14">
                  <c:v>3.2081452766552027E-2</c:v>
                </c:pt>
                <c:pt idx="15">
                  <c:v>2.8476513020004538E-2</c:v>
                </c:pt>
                <c:pt idx="16">
                  <c:v>2.8897929262062423E-2</c:v>
                </c:pt>
                <c:pt idx="17">
                  <c:v>2.8572345272906727E-2</c:v>
                </c:pt>
                <c:pt idx="18">
                  <c:v>2.7582157287634194E-2</c:v>
                </c:pt>
                <c:pt idx="19">
                  <c:v>2.6684207925807661E-2</c:v>
                </c:pt>
                <c:pt idx="20">
                  <c:v>2.5074098168638374E-2</c:v>
                </c:pt>
                <c:pt idx="21">
                  <c:v>3.7053775555914395E-2</c:v>
                </c:pt>
                <c:pt idx="22">
                  <c:v>4.1201839145334811E-2</c:v>
                </c:pt>
                <c:pt idx="23">
                  <c:v>3.952108516249337E-2</c:v>
                </c:pt>
                <c:pt idx="24">
                  <c:v>3.301132678213544E-2</c:v>
                </c:pt>
                <c:pt idx="25">
                  <c:v>3.4672282379825628E-2</c:v>
                </c:pt>
                <c:pt idx="26">
                  <c:v>3.6478521099227869E-2</c:v>
                </c:pt>
                <c:pt idx="27">
                  <c:v>3.1719960612283417E-2</c:v>
                </c:pt>
                <c:pt idx="28">
                  <c:v>2.9844699099281863E-2</c:v>
                </c:pt>
                <c:pt idx="29">
                  <c:v>2.8247037929351546E-2</c:v>
                </c:pt>
                <c:pt idx="30">
                  <c:v>2.3926861689124793E-2</c:v>
                </c:pt>
                <c:pt idx="31">
                  <c:v>2.0770671408149036E-2</c:v>
                </c:pt>
                <c:pt idx="32">
                  <c:v>2.3460558709885785E-2</c:v>
                </c:pt>
                <c:pt idx="33">
                  <c:v>3.0427962862070307E-2</c:v>
                </c:pt>
                <c:pt idx="34">
                  <c:v>3.1037706913624008E-2</c:v>
                </c:pt>
                <c:pt idx="35">
                  <c:v>2.928997264422914E-2</c:v>
                </c:pt>
                <c:pt idx="36">
                  <c:v>2.9697936908540855E-2</c:v>
                </c:pt>
                <c:pt idx="37">
                  <c:v>3.0248130900335804E-2</c:v>
                </c:pt>
                <c:pt idx="38">
                  <c:v>3.5070387750061743E-2</c:v>
                </c:pt>
                <c:pt idx="39">
                  <c:v>3.1208337770205517E-2</c:v>
                </c:pt>
                <c:pt idx="40">
                  <c:v>2.6826790166755026E-2</c:v>
                </c:pt>
                <c:pt idx="41">
                  <c:v>2.4203784771293646E-2</c:v>
                </c:pt>
                <c:pt idx="42">
                  <c:v>2.4098053977022377E-2</c:v>
                </c:pt>
                <c:pt idx="43">
                  <c:v>2.4523754132153155E-2</c:v>
                </c:pt>
                <c:pt idx="44">
                  <c:v>2.2379504666963371E-2</c:v>
                </c:pt>
                <c:pt idx="45">
                  <c:v>2.104065524243157E-2</c:v>
                </c:pt>
                <c:pt idx="46">
                  <c:v>2.2028240128902143E-2</c:v>
                </c:pt>
                <c:pt idx="47">
                  <c:v>2.3321641522021073E-2</c:v>
                </c:pt>
                <c:pt idx="48">
                  <c:v>2.5721900660138006E-2</c:v>
                </c:pt>
                <c:pt idx="49">
                  <c:v>2.4967370312040958E-2</c:v>
                </c:pt>
                <c:pt idx="50">
                  <c:v>2.6033359791458374E-2</c:v>
                </c:pt>
                <c:pt idx="51">
                  <c:v>2.5702227757022279E-2</c:v>
                </c:pt>
              </c:numCache>
            </c:numRef>
          </c:yVal>
          <c:smooth val="0"/>
          <c:extLst>
            <c:ext xmlns:c16="http://schemas.microsoft.com/office/drawing/2014/chart" uri="{C3380CC4-5D6E-409C-BE32-E72D297353CC}">
              <c16:uniqueId val="{00000002-F32D-48B7-BC20-E66FC6253BAD}"/>
            </c:ext>
          </c:extLst>
        </c:ser>
        <c:ser>
          <c:idx val="2"/>
          <c:order val="2"/>
          <c:tx>
            <c:strRef>
              <c:f>Sheet1!$B$159</c:f>
              <c:strCache>
                <c:ptCount val="1"/>
                <c:pt idx="0">
                  <c:v>Custom Linep3yQ</c:v>
                </c:pt>
              </c:strCache>
            </c:strRef>
          </c:tx>
          <c:spPr>
            <a:ln w="19050" cap="rnd">
              <a:solidFill>
                <a:srgbClr val="C00000"/>
              </a:solidFill>
              <a:prstDash val="sysDot"/>
              <a:round/>
            </a:ln>
            <a:effectLst/>
          </c:spPr>
          <c:marker>
            <c:symbol val="none"/>
          </c:marker>
          <c:xVal>
            <c:numRef>
              <c:f>Sheet1!$A$160:$A$161</c:f>
              <c:numCache>
                <c:formatCode>General</c:formatCode>
                <c:ptCount val="2"/>
                <c:pt idx="0">
                  <c:v>0</c:v>
                </c:pt>
                <c:pt idx="1">
                  <c:v>0.27575744047645689</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3-F32D-48B7-BC20-E66FC6253BAD}"/>
            </c:ext>
          </c:extLst>
        </c:ser>
        <c:ser>
          <c:idx val="3"/>
          <c:order val="3"/>
          <c:tx>
            <c:strRef>
              <c:f>Sheet1!$B$16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0.27575744047645689</c:v>
                </c:pt>
                <c:pt idx="1">
                  <c:v>0.27575744047645689</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8:$A$169</c:f>
              <c:numCache>
                <c:formatCode>General</c:formatCode>
                <c:ptCount val="2"/>
                <c:pt idx="0">
                  <c:v>0</c:v>
                </c:pt>
                <c:pt idx="1">
                  <c:v>0.28987004975079905</c:v>
                </c:pt>
              </c:numCache>
            </c:numRef>
          </c:xVal>
          <c:yVal>
            <c:numRef>
              <c:f>Sheet1!$B$168:$B$169</c:f>
              <c:numCache>
                <c:formatCode>General</c:formatCode>
                <c:ptCount val="2"/>
                <c:pt idx="0">
                  <c:v>3.1101577984060606E-2</c:v>
                </c:pt>
                <c:pt idx="1">
                  <c:v>3.1101577984060606E-2</c:v>
                </c:pt>
              </c:numCache>
            </c:numRef>
          </c:yVal>
          <c:smooth val="0"/>
          <c:extLst>
            <c:ext xmlns:c16="http://schemas.microsoft.com/office/drawing/2014/chart" uri="{C3380CC4-5D6E-409C-BE32-E72D297353CC}">
              <c16:uniqueId val="{0000000A-F32D-48B7-BC20-E66FC6253BAD}"/>
            </c:ext>
          </c:extLst>
        </c:ser>
        <c:ser>
          <c:idx val="5"/>
          <c:order val="5"/>
          <c:tx>
            <c:strRef>
              <c:f>Sheet1!$B$17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0.28987004975079905</c:v>
                </c:pt>
                <c:pt idx="1">
                  <c:v>0.28987004975079905</c:v>
                </c:pt>
              </c:numCache>
            </c:numRef>
          </c:xVal>
          <c:yVal>
            <c:numRef>
              <c:f>Sheet1!$B$172:$B$173</c:f>
              <c:numCache>
                <c:formatCode>General</c:formatCode>
                <c:ptCount val="2"/>
                <c:pt idx="0">
                  <c:v>3.1101577984060606E-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6:$A$177</c:f>
              <c:numCache>
                <c:formatCode>General</c:formatCode>
                <c:ptCount val="2"/>
                <c:pt idx="0">
                  <c:v>0</c:v>
                </c:pt>
                <c:pt idx="1">
                  <c:v>0.32888493428125432</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1-F32D-48B7-BC20-E66FC6253BAD}"/>
            </c:ext>
          </c:extLst>
        </c:ser>
        <c:ser>
          <c:idx val="7"/>
          <c:order val="7"/>
          <c:tx>
            <c:strRef>
              <c:f>Sheet1!$B$17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0:$A$181</c:f>
              <c:numCache>
                <c:formatCode>General</c:formatCode>
                <c:ptCount val="2"/>
                <c:pt idx="0">
                  <c:v>0.32888493428125432</c:v>
                </c:pt>
                <c:pt idx="1">
                  <c:v>0.32888493428125432</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4:$A$238</c:f>
              <c:numCache>
                <c:formatCode>General</c:formatCode>
                <c:ptCount val="55"/>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pt idx="52">
                  <c:v>0.28987004975079905</c:v>
                </c:pt>
                <c:pt idx="53">
                  <c:v>0.27575744047645689</c:v>
                </c:pt>
                <c:pt idx="54">
                  <c:v>0.32888493428125432</c:v>
                </c:pt>
              </c:numCache>
            </c:numRef>
          </c:xVal>
          <c:yVal>
            <c:numRef>
              <c:f>Sheet1!$B$184:$B$238</c:f>
              <c:numCache>
                <c:formatCode>General</c:formatCode>
                <c:ptCount val="55"/>
                <c:pt idx="0">
                  <c:v>2.9413873016704839E-2</c:v>
                </c:pt>
                <c:pt idx="1">
                  <c:v>2.9896344890080709E-2</c:v>
                </c:pt>
                <c:pt idx="2">
                  <c:v>3.0155656486461964E-2</c:v>
                </c:pt>
                <c:pt idx="3">
                  <c:v>2.7109900331363727E-2</c:v>
                </c:pt>
                <c:pt idx="4">
                  <c:v>2.4371775225560388E-2</c:v>
                </c:pt>
                <c:pt idx="5">
                  <c:v>2.4094268404047922E-2</c:v>
                </c:pt>
                <c:pt idx="6">
                  <c:v>2.4322183284519114E-2</c:v>
                </c:pt>
                <c:pt idx="7">
                  <c:v>2.5263903460272262E-2</c:v>
                </c:pt>
                <c:pt idx="8">
                  <c:v>2.7533717749061021E-2</c:v>
                </c:pt>
                <c:pt idx="9">
                  <c:v>2.9136059572005948E-2</c:v>
                </c:pt>
                <c:pt idx="10">
                  <c:v>2.8439725189245424E-2</c:v>
                </c:pt>
                <c:pt idx="11">
                  <c:v>2.8481575446516888E-2</c:v>
                </c:pt>
                <c:pt idx="12">
                  <c:v>3.0108594349578348E-2</c:v>
                </c:pt>
                <c:pt idx="13">
                  <c:v>3.169054387055209E-2</c:v>
                </c:pt>
                <c:pt idx="14">
                  <c:v>3.1465934595702259E-2</c:v>
                </c:pt>
                <c:pt idx="15">
                  <c:v>3.1477667841337743E-2</c:v>
                </c:pt>
                <c:pt idx="16">
                  <c:v>3.1573121681829512E-2</c:v>
                </c:pt>
                <c:pt idx="17">
                  <c:v>3.1532924296196564E-2</c:v>
                </c:pt>
                <c:pt idx="18">
                  <c:v>3.0515660900336583E-2</c:v>
                </c:pt>
                <c:pt idx="19">
                  <c:v>3.0211789143868836E-2</c:v>
                </c:pt>
                <c:pt idx="20">
                  <c:v>2.8955614795748236E-2</c:v>
                </c:pt>
                <c:pt idx="21">
                  <c:v>3.2772131418724967E-2</c:v>
                </c:pt>
                <c:pt idx="22">
                  <c:v>3.3542665870490845E-2</c:v>
                </c:pt>
                <c:pt idx="23">
                  <c:v>3.3435184307609174E-2</c:v>
                </c:pt>
                <c:pt idx="24">
                  <c:v>3.268271460365052E-2</c:v>
                </c:pt>
                <c:pt idx="25">
                  <c:v>3.3870059534782497E-2</c:v>
                </c:pt>
                <c:pt idx="26">
                  <c:v>3.3073079926514877E-2</c:v>
                </c:pt>
                <c:pt idx="27">
                  <c:v>3.1808643842456727E-2</c:v>
                </c:pt>
                <c:pt idx="28">
                  <c:v>3.0502176751221188E-2</c:v>
                </c:pt>
                <c:pt idx="29">
                  <c:v>2.7906678470255915E-2</c:v>
                </c:pt>
                <c:pt idx="30">
                  <c:v>2.5033266393526828E-2</c:v>
                </c:pt>
                <c:pt idx="31">
                  <c:v>2.630903103630991E-2</c:v>
                </c:pt>
                <c:pt idx="32">
                  <c:v>2.8693045313762239E-2</c:v>
                </c:pt>
                <c:pt idx="33">
                  <c:v>3.2596808075387743E-2</c:v>
                </c:pt>
                <c:pt idx="34">
                  <c:v>3.3462836223474769E-2</c:v>
                </c:pt>
                <c:pt idx="35">
                  <c:v>3.1780988069129081E-2</c:v>
                </c:pt>
                <c:pt idx="36">
                  <c:v>3.2997078119396075E-2</c:v>
                </c:pt>
                <c:pt idx="37">
                  <c:v>3.4241810296995578E-2</c:v>
                </c:pt>
                <c:pt idx="38">
                  <c:v>3.5259393566231922E-2</c:v>
                </c:pt>
                <c:pt idx="39">
                  <c:v>3.2524924643797831E-2</c:v>
                </c:pt>
                <c:pt idx="40">
                  <c:v>2.8308242375685959E-2</c:v>
                </c:pt>
                <c:pt idx="41">
                  <c:v>2.54404048951909E-2</c:v>
                </c:pt>
                <c:pt idx="42">
                  <c:v>2.3287513921568817E-2</c:v>
                </c:pt>
                <c:pt idx="43">
                  <c:v>2.3365554652546534E-2</c:v>
                </c:pt>
                <c:pt idx="44">
                  <c:v>2.3054756675168077E-2</c:v>
                </c:pt>
                <c:pt idx="45">
                  <c:v>2.3566114628330095E-2</c:v>
                </c:pt>
                <c:pt idx="46">
                  <c:v>2.5888630394799238E-2</c:v>
                </c:pt>
                <c:pt idx="47">
                  <c:v>2.6265547596405793E-2</c:v>
                </c:pt>
                <c:pt idx="48">
                  <c:v>2.7412822111043234E-2</c:v>
                </c:pt>
                <c:pt idx="49">
                  <c:v>2.5962622488181153E-2</c:v>
                </c:pt>
                <c:pt idx="50">
                  <c:v>2.4525712064247307E-2</c:v>
                </c:pt>
                <c:pt idx="51">
                  <c:v>2.4473274634488791E-2</c:v>
                </c:pt>
                <c:pt idx="52">
                  <c:v>3.1101577984060602E-2</c:v>
                </c:pt>
                <c:pt idx="53">
                  <c:v>3.3390590546211449E-2</c:v>
                </c:pt>
                <c:pt idx="54">
                  <c:v>2.4773509299877497E-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40737801608579088"/>
          <c:min val="0.18705920295984374"/>
        </c:scaling>
        <c:delete val="0"/>
        <c:axPos val="b"/>
        <c:title>
          <c:tx>
            <c:rich>
              <a:bodyPr rot="0" spcFirstLastPara="1" vertOverflow="ellipsis" vert="horz" wrap="square" anchor="ctr" anchorCtr="1"/>
              <a:lstStyle/>
              <a:p>
                <a:pPr>
                  <a:defRPr sz="800" b="0">
                    <a:latin typeface="Nexa Bold"/>
                  </a:defRPr>
                </a:pPr>
                <a:r>
                  <a:rPr lang="en-US"/>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1291069944164441</c:v>
                </c:pt>
                <c:pt idx="1">
                  <c:v>0.13485892486555889</c:v>
                </c:pt>
                <c:pt idx="2">
                  <c:v>0.13361697278764331</c:v>
                </c:pt>
                <c:pt idx="3">
                  <c:v>0.13181455947245191</c:v>
                </c:pt>
                <c:pt idx="4">
                  <c:v>0.13079849733141291</c:v>
                </c:pt>
                <c:pt idx="5">
                  <c:v>0.12786527339341361</c:v>
                </c:pt>
                <c:pt idx="6">
                  <c:v>0.13389772495720559</c:v>
                </c:pt>
                <c:pt idx="7">
                  <c:v>0.1359519354250221</c:v>
                </c:pt>
                <c:pt idx="8">
                  <c:v>0.13408395448492219</c:v>
                </c:pt>
                <c:pt idx="9">
                  <c:v>0.1272173036352085</c:v>
                </c:pt>
                <c:pt idx="10">
                  <c:v>0.12580154817273331</c:v>
                </c:pt>
                <c:pt idx="11">
                  <c:v>0.1247833670603628</c:v>
                </c:pt>
                <c:pt idx="12">
                  <c:v>0.12616612542700109</c:v>
                </c:pt>
                <c:pt idx="13">
                  <c:v>0.13426073846412021</c:v>
                </c:pt>
                <c:pt idx="14">
                  <c:v>0.13040345544745011</c:v>
                </c:pt>
                <c:pt idx="15">
                  <c:v>0.12568196098787579</c:v>
                </c:pt>
                <c:pt idx="16">
                  <c:v>0.1284543866213313</c:v>
                </c:pt>
                <c:pt idx="17">
                  <c:v>0.13252000199740169</c:v>
                </c:pt>
                <c:pt idx="18">
                  <c:v>0.12612196270786419</c:v>
                </c:pt>
                <c:pt idx="19">
                  <c:v>0.13496886950214251</c:v>
                </c:pt>
                <c:pt idx="20">
                  <c:v>0.13064933940560819</c:v>
                </c:pt>
                <c:pt idx="21">
                  <c:v>0.12635635491031241</c:v>
                </c:pt>
                <c:pt idx="22">
                  <c:v>0.12863609693980929</c:v>
                </c:pt>
                <c:pt idx="23">
                  <c:v>0.13116494310893009</c:v>
                </c:pt>
                <c:pt idx="24">
                  <c:v>0.1278058186678292</c:v>
                </c:pt>
                <c:pt idx="25">
                  <c:v>0.1235932293079324</c:v>
                </c:pt>
                <c:pt idx="26">
                  <c:v>0.12290934252239009</c:v>
                </c:pt>
                <c:pt idx="27">
                  <c:v>0.12109503765009599</c:v>
                </c:pt>
                <c:pt idx="28">
                  <c:v>0.12207135397276341</c:v>
                </c:pt>
                <c:pt idx="29">
                  <c:v>0.1263122981136704</c:v>
                </c:pt>
                <c:pt idx="30">
                  <c:v>0.1263263635992006</c:v>
                </c:pt>
                <c:pt idx="31">
                  <c:v>0.12476889875077329</c:v>
                </c:pt>
                <c:pt idx="32">
                  <c:v>0.12674353123399981</c:v>
                </c:pt>
                <c:pt idx="33">
                  <c:v>0.12588695742723971</c:v>
                </c:pt>
                <c:pt idx="34">
                  <c:v>0.12390000002667199</c:v>
                </c:pt>
                <c:pt idx="35">
                  <c:v>0.12440850519118039</c:v>
                </c:pt>
                <c:pt idx="36">
                  <c:v>0.12336288941275771</c:v>
                </c:pt>
                <c:pt idx="37">
                  <c:v>0.1236579395008299</c:v>
                </c:pt>
                <c:pt idx="38">
                  <c:v>0.1244360084590832</c:v>
                </c:pt>
                <c:pt idx="39">
                  <c:v>0.12224083915887329</c:v>
                </c:pt>
                <c:pt idx="40">
                  <c:v>0.1219327444047168</c:v>
                </c:pt>
                <c:pt idx="41">
                  <c:v>0.1250560323566518</c:v>
                </c:pt>
                <c:pt idx="42">
                  <c:v>0.12745512740440279</c:v>
                </c:pt>
                <c:pt idx="43">
                  <c:v>0.1211984894858895</c:v>
                </c:pt>
                <c:pt idx="44">
                  <c:v>0.1258670226690102</c:v>
                </c:pt>
                <c:pt idx="45">
                  <c:v>0.1272339848348821</c:v>
                </c:pt>
                <c:pt idx="46">
                  <c:v>0.13490346412193621</c:v>
                </c:pt>
                <c:pt idx="47">
                  <c:v>0.1232399985423943</c:v>
                </c:pt>
                <c:pt idx="48">
                  <c:v>0.12311641114157899</c:v>
                </c:pt>
                <c:pt idx="49">
                  <c:v>0.1234350759255986</c:v>
                </c:pt>
                <c:pt idx="50">
                  <c:v>0.12419744604278141</c:v>
                </c:pt>
                <c:pt idx="51">
                  <c:v>0.13145508336915421</c:v>
                </c:pt>
                <c:pt idx="52">
                  <c:v>0.13109930113357529</c:v>
                </c:pt>
                <c:pt idx="53">
                  <c:v>0.13568928560863899</c:v>
                </c:pt>
                <c:pt idx="54">
                  <c:v>0.1285210371531505</c:v>
                </c:pt>
                <c:pt idx="55">
                  <c:v>0.1300753516373136</c:v>
                </c:pt>
                <c:pt idx="56">
                  <c:v>0.12489749950473671</c:v>
                </c:pt>
                <c:pt idx="57">
                  <c:v>0.10266521645136149</c:v>
                </c:pt>
                <c:pt idx="58">
                  <c:v>9.4621929093130358E-2</c:v>
                </c:pt>
                <c:pt idx="59">
                  <c:v>9.8212612965823731E-2</c:v>
                </c:pt>
                <c:pt idx="60">
                  <c:v>0.1102654339127445</c:v>
                </c:pt>
                <c:pt idx="61">
                  <c:v>0.1086326326560431</c:v>
                </c:pt>
                <c:pt idx="62">
                  <c:v>0.10273100071317991</c:v>
                </c:pt>
                <c:pt idx="63">
                  <c:v>0.1056131313298932</c:v>
                </c:pt>
                <c:pt idx="64">
                  <c:v>0.116037952360732</c:v>
                </c:pt>
                <c:pt idx="65">
                  <c:v>0.13065683342069531</c:v>
                </c:pt>
                <c:pt idx="66">
                  <c:v>0.132712182958446</c:v>
                </c:pt>
                <c:pt idx="67">
                  <c:v>0.12498087731066</c:v>
                </c:pt>
                <c:pt idx="68">
                  <c:v>0.1318623648264734</c:v>
                </c:pt>
                <c:pt idx="69">
                  <c:v>0.13405085209231629</c:v>
                </c:pt>
                <c:pt idx="70">
                  <c:v>0.12663942767242409</c:v>
                </c:pt>
                <c:pt idx="71">
                  <c:v>0.13715997078444109</c:v>
                </c:pt>
                <c:pt idx="72">
                  <c:v>0.1312699287114284</c:v>
                </c:pt>
                <c:pt idx="73">
                  <c:v>0.1290474255800157</c:v>
                </c:pt>
                <c:pt idx="74">
                  <c:v>0.12976627424972709</c:v>
                </c:pt>
                <c:pt idx="75">
                  <c:v>0.12686829869724861</c:v>
                </c:pt>
                <c:pt idx="76">
                  <c:v>0.1253623579280761</c:v>
                </c:pt>
                <c:pt idx="77">
                  <c:v>0.12968156222074531</c:v>
                </c:pt>
                <c:pt idx="78">
                  <c:v>0.12750329032649099</c:v>
                </c:pt>
                <c:pt idx="79">
                  <c:v>0.12461050546445129</c:v>
                </c:pt>
                <c:pt idx="80">
                  <c:v>0.12900335189603049</c:v>
                </c:pt>
                <c:pt idx="81">
                  <c:v>0.12741746962889991</c:v>
                </c:pt>
                <c:pt idx="82">
                  <c:v>0.1227246355993528</c:v>
                </c:pt>
                <c:pt idx="83">
                  <c:v>0.12325497363003669</c:v>
                </c:pt>
                <c:pt idx="84">
                  <c:v>0.1237777050026681</c:v>
                </c:pt>
                <c:pt idx="85">
                  <c:v>0.1227618684932686</c:v>
                </c:pt>
                <c:pt idx="86">
                  <c:v>0.12625273778634091</c:v>
                </c:pt>
                <c:pt idx="87">
                  <c:v>0.12848401925218161</c:v>
                </c:pt>
                <c:pt idx="88">
                  <c:v>0.12808991008793849</c:v>
                </c:pt>
                <c:pt idx="89">
                  <c:v>0.12669599383578639</c:v>
                </c:pt>
                <c:pt idx="90">
                  <c:v>0.128457244567205</c:v>
                </c:pt>
                <c:pt idx="91">
                  <c:v>0.1287495738807907</c:v>
                </c:pt>
                <c:pt idx="92">
                  <c:v>0.12753778198649329</c:v>
                </c:pt>
                <c:pt idx="93">
                  <c:v>0.12858384689357691</c:v>
                </c:pt>
                <c:pt idx="94">
                  <c:v>0.13053873342212541</c:v>
                </c:pt>
                <c:pt idx="95">
                  <c:v>0.1283681251237693</c:v>
                </c:pt>
                <c:pt idx="96">
                  <c:v>0.12712219330013799</c:v>
                </c:pt>
                <c:pt idx="97">
                  <c:v>0.12537888942730019</c:v>
                </c:pt>
                <c:pt idx="98">
                  <c:v>0.12745921704595151</c:v>
                </c:pt>
                <c:pt idx="99">
                  <c:v>0.1212266665697815</c:v>
                </c:pt>
                <c:pt idx="100">
                  <c:v>0.1141728668578047</c:v>
                </c:pt>
                <c:pt idx="101">
                  <c:v>0.115957494325048</c:v>
                </c:pt>
              </c:numCache>
            </c:numRef>
          </c:xVal>
          <c:yVal>
            <c:numRef>
              <c:f>Sheet1!$B$2:$B$103</c:f>
              <c:numCache>
                <c:formatCode>General</c:formatCode>
                <c:ptCount val="102"/>
                <c:pt idx="0">
                  <c:v>3.1549194168607013E-2</c:v>
                </c:pt>
                <c:pt idx="1">
                  <c:v>2.5925076493376501E-2</c:v>
                </c:pt>
                <c:pt idx="2">
                  <c:v>1.9457371147598559E-2</c:v>
                </c:pt>
                <c:pt idx="3">
                  <c:v>2.1005226955186751E-2</c:v>
                </c:pt>
                <c:pt idx="4">
                  <c:v>2.3683174888924512E-2</c:v>
                </c:pt>
                <c:pt idx="5">
                  <c:v>2.481491169212223E-2</c:v>
                </c:pt>
                <c:pt idx="6">
                  <c:v>2.2966901329024649E-2</c:v>
                </c:pt>
                <c:pt idx="7">
                  <c:v>2.1693356757167159E-2</c:v>
                </c:pt>
                <c:pt idx="8">
                  <c:v>2.508474647577718E-2</c:v>
                </c:pt>
                <c:pt idx="9">
                  <c:v>3.2219360006132687E-2</c:v>
                </c:pt>
                <c:pt idx="10">
                  <c:v>3.3455366889535383E-2</c:v>
                </c:pt>
                <c:pt idx="11">
                  <c:v>3.077420503855852E-2</c:v>
                </c:pt>
                <c:pt idx="12">
                  <c:v>3.166311843777065E-2</c:v>
                </c:pt>
                <c:pt idx="13">
                  <c:v>2.9573633835338661E-2</c:v>
                </c:pt>
                <c:pt idx="14">
                  <c:v>2.943829474961886E-2</c:v>
                </c:pt>
                <c:pt idx="15">
                  <c:v>3.2326555355538883E-2</c:v>
                </c:pt>
                <c:pt idx="16">
                  <c:v>3.045418321235838E-2</c:v>
                </c:pt>
                <c:pt idx="17">
                  <c:v>3.0177244147381321E-2</c:v>
                </c:pt>
                <c:pt idx="18">
                  <c:v>3.0949579617420529E-2</c:v>
                </c:pt>
                <c:pt idx="19">
                  <c:v>3.3044676701229417E-2</c:v>
                </c:pt>
                <c:pt idx="20">
                  <c:v>3.4502368865567047E-2</c:v>
                </c:pt>
                <c:pt idx="21">
                  <c:v>3.8171203781773647E-2</c:v>
                </c:pt>
                <c:pt idx="22">
                  <c:v>3.2633840746857157E-2</c:v>
                </c:pt>
                <c:pt idx="23">
                  <c:v>3.22851825867847E-2</c:v>
                </c:pt>
                <c:pt idx="24">
                  <c:v>3.4293774474369272E-2</c:v>
                </c:pt>
                <c:pt idx="25">
                  <c:v>3.3493331489235549E-2</c:v>
                </c:pt>
                <c:pt idx="26">
                  <c:v>3.2256296982208908E-2</c:v>
                </c:pt>
                <c:pt idx="27">
                  <c:v>3.256327154323236E-2</c:v>
                </c:pt>
                <c:pt idx="28">
                  <c:v>3.0215972855570969E-2</c:v>
                </c:pt>
                <c:pt idx="29">
                  <c:v>2.971323515475446E-2</c:v>
                </c:pt>
                <c:pt idx="30">
                  <c:v>2.9886044202056931E-2</c:v>
                </c:pt>
                <c:pt idx="31">
                  <c:v>3.0113049153545669E-2</c:v>
                </c:pt>
                <c:pt idx="32">
                  <c:v>3.0121682992946059E-2</c:v>
                </c:pt>
                <c:pt idx="33">
                  <c:v>2.8704102443482309E-2</c:v>
                </c:pt>
                <c:pt idx="34">
                  <c:v>3.0602403901330309E-2</c:v>
                </c:pt>
                <c:pt idx="35">
                  <c:v>3.1456536502498793E-2</c:v>
                </c:pt>
                <c:pt idx="36">
                  <c:v>3.1516667937295108E-2</c:v>
                </c:pt>
                <c:pt idx="37">
                  <c:v>3.3226585884057157E-2</c:v>
                </c:pt>
                <c:pt idx="38">
                  <c:v>3.3016326225624587E-2</c:v>
                </c:pt>
                <c:pt idx="39">
                  <c:v>3.0075909553288729E-2</c:v>
                </c:pt>
                <c:pt idx="40">
                  <c:v>3.030822714314705E-2</c:v>
                </c:pt>
                <c:pt idx="41">
                  <c:v>3.1273537834975489E-2</c:v>
                </c:pt>
                <c:pt idx="42">
                  <c:v>3.005901690014778E-2</c:v>
                </c:pt>
                <c:pt idx="43">
                  <c:v>3.0573863083611631E-2</c:v>
                </c:pt>
                <c:pt idx="44">
                  <c:v>3.254448153409624E-2</c:v>
                </c:pt>
                <c:pt idx="45">
                  <c:v>3.2420025270644671E-2</c:v>
                </c:pt>
                <c:pt idx="46">
                  <c:v>3.0841270586476861E-2</c:v>
                </c:pt>
                <c:pt idx="47">
                  <c:v>3.4545476528939613E-2</c:v>
                </c:pt>
                <c:pt idx="48">
                  <c:v>3.9378011399146942E-2</c:v>
                </c:pt>
                <c:pt idx="49">
                  <c:v>3.4585845792310457E-2</c:v>
                </c:pt>
                <c:pt idx="50">
                  <c:v>3.6889295123608737E-2</c:v>
                </c:pt>
                <c:pt idx="51">
                  <c:v>3.516974061970235E-2</c:v>
                </c:pt>
                <c:pt idx="52">
                  <c:v>3.3440411726256947E-2</c:v>
                </c:pt>
                <c:pt idx="53">
                  <c:v>3.0775515895011849E-2</c:v>
                </c:pt>
                <c:pt idx="54">
                  <c:v>2.856172806220978E-2</c:v>
                </c:pt>
                <c:pt idx="55">
                  <c:v>2.9260191711765832E-2</c:v>
                </c:pt>
                <c:pt idx="56">
                  <c:v>3.1178692703543051E-2</c:v>
                </c:pt>
                <c:pt idx="57">
                  <c:v>3.7031471681131703E-2</c:v>
                </c:pt>
                <c:pt idx="58">
                  <c:v>3.9909501581123753E-2</c:v>
                </c:pt>
                <c:pt idx="59">
                  <c:v>3.3090443177845791E-2</c:v>
                </c:pt>
                <c:pt idx="60">
                  <c:v>2.0429936026239701E-2</c:v>
                </c:pt>
                <c:pt idx="61">
                  <c:v>1.594233918003489E-2</c:v>
                </c:pt>
                <c:pt idx="62">
                  <c:v>2.6561543645322629E-2</c:v>
                </c:pt>
                <c:pt idx="63">
                  <c:v>3.5068893654044378E-2</c:v>
                </c:pt>
                <c:pt idx="64">
                  <c:v>3.0967228847484721E-2</c:v>
                </c:pt>
                <c:pt idx="65">
                  <c:v>2.602705616299417E-2</c:v>
                </c:pt>
                <c:pt idx="66">
                  <c:v>2.587150374122359E-2</c:v>
                </c:pt>
                <c:pt idx="67">
                  <c:v>2.691260699372984E-2</c:v>
                </c:pt>
                <c:pt idx="68">
                  <c:v>2.5874418970458959E-2</c:v>
                </c:pt>
                <c:pt idx="69">
                  <c:v>2.3193315376484971E-2</c:v>
                </c:pt>
                <c:pt idx="70">
                  <c:v>2.2686657383630061E-2</c:v>
                </c:pt>
                <c:pt idx="71">
                  <c:v>2.6189284143623481E-2</c:v>
                </c:pt>
                <c:pt idx="72">
                  <c:v>2.7336338114147821E-2</c:v>
                </c:pt>
                <c:pt idx="73">
                  <c:v>2.7740990571672709E-2</c:v>
                </c:pt>
                <c:pt idx="74">
                  <c:v>2.877527311984417E-2</c:v>
                </c:pt>
                <c:pt idx="75">
                  <c:v>2.8510329318482429E-2</c:v>
                </c:pt>
                <c:pt idx="76">
                  <c:v>2.7909474603405621E-2</c:v>
                </c:pt>
                <c:pt idx="77">
                  <c:v>2.354699792786898E-2</c:v>
                </c:pt>
                <c:pt idx="78">
                  <c:v>2.3516397046911521E-2</c:v>
                </c:pt>
                <c:pt idx="79">
                  <c:v>2.2115174941799771E-2</c:v>
                </c:pt>
                <c:pt idx="80">
                  <c:v>2.2268202762568419E-2</c:v>
                </c:pt>
                <c:pt idx="81">
                  <c:v>2.1244426266941788E-2</c:v>
                </c:pt>
                <c:pt idx="82">
                  <c:v>3.1177386289303839E-2</c:v>
                </c:pt>
                <c:pt idx="83">
                  <c:v>2.630647686699077E-2</c:v>
                </c:pt>
                <c:pt idx="84">
                  <c:v>2.5524833007679371E-2</c:v>
                </c:pt>
                <c:pt idx="85">
                  <c:v>2.6871534411513371E-2</c:v>
                </c:pt>
                <c:pt idx="86">
                  <c:v>2.6338851413823881E-2</c:v>
                </c:pt>
                <c:pt idx="87">
                  <c:v>2.464870108961555E-2</c:v>
                </c:pt>
                <c:pt idx="88">
                  <c:v>2.6238033764437702E-2</c:v>
                </c:pt>
                <c:pt idx="89">
                  <c:v>3.0191859532939729E-2</c:v>
                </c:pt>
                <c:pt idx="90">
                  <c:v>3.071685169632082E-2</c:v>
                </c:pt>
                <c:pt idx="91">
                  <c:v>3.1790352756617277E-2</c:v>
                </c:pt>
                <c:pt idx="92">
                  <c:v>2.9789485452214989E-2</c:v>
                </c:pt>
                <c:pt idx="93">
                  <c:v>2.7419432969366012E-2</c:v>
                </c:pt>
                <c:pt idx="94">
                  <c:v>2.5375304588112151E-2</c:v>
                </c:pt>
                <c:pt idx="95">
                  <c:v>2.727143524464504E-2</c:v>
                </c:pt>
                <c:pt idx="96">
                  <c:v>2.430072520573312E-2</c:v>
                </c:pt>
                <c:pt idx="97">
                  <c:v>2.5953063658202231E-2</c:v>
                </c:pt>
                <c:pt idx="98">
                  <c:v>2.870484051773789E-2</c:v>
                </c:pt>
                <c:pt idx="99">
                  <c:v>3.0161179689259059E-2</c:v>
                </c:pt>
                <c:pt idx="100">
                  <c:v>3.7558407981539428E-2</c:v>
                </c:pt>
                <c:pt idx="101">
                  <c:v>3.5796970668813113E-2</c:v>
                </c:pt>
              </c:numCache>
            </c:numRef>
          </c:yVal>
          <c:smooth val="0"/>
          <c:extLst>
            <c:ext xmlns:c16="http://schemas.microsoft.com/office/drawing/2014/chart" uri="{C3380CC4-5D6E-409C-BE32-E72D297353CC}">
              <c16:uniqueId val="{00000000-096C-4121-9522-6AB7243CCAAE}"/>
            </c:ext>
          </c:extLst>
        </c:ser>
        <c:ser>
          <c:idx val="1"/>
          <c:order val="1"/>
          <c:tx>
            <c:strRef>
              <c:f>Sheet1!$B$10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6:$A$157</c:f>
              <c:numCache>
                <c:formatCode>General</c:formatCode>
                <c:ptCount val="52"/>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numCache>
            </c:numRef>
          </c:xVal>
          <c:yVal>
            <c:numRef>
              <c:f>Sheet1!$B$106:$B$157</c:f>
              <c:numCache>
                <c:formatCode>General</c:formatCode>
                <c:ptCount val="52"/>
                <c:pt idx="0">
                  <c:v>3.3379430772150658E-2</c:v>
                </c:pt>
                <c:pt idx="1">
                  <c:v>3.5297770608354727E-2</c:v>
                </c:pt>
                <c:pt idx="2">
                  <c:v>3.603152077608085E-2</c:v>
                </c:pt>
                <c:pt idx="3">
                  <c:v>3.0978674639028671E-2</c:v>
                </c:pt>
                <c:pt idx="4">
                  <c:v>2.8133515753956471E-2</c:v>
                </c:pt>
                <c:pt idx="5">
                  <c:v>2.7512069607189622E-2</c:v>
                </c:pt>
                <c:pt idx="6">
                  <c:v>2.753590860107619E-2</c:v>
                </c:pt>
                <c:pt idx="7">
                  <c:v>2.7306049137985969E-2</c:v>
                </c:pt>
                <c:pt idx="8">
                  <c:v>2.683860754587173E-2</c:v>
                </c:pt>
                <c:pt idx="9">
                  <c:v>2.8577136215520639E-2</c:v>
                </c:pt>
                <c:pt idx="10">
                  <c:v>2.9045708307140341E-2</c:v>
                </c:pt>
                <c:pt idx="11">
                  <c:v>3.0151694267354031E-2</c:v>
                </c:pt>
                <c:pt idx="12">
                  <c:v>3.1278274774940933E-2</c:v>
                </c:pt>
                <c:pt idx="13">
                  <c:v>3.2623144271831599E-2</c:v>
                </c:pt>
                <c:pt idx="14">
                  <c:v>3.2081452766552027E-2</c:v>
                </c:pt>
                <c:pt idx="15">
                  <c:v>2.8476513020004542E-2</c:v>
                </c:pt>
                <c:pt idx="16">
                  <c:v>2.889792926206242E-2</c:v>
                </c:pt>
                <c:pt idx="17">
                  <c:v>2.8572345272906731E-2</c:v>
                </c:pt>
                <c:pt idx="18">
                  <c:v>2.758215728763419E-2</c:v>
                </c:pt>
                <c:pt idx="19">
                  <c:v>2.6684207925807661E-2</c:v>
                </c:pt>
                <c:pt idx="20">
                  <c:v>2.507409816863837E-2</c:v>
                </c:pt>
                <c:pt idx="21">
                  <c:v>3.7053775555914388E-2</c:v>
                </c:pt>
                <c:pt idx="22">
                  <c:v>4.1201839145334811E-2</c:v>
                </c:pt>
                <c:pt idx="23">
                  <c:v>3.952108516249337E-2</c:v>
                </c:pt>
                <c:pt idx="24">
                  <c:v>3.301132678213544E-2</c:v>
                </c:pt>
                <c:pt idx="25">
                  <c:v>3.4672282379825628E-2</c:v>
                </c:pt>
                <c:pt idx="26">
                  <c:v>3.6478521099227869E-2</c:v>
                </c:pt>
                <c:pt idx="27">
                  <c:v>3.1719960612283417E-2</c:v>
                </c:pt>
                <c:pt idx="28">
                  <c:v>2.9844699099281859E-2</c:v>
                </c:pt>
                <c:pt idx="29">
                  <c:v>2.824703792935155E-2</c:v>
                </c:pt>
                <c:pt idx="30">
                  <c:v>2.3926861689124789E-2</c:v>
                </c:pt>
                <c:pt idx="31">
                  <c:v>2.077067140814904E-2</c:v>
                </c:pt>
                <c:pt idx="32">
                  <c:v>2.3460558709885782E-2</c:v>
                </c:pt>
                <c:pt idx="33">
                  <c:v>3.042796286207031E-2</c:v>
                </c:pt>
                <c:pt idx="34">
                  <c:v>3.1037706913624011E-2</c:v>
                </c:pt>
                <c:pt idx="35">
                  <c:v>2.928997264422914E-2</c:v>
                </c:pt>
                <c:pt idx="36">
                  <c:v>2.9697936908540851E-2</c:v>
                </c:pt>
                <c:pt idx="37">
                  <c:v>3.0248130900335801E-2</c:v>
                </c:pt>
                <c:pt idx="38">
                  <c:v>3.5070387750061743E-2</c:v>
                </c:pt>
                <c:pt idx="39">
                  <c:v>3.120833777020552E-2</c:v>
                </c:pt>
                <c:pt idx="40">
                  <c:v>2.682679016675503E-2</c:v>
                </c:pt>
                <c:pt idx="41">
                  <c:v>2.4203784771293649E-2</c:v>
                </c:pt>
                <c:pt idx="42">
                  <c:v>2.4098053977022381E-2</c:v>
                </c:pt>
                <c:pt idx="43">
                  <c:v>2.4523754132153151E-2</c:v>
                </c:pt>
                <c:pt idx="44">
                  <c:v>2.2379504666963371E-2</c:v>
                </c:pt>
                <c:pt idx="45">
                  <c:v>2.104065524243157E-2</c:v>
                </c:pt>
                <c:pt idx="46">
                  <c:v>2.202824012890214E-2</c:v>
                </c:pt>
                <c:pt idx="47">
                  <c:v>2.3321641522021069E-2</c:v>
                </c:pt>
                <c:pt idx="48">
                  <c:v>2.5721900660138009E-2</c:v>
                </c:pt>
                <c:pt idx="49">
                  <c:v>2.4967370312040962E-2</c:v>
                </c:pt>
                <c:pt idx="50">
                  <c:v>2.603335979145837E-2</c:v>
                </c:pt>
                <c:pt idx="51">
                  <c:v>2.5702227757022279E-2</c:v>
                </c:pt>
              </c:numCache>
            </c:numRef>
          </c:yVal>
          <c:smooth val="0"/>
          <c:extLst>
            <c:ext xmlns:c16="http://schemas.microsoft.com/office/drawing/2014/chart" uri="{C3380CC4-5D6E-409C-BE32-E72D297353CC}">
              <c16:uniqueId val="{00000002-096C-4121-9522-6AB7243CCAAE}"/>
            </c:ext>
          </c:extLst>
        </c:ser>
        <c:ser>
          <c:idx val="2"/>
          <c:order val="2"/>
          <c:tx>
            <c:strRef>
              <c:f>Sheet1!$B$15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0:$A$161</c:f>
              <c:numCache>
                <c:formatCode>General</c:formatCode>
                <c:ptCount val="2"/>
                <c:pt idx="0">
                  <c:v>0</c:v>
                </c:pt>
                <c:pt idx="1">
                  <c:v>0.1108820277239114</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5-096C-4121-9522-6AB7243CCAAE}"/>
            </c:ext>
          </c:extLst>
        </c:ser>
        <c:ser>
          <c:idx val="3"/>
          <c:order val="3"/>
          <c:tx>
            <c:strRef>
              <c:f>Sheet1!$B$16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0.1108820277239114</c:v>
                </c:pt>
                <c:pt idx="1">
                  <c:v>0.1108820277239114</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8:$A$169</c:f>
              <c:numCache>
                <c:formatCode>General</c:formatCode>
                <c:ptCount val="2"/>
                <c:pt idx="0">
                  <c:v>0</c:v>
                </c:pt>
                <c:pt idx="1">
                  <c:v>0.11732114474802791</c:v>
                </c:pt>
              </c:numCache>
            </c:numRef>
          </c:xVal>
          <c:yVal>
            <c:numRef>
              <c:f>Sheet1!$B$168:$B$169</c:f>
              <c:numCache>
                <c:formatCode>General</c:formatCode>
                <c:ptCount val="2"/>
                <c:pt idx="0">
                  <c:v>3.1101577984060609E-2</c:v>
                </c:pt>
                <c:pt idx="1">
                  <c:v>3.1101577984060609E-2</c:v>
                </c:pt>
              </c:numCache>
            </c:numRef>
          </c:yVal>
          <c:smooth val="0"/>
          <c:extLst>
            <c:ext xmlns:c16="http://schemas.microsoft.com/office/drawing/2014/chart" uri="{C3380CC4-5D6E-409C-BE32-E72D297353CC}">
              <c16:uniqueId val="{0000000D-096C-4121-9522-6AB7243CCAAE}"/>
            </c:ext>
          </c:extLst>
        </c:ser>
        <c:ser>
          <c:idx val="5"/>
          <c:order val="5"/>
          <c:tx>
            <c:strRef>
              <c:f>Sheet1!$B$17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0.11732114474802791</c:v>
                </c:pt>
                <c:pt idx="1">
                  <c:v>0.11732114474802791</c:v>
                </c:pt>
              </c:numCache>
            </c:numRef>
          </c:xVal>
          <c:yVal>
            <c:numRef>
              <c:f>Sheet1!$B$172:$B$173</c:f>
              <c:numCache>
                <c:formatCode>General</c:formatCode>
                <c:ptCount val="2"/>
                <c:pt idx="0">
                  <c:v>3.1101577984060609E-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6:$A$177</c:f>
              <c:numCache>
                <c:formatCode>General</c:formatCode>
                <c:ptCount val="2"/>
                <c:pt idx="0">
                  <c:v>0</c:v>
                </c:pt>
                <c:pt idx="1">
                  <c:v>0.13512234665834599</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5-096C-4121-9522-6AB7243CCAAE}"/>
            </c:ext>
          </c:extLst>
        </c:ser>
        <c:ser>
          <c:idx val="7"/>
          <c:order val="7"/>
          <c:tx>
            <c:strRef>
              <c:f>Sheet1!$B$17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0:$A$181</c:f>
              <c:numCache>
                <c:formatCode>General</c:formatCode>
                <c:ptCount val="2"/>
                <c:pt idx="0">
                  <c:v>0.13512234665834599</c:v>
                </c:pt>
                <c:pt idx="1">
                  <c:v>0.13512234665834599</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4:$A$238</c:f>
              <c:numCache>
                <c:formatCode>General</c:formatCode>
                <c:ptCount val="55"/>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pt idx="52">
                  <c:v>0.11732114474802791</c:v>
                </c:pt>
                <c:pt idx="53">
                  <c:v>0.1108820277239114</c:v>
                </c:pt>
                <c:pt idx="54">
                  <c:v>0.13512234665834599</c:v>
                </c:pt>
              </c:numCache>
            </c:numRef>
          </c:xVal>
          <c:yVal>
            <c:numRef>
              <c:f>Sheet1!$B$184:$B$238</c:f>
              <c:numCache>
                <c:formatCode>General</c:formatCode>
                <c:ptCount val="55"/>
                <c:pt idx="0">
                  <c:v>3.1620668745252142E-2</c:v>
                </c:pt>
                <c:pt idx="1">
                  <c:v>3.1654790245678951E-2</c:v>
                </c:pt>
                <c:pt idx="2">
                  <c:v>3.2783325344754151E-2</c:v>
                </c:pt>
                <c:pt idx="3">
                  <c:v>3.022688607526958E-2</c:v>
                </c:pt>
                <c:pt idx="4">
                  <c:v>2.8540776744242852E-2</c:v>
                </c:pt>
                <c:pt idx="5">
                  <c:v>2.8198639317480349E-2</c:v>
                </c:pt>
                <c:pt idx="6">
                  <c:v>2.8149354774764782E-2</c:v>
                </c:pt>
                <c:pt idx="7">
                  <c:v>2.8199004366077019E-2</c:v>
                </c:pt>
                <c:pt idx="8">
                  <c:v>3.0157282303857849E-2</c:v>
                </c:pt>
                <c:pt idx="9">
                  <c:v>2.9717490317624731E-2</c:v>
                </c:pt>
                <c:pt idx="10">
                  <c:v>2.880162617160174E-2</c:v>
                </c:pt>
                <c:pt idx="11">
                  <c:v>3.0799476543192809E-2</c:v>
                </c:pt>
                <c:pt idx="12">
                  <c:v>2.8080121278043681E-2</c:v>
                </c:pt>
                <c:pt idx="13">
                  <c:v>2.8247092051713919E-2</c:v>
                </c:pt>
                <c:pt idx="14">
                  <c:v>2.639540124703324E-2</c:v>
                </c:pt>
                <c:pt idx="15">
                  <c:v>1.9220157910636009E-2</c:v>
                </c:pt>
                <c:pt idx="16">
                  <c:v>2.9292926757015069E-2</c:v>
                </c:pt>
                <c:pt idx="17">
                  <c:v>2.9541107656935999E-2</c:v>
                </c:pt>
                <c:pt idx="18">
                  <c:v>3.1154431279754719E-2</c:v>
                </c:pt>
                <c:pt idx="19">
                  <c:v>2.9461129531890291E-2</c:v>
                </c:pt>
                <c:pt idx="20">
                  <c:v>3.0313783713891131E-2</c:v>
                </c:pt>
                <c:pt idx="21">
                  <c:v>3.3508822667282862E-2</c:v>
                </c:pt>
                <c:pt idx="22">
                  <c:v>3.4739165058279807E-2</c:v>
                </c:pt>
                <c:pt idx="23">
                  <c:v>3.3561500120319547E-2</c:v>
                </c:pt>
                <c:pt idx="24">
                  <c:v>3.0961282548418428E-2</c:v>
                </c:pt>
                <c:pt idx="25">
                  <c:v>3.325613118609181E-2</c:v>
                </c:pt>
                <c:pt idx="26">
                  <c:v>3.230935798656305E-2</c:v>
                </c:pt>
                <c:pt idx="27">
                  <c:v>3.0186042242885399E-2</c:v>
                </c:pt>
                <c:pt idx="28">
                  <c:v>2.9826699740302571E-2</c:v>
                </c:pt>
                <c:pt idx="29">
                  <c:v>2.8461825588360749E-2</c:v>
                </c:pt>
                <c:pt idx="30">
                  <c:v>2.6667445839888119E-2</c:v>
                </c:pt>
                <c:pt idx="31">
                  <c:v>2.9333797528733729E-2</c:v>
                </c:pt>
                <c:pt idx="32">
                  <c:v>2.8469462201818171E-2</c:v>
                </c:pt>
                <c:pt idx="33">
                  <c:v>3.1278574864500211E-2</c:v>
                </c:pt>
                <c:pt idx="34">
                  <c:v>3.362517184260494E-2</c:v>
                </c:pt>
                <c:pt idx="35">
                  <c:v>3.1259339751075838E-2</c:v>
                </c:pt>
                <c:pt idx="36">
                  <c:v>3.2466678789921898E-2</c:v>
                </c:pt>
                <c:pt idx="37">
                  <c:v>3.336561461501103E-2</c:v>
                </c:pt>
                <c:pt idx="38">
                  <c:v>3.1897061212580187E-2</c:v>
                </c:pt>
                <c:pt idx="39">
                  <c:v>3.0591232179052279E-2</c:v>
                </c:pt>
                <c:pt idx="40">
                  <c:v>2.6490890509876141E-2</c:v>
                </c:pt>
                <c:pt idx="41">
                  <c:v>2.5005655171483909E-2</c:v>
                </c:pt>
                <c:pt idx="42">
                  <c:v>2.471524594195228E-2</c:v>
                </c:pt>
                <c:pt idx="43">
                  <c:v>2.5740688254943609E-2</c:v>
                </c:pt>
                <c:pt idx="44">
                  <c:v>2.534241769031121E-2</c:v>
                </c:pt>
                <c:pt idx="45">
                  <c:v>2.5785004878787769E-2</c:v>
                </c:pt>
                <c:pt idx="46">
                  <c:v>2.6712805427711591E-2</c:v>
                </c:pt>
                <c:pt idx="47">
                  <c:v>2.6016063432124481E-2</c:v>
                </c:pt>
                <c:pt idx="48">
                  <c:v>2.645901837190287E-2</c:v>
                </c:pt>
                <c:pt idx="49">
                  <c:v>2.253097533810856E-2</c:v>
                </c:pt>
                <c:pt idx="50">
                  <c:v>2.3407974477709061E-2</c:v>
                </c:pt>
                <c:pt idx="51">
                  <c:v>2.5267129597052979E-2</c:v>
                </c:pt>
                <c:pt idx="52">
                  <c:v>3.1101577984060599E-2</c:v>
                </c:pt>
                <c:pt idx="53">
                  <c:v>3.3390590546211449E-2</c:v>
                </c:pt>
                <c:pt idx="54">
                  <c:v>2.47735092998775E-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18089307194123574"/>
          <c:min val="7.5697543274504286E-2"/>
        </c:scaling>
        <c:delete val="0"/>
        <c:axPos val="b"/>
        <c:title>
          <c:tx>
            <c:rich>
              <a:bodyPr rot="0" spcFirstLastPara="1" vertOverflow="ellipsis" vert="horz" wrap="square" anchor="ctr" anchorCtr="1"/>
              <a:lstStyle/>
              <a:p>
                <a:pPr>
                  <a:defRPr sz="800" b="0">
                    <a:solidFill>
                      <a:srgbClr val="575555"/>
                    </a:solidFill>
                    <a:latin typeface="Nexa Bold"/>
                  </a:defRPr>
                </a:pPr>
                <a:r>
                  <a:rPr lang="en-US"/>
                  <a:t>Price Ix vs. Gillette Fusion5</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3084051742229012</c:v>
                </c:pt>
                <c:pt idx="1">
                  <c:v>0.31591786351078627</c:v>
                </c:pt>
                <c:pt idx="2">
                  <c:v>0.32058023334902946</c:v>
                </c:pt>
                <c:pt idx="3">
                  <c:v>0.31551466024025998</c:v>
                </c:pt>
                <c:pt idx="4">
                  <c:v>0.31248983133575575</c:v>
                </c:pt>
                <c:pt idx="5">
                  <c:v>0.31209899175068745</c:v>
                </c:pt>
                <c:pt idx="6">
                  <c:v>0.31243915630070307</c:v>
                </c:pt>
                <c:pt idx="7">
                  <c:v>0.3133619793471481</c:v>
                </c:pt>
                <c:pt idx="8">
                  <c:v>0.31671907756813417</c:v>
                </c:pt>
                <c:pt idx="9">
                  <c:v>0.31082322826247477</c:v>
                </c:pt>
                <c:pt idx="10">
                  <c:v>0.31047212859141043</c:v>
                </c:pt>
                <c:pt idx="11">
                  <c:v>0.30851195946449417</c:v>
                </c:pt>
                <c:pt idx="12">
                  <c:v>0.30743476600274672</c:v>
                </c:pt>
                <c:pt idx="13">
                  <c:v>0.30557876018361524</c:v>
                </c:pt>
                <c:pt idx="14">
                  <c:v>0.30608180521683359</c:v>
                </c:pt>
                <c:pt idx="15">
                  <c:v>0.30537959003209308</c:v>
                </c:pt>
                <c:pt idx="16">
                  <c:v>0.30479028449342177</c:v>
                </c:pt>
                <c:pt idx="17">
                  <c:v>0.30535697989231286</c:v>
                </c:pt>
                <c:pt idx="18">
                  <c:v>0.30758733419811496</c:v>
                </c:pt>
                <c:pt idx="19">
                  <c:v>0.30384356418742708</c:v>
                </c:pt>
                <c:pt idx="20">
                  <c:v>0.30255871389344829</c:v>
                </c:pt>
                <c:pt idx="21">
                  <c:v>0.30131492720175512</c:v>
                </c:pt>
                <c:pt idx="22">
                  <c:v>0.30402402402402401</c:v>
                </c:pt>
                <c:pt idx="23">
                  <c:v>0.3041818228723267</c:v>
                </c:pt>
                <c:pt idx="24">
                  <c:v>0.30380595989557657</c:v>
                </c:pt>
                <c:pt idx="25">
                  <c:v>0.30266464709715091</c:v>
                </c:pt>
                <c:pt idx="26">
                  <c:v>0.30198090992432275</c:v>
                </c:pt>
                <c:pt idx="27">
                  <c:v>0.30261018186645428</c:v>
                </c:pt>
                <c:pt idx="28">
                  <c:v>0.30379475941413642</c:v>
                </c:pt>
                <c:pt idx="29">
                  <c:v>0.30510575091808745</c:v>
                </c:pt>
                <c:pt idx="30">
                  <c:v>0.30547263681592041</c:v>
                </c:pt>
                <c:pt idx="31">
                  <c:v>0.30191808942530629</c:v>
                </c:pt>
                <c:pt idx="32">
                  <c:v>0.30004016835781272</c:v>
                </c:pt>
                <c:pt idx="33">
                  <c:v>0.30140260803244229</c:v>
                </c:pt>
                <c:pt idx="34">
                  <c:v>0.30315931183998879</c:v>
                </c:pt>
                <c:pt idx="35">
                  <c:v>0.30423707530585153</c:v>
                </c:pt>
                <c:pt idx="36">
                  <c:v>0.30339368848493503</c:v>
                </c:pt>
                <c:pt idx="37">
                  <c:v>0.30312142377964563</c:v>
                </c:pt>
                <c:pt idx="38">
                  <c:v>0.30421477922015827</c:v>
                </c:pt>
                <c:pt idx="39">
                  <c:v>0.30360700245050509</c:v>
                </c:pt>
                <c:pt idx="40">
                  <c:v>0.30482776067799466</c:v>
                </c:pt>
                <c:pt idx="41">
                  <c:v>0.30496561046396053</c:v>
                </c:pt>
                <c:pt idx="42">
                  <c:v>0.30474260101509459</c:v>
                </c:pt>
                <c:pt idx="43">
                  <c:v>0.30487658997567685</c:v>
                </c:pt>
                <c:pt idx="44">
                  <c:v>0.30417377406912238</c:v>
                </c:pt>
                <c:pt idx="45">
                  <c:v>0.30429474182711519</c:v>
                </c:pt>
                <c:pt idx="46">
                  <c:v>0.30416987037597953</c:v>
                </c:pt>
                <c:pt idx="47">
                  <c:v>0.30177142857142858</c:v>
                </c:pt>
                <c:pt idx="48">
                  <c:v>0.30034428178139644</c:v>
                </c:pt>
                <c:pt idx="49">
                  <c:v>0.30020553910468561</c:v>
                </c:pt>
                <c:pt idx="50">
                  <c:v>0.30020393921120919</c:v>
                </c:pt>
                <c:pt idx="51">
                  <c:v>0.30029572161037082</c:v>
                </c:pt>
                <c:pt idx="52">
                  <c:v>0.30085731375024921</c:v>
                </c:pt>
                <c:pt idx="53">
                  <c:v>0.30374794069192751</c:v>
                </c:pt>
                <c:pt idx="54">
                  <c:v>0.30475569923731716</c:v>
                </c:pt>
                <c:pt idx="55">
                  <c:v>0.30484411191281596</c:v>
                </c:pt>
                <c:pt idx="56">
                  <c:v>0.29666067320451317</c:v>
                </c:pt>
                <c:pt idx="57">
                  <c:v>0.25400835544515327</c:v>
                </c:pt>
                <c:pt idx="58">
                  <c:v>0.23382400369980466</c:v>
                </c:pt>
                <c:pt idx="59">
                  <c:v>0.23943026116791946</c:v>
                </c:pt>
                <c:pt idx="60">
                  <c:v>0.25369491863085675</c:v>
                </c:pt>
                <c:pt idx="61">
                  <c:v>0.26335839430757868</c:v>
                </c:pt>
                <c:pt idx="62">
                  <c:v>0.24811366501794199</c:v>
                </c:pt>
                <c:pt idx="63">
                  <c:v>0.25331883600138116</c:v>
                </c:pt>
                <c:pt idx="64">
                  <c:v>0.27606841827999473</c:v>
                </c:pt>
                <c:pt idx="65">
                  <c:v>0.28160478817918266</c:v>
                </c:pt>
                <c:pt idx="66">
                  <c:v>0.29229782021117312</c:v>
                </c:pt>
                <c:pt idx="67">
                  <c:v>0.30127414335954045</c:v>
                </c:pt>
                <c:pt idx="68">
                  <c:v>0.30305886879569066</c:v>
                </c:pt>
                <c:pt idx="69">
                  <c:v>0.30492991022208221</c:v>
                </c:pt>
                <c:pt idx="70">
                  <c:v>0.30628978911194849</c:v>
                </c:pt>
                <c:pt idx="71">
                  <c:v>0.30507690665654685</c:v>
                </c:pt>
                <c:pt idx="72">
                  <c:v>0.30607670596048481</c:v>
                </c:pt>
                <c:pt idx="73">
                  <c:v>0.3116373241246056</c:v>
                </c:pt>
                <c:pt idx="74">
                  <c:v>0.31424842998124136</c:v>
                </c:pt>
                <c:pt idx="75">
                  <c:v>0.31320176754871626</c:v>
                </c:pt>
                <c:pt idx="76">
                  <c:v>0.31380953870863448</c:v>
                </c:pt>
                <c:pt idx="77">
                  <c:v>0.32590348409435188</c:v>
                </c:pt>
                <c:pt idx="78">
                  <c:v>0.33061711871301291</c:v>
                </c:pt>
                <c:pt idx="79">
                  <c:v>0.33376024237416513</c:v>
                </c:pt>
                <c:pt idx="80">
                  <c:v>0.334863282523373</c:v>
                </c:pt>
                <c:pt idx="81">
                  <c:v>0.33732775797715603</c:v>
                </c:pt>
                <c:pt idx="82">
                  <c:v>0.3340239432262419</c:v>
                </c:pt>
                <c:pt idx="83">
                  <c:v>0.32813911724353323</c:v>
                </c:pt>
                <c:pt idx="84">
                  <c:v>0.32451377453380215</c:v>
                </c:pt>
                <c:pt idx="85">
                  <c:v>0.3242920313313794</c:v>
                </c:pt>
                <c:pt idx="86">
                  <c:v>0.32834757834757833</c:v>
                </c:pt>
                <c:pt idx="87">
                  <c:v>0.33024565689467972</c:v>
                </c:pt>
                <c:pt idx="88">
                  <c:v>0.33047076978575868</c:v>
                </c:pt>
                <c:pt idx="89">
                  <c:v>0.32960364974033468</c:v>
                </c:pt>
                <c:pt idx="90">
                  <c:v>0.32877782475231143</c:v>
                </c:pt>
                <c:pt idx="91">
                  <c:v>0.33265505668454848</c:v>
                </c:pt>
                <c:pt idx="92">
                  <c:v>0.33383080669232584</c:v>
                </c:pt>
                <c:pt idx="93">
                  <c:v>0.33445095599479496</c:v>
                </c:pt>
                <c:pt idx="94">
                  <c:v>0.33425385899470356</c:v>
                </c:pt>
                <c:pt idx="95">
                  <c:v>0.33302358553829059</c:v>
                </c:pt>
                <c:pt idx="96">
                  <c:v>0.3331230702831911</c:v>
                </c:pt>
                <c:pt idx="97">
                  <c:v>0.33248279672509923</c:v>
                </c:pt>
                <c:pt idx="98">
                  <c:v>0.33184443040565192</c:v>
                </c:pt>
                <c:pt idx="99">
                  <c:v>0.31234357273380736</c:v>
                </c:pt>
                <c:pt idx="100">
                  <c:v>0.30123106937136429</c:v>
                </c:pt>
                <c:pt idx="101">
                  <c:v>0.30056872662328632</c:v>
                </c:pt>
              </c:numCache>
            </c:numRef>
          </c:xVal>
          <c:yVal>
            <c:numRef>
              <c:f>Sheet1!$B$2:$B$103</c:f>
              <c:numCache>
                <c:formatCode>General</c:formatCode>
                <c:ptCount val="102"/>
                <c:pt idx="0">
                  <c:v>3.1549194168607006E-2</c:v>
                </c:pt>
                <c:pt idx="1">
                  <c:v>2.5925076493376501E-2</c:v>
                </c:pt>
                <c:pt idx="2">
                  <c:v>1.9457371147598559E-2</c:v>
                </c:pt>
                <c:pt idx="3">
                  <c:v>2.1005226955186754E-2</c:v>
                </c:pt>
                <c:pt idx="4">
                  <c:v>2.3683174888924508E-2</c:v>
                </c:pt>
                <c:pt idx="5">
                  <c:v>2.4814911692122233E-2</c:v>
                </c:pt>
                <c:pt idx="6">
                  <c:v>2.2966901329024649E-2</c:v>
                </c:pt>
                <c:pt idx="7">
                  <c:v>2.1693356757167159E-2</c:v>
                </c:pt>
                <c:pt idx="8">
                  <c:v>2.508474647577718E-2</c:v>
                </c:pt>
                <c:pt idx="9">
                  <c:v>3.2219360006132694E-2</c:v>
                </c:pt>
                <c:pt idx="10">
                  <c:v>3.3455366889535383E-2</c:v>
                </c:pt>
                <c:pt idx="11">
                  <c:v>3.0774205038558523E-2</c:v>
                </c:pt>
                <c:pt idx="12">
                  <c:v>3.166311843777065E-2</c:v>
                </c:pt>
                <c:pt idx="13">
                  <c:v>2.9573633835338665E-2</c:v>
                </c:pt>
                <c:pt idx="14">
                  <c:v>2.9438294749618857E-2</c:v>
                </c:pt>
                <c:pt idx="15">
                  <c:v>3.2326555355538883E-2</c:v>
                </c:pt>
                <c:pt idx="16">
                  <c:v>3.0454183212358377E-2</c:v>
                </c:pt>
                <c:pt idx="17">
                  <c:v>3.0177244147381318E-2</c:v>
                </c:pt>
                <c:pt idx="18">
                  <c:v>3.0949579617420526E-2</c:v>
                </c:pt>
                <c:pt idx="19">
                  <c:v>3.3044676701229417E-2</c:v>
                </c:pt>
                <c:pt idx="20">
                  <c:v>3.4502368865567047E-2</c:v>
                </c:pt>
                <c:pt idx="21">
                  <c:v>3.8171203781773647E-2</c:v>
                </c:pt>
                <c:pt idx="22">
                  <c:v>3.2633840746857157E-2</c:v>
                </c:pt>
                <c:pt idx="23">
                  <c:v>3.22851825867847E-2</c:v>
                </c:pt>
                <c:pt idx="24">
                  <c:v>3.4293774474369265E-2</c:v>
                </c:pt>
                <c:pt idx="25">
                  <c:v>3.3493331489235549E-2</c:v>
                </c:pt>
                <c:pt idx="26">
                  <c:v>3.2256296982208908E-2</c:v>
                </c:pt>
                <c:pt idx="27">
                  <c:v>3.256327154323236E-2</c:v>
                </c:pt>
                <c:pt idx="28">
                  <c:v>3.0215972855570965E-2</c:v>
                </c:pt>
                <c:pt idx="29">
                  <c:v>2.971323515475446E-2</c:v>
                </c:pt>
                <c:pt idx="30">
                  <c:v>2.9886044202056927E-2</c:v>
                </c:pt>
                <c:pt idx="31">
                  <c:v>3.0113049153545669E-2</c:v>
                </c:pt>
                <c:pt idx="32">
                  <c:v>3.0121682992946059E-2</c:v>
                </c:pt>
                <c:pt idx="33">
                  <c:v>2.8704102443482309E-2</c:v>
                </c:pt>
                <c:pt idx="34">
                  <c:v>3.0602403901330309E-2</c:v>
                </c:pt>
                <c:pt idx="35">
                  <c:v>3.1456536502498786E-2</c:v>
                </c:pt>
                <c:pt idx="36">
                  <c:v>3.1516667937295108E-2</c:v>
                </c:pt>
                <c:pt idx="37">
                  <c:v>3.3226585884057164E-2</c:v>
                </c:pt>
                <c:pt idx="38">
                  <c:v>3.3016326225624587E-2</c:v>
                </c:pt>
                <c:pt idx="39">
                  <c:v>3.0075909553288729E-2</c:v>
                </c:pt>
                <c:pt idx="40">
                  <c:v>3.0308227143147046E-2</c:v>
                </c:pt>
                <c:pt idx="41">
                  <c:v>3.1273537834975489E-2</c:v>
                </c:pt>
                <c:pt idx="42">
                  <c:v>3.0059016900147784E-2</c:v>
                </c:pt>
                <c:pt idx="43">
                  <c:v>3.0573863083611635E-2</c:v>
                </c:pt>
                <c:pt idx="44">
                  <c:v>3.254448153409624E-2</c:v>
                </c:pt>
                <c:pt idx="45">
                  <c:v>3.2420025270644671E-2</c:v>
                </c:pt>
                <c:pt idx="46">
                  <c:v>3.0841270586476857E-2</c:v>
                </c:pt>
                <c:pt idx="47">
                  <c:v>3.4545476528939606E-2</c:v>
                </c:pt>
                <c:pt idx="48">
                  <c:v>3.9378011399146942E-2</c:v>
                </c:pt>
                <c:pt idx="49">
                  <c:v>3.4585845792310457E-2</c:v>
                </c:pt>
                <c:pt idx="50">
                  <c:v>3.6889295123608744E-2</c:v>
                </c:pt>
                <c:pt idx="51">
                  <c:v>3.516974061970235E-2</c:v>
                </c:pt>
                <c:pt idx="52">
                  <c:v>3.3440411726256954E-2</c:v>
                </c:pt>
                <c:pt idx="53">
                  <c:v>3.0775515895011849E-2</c:v>
                </c:pt>
                <c:pt idx="54">
                  <c:v>2.856172806220978E-2</c:v>
                </c:pt>
                <c:pt idx="55">
                  <c:v>2.9260191711765828E-2</c:v>
                </c:pt>
                <c:pt idx="56">
                  <c:v>3.1178692703543048E-2</c:v>
                </c:pt>
                <c:pt idx="57">
                  <c:v>3.7031471681131703E-2</c:v>
                </c:pt>
                <c:pt idx="58">
                  <c:v>3.9909501581123753E-2</c:v>
                </c:pt>
                <c:pt idx="59">
                  <c:v>3.3090443177845791E-2</c:v>
                </c:pt>
                <c:pt idx="60">
                  <c:v>2.0429936026239697E-2</c:v>
                </c:pt>
                <c:pt idx="61">
                  <c:v>1.5942339180034886E-2</c:v>
                </c:pt>
                <c:pt idx="62">
                  <c:v>2.6561543645322632E-2</c:v>
                </c:pt>
                <c:pt idx="63">
                  <c:v>3.5068893654044385E-2</c:v>
                </c:pt>
                <c:pt idx="64">
                  <c:v>3.0967228847484717E-2</c:v>
                </c:pt>
                <c:pt idx="65">
                  <c:v>2.6027056162994167E-2</c:v>
                </c:pt>
                <c:pt idx="66">
                  <c:v>2.5871503741223587E-2</c:v>
                </c:pt>
                <c:pt idx="67">
                  <c:v>2.691260699372984E-2</c:v>
                </c:pt>
                <c:pt idx="68">
                  <c:v>2.5874418970458959E-2</c:v>
                </c:pt>
                <c:pt idx="69">
                  <c:v>2.3193315376484971E-2</c:v>
                </c:pt>
                <c:pt idx="70">
                  <c:v>2.2686657383630057E-2</c:v>
                </c:pt>
                <c:pt idx="71">
                  <c:v>2.6189284143623485E-2</c:v>
                </c:pt>
                <c:pt idx="72">
                  <c:v>2.7336338114147821E-2</c:v>
                </c:pt>
                <c:pt idx="73">
                  <c:v>2.7740990571672709E-2</c:v>
                </c:pt>
                <c:pt idx="74">
                  <c:v>2.8775273119844166E-2</c:v>
                </c:pt>
                <c:pt idx="75">
                  <c:v>2.8510329318482425E-2</c:v>
                </c:pt>
                <c:pt idx="76">
                  <c:v>2.7909474603405617E-2</c:v>
                </c:pt>
                <c:pt idx="77">
                  <c:v>2.354699792786898E-2</c:v>
                </c:pt>
                <c:pt idx="78">
                  <c:v>2.3516397046911525E-2</c:v>
                </c:pt>
                <c:pt idx="79">
                  <c:v>2.2115174941799768E-2</c:v>
                </c:pt>
                <c:pt idx="80">
                  <c:v>2.2268202762568419E-2</c:v>
                </c:pt>
                <c:pt idx="81">
                  <c:v>2.1244426266941792E-2</c:v>
                </c:pt>
                <c:pt idx="82">
                  <c:v>3.1177386289303839E-2</c:v>
                </c:pt>
                <c:pt idx="83">
                  <c:v>2.6306476866990773E-2</c:v>
                </c:pt>
                <c:pt idx="84">
                  <c:v>2.5524833007679375E-2</c:v>
                </c:pt>
                <c:pt idx="85">
                  <c:v>2.6871534411513368E-2</c:v>
                </c:pt>
                <c:pt idx="86">
                  <c:v>2.6338851413823878E-2</c:v>
                </c:pt>
                <c:pt idx="87">
                  <c:v>2.4648701089615546E-2</c:v>
                </c:pt>
                <c:pt idx="88">
                  <c:v>2.6238033764437702E-2</c:v>
                </c:pt>
                <c:pt idx="89">
                  <c:v>3.0191859532939729E-2</c:v>
                </c:pt>
                <c:pt idx="90">
                  <c:v>3.0716851696320817E-2</c:v>
                </c:pt>
                <c:pt idx="91">
                  <c:v>3.1790352756617284E-2</c:v>
                </c:pt>
                <c:pt idx="92">
                  <c:v>2.9789485452214992E-2</c:v>
                </c:pt>
                <c:pt idx="93">
                  <c:v>2.7419432969366012E-2</c:v>
                </c:pt>
                <c:pt idx="94">
                  <c:v>2.5375304588112154E-2</c:v>
                </c:pt>
                <c:pt idx="95">
                  <c:v>2.7271435244645044E-2</c:v>
                </c:pt>
                <c:pt idx="96">
                  <c:v>2.4300725205733124E-2</c:v>
                </c:pt>
                <c:pt idx="97">
                  <c:v>2.5953063658202231E-2</c:v>
                </c:pt>
                <c:pt idx="98">
                  <c:v>2.870484051773789E-2</c:v>
                </c:pt>
                <c:pt idx="99">
                  <c:v>3.0161179689259059E-2</c:v>
                </c:pt>
                <c:pt idx="100">
                  <c:v>3.7558407981539428E-2</c:v>
                </c:pt>
                <c:pt idx="101">
                  <c:v>3.5796970668813106E-2</c:v>
                </c:pt>
              </c:numCache>
            </c:numRef>
          </c:yVal>
          <c:smooth val="0"/>
          <c:extLst>
            <c:ext xmlns:c16="http://schemas.microsoft.com/office/drawing/2014/chart" uri="{C3380CC4-5D6E-409C-BE32-E72D297353CC}">
              <c16:uniqueId val="{00000000-F32D-48B7-BC20-E66FC6253BAD}"/>
            </c:ext>
          </c:extLst>
        </c:ser>
        <c:ser>
          <c:idx val="1"/>
          <c:order val="1"/>
          <c:tx>
            <c:strRef>
              <c:f>Sheet1!$B$10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6:$A$157</c:f>
              <c:numCache>
                <c:formatCode>General</c:formatCode>
                <c:ptCount val="52"/>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numCache>
            </c:numRef>
          </c:xVal>
          <c:yVal>
            <c:numRef>
              <c:f>Sheet1!$B$106:$B$157</c:f>
              <c:numCache>
                <c:formatCode>General</c:formatCode>
                <c:ptCount val="52"/>
                <c:pt idx="0">
                  <c:v>3.3379430772150658E-2</c:v>
                </c:pt>
                <c:pt idx="1">
                  <c:v>3.5297770608354727E-2</c:v>
                </c:pt>
                <c:pt idx="2">
                  <c:v>3.603152077608085E-2</c:v>
                </c:pt>
                <c:pt idx="3">
                  <c:v>3.0978674639028675E-2</c:v>
                </c:pt>
                <c:pt idx="4">
                  <c:v>2.8133515753956471E-2</c:v>
                </c:pt>
                <c:pt idx="5">
                  <c:v>2.7512069607189618E-2</c:v>
                </c:pt>
                <c:pt idx="6">
                  <c:v>2.7535908601076187E-2</c:v>
                </c:pt>
                <c:pt idx="7">
                  <c:v>2.7306049137985969E-2</c:v>
                </c:pt>
                <c:pt idx="8">
                  <c:v>2.6838607545871734E-2</c:v>
                </c:pt>
                <c:pt idx="9">
                  <c:v>2.8577136215520643E-2</c:v>
                </c:pt>
                <c:pt idx="10">
                  <c:v>2.9045708307140341E-2</c:v>
                </c:pt>
                <c:pt idx="11">
                  <c:v>3.0151694267354034E-2</c:v>
                </c:pt>
                <c:pt idx="12">
                  <c:v>3.1278274774940926E-2</c:v>
                </c:pt>
                <c:pt idx="13">
                  <c:v>3.2623144271831599E-2</c:v>
                </c:pt>
                <c:pt idx="14">
                  <c:v>3.2081452766552027E-2</c:v>
                </c:pt>
                <c:pt idx="15">
                  <c:v>2.8476513020004538E-2</c:v>
                </c:pt>
                <c:pt idx="16">
                  <c:v>2.8897929262062423E-2</c:v>
                </c:pt>
                <c:pt idx="17">
                  <c:v>2.8572345272906727E-2</c:v>
                </c:pt>
                <c:pt idx="18">
                  <c:v>2.7582157287634194E-2</c:v>
                </c:pt>
                <c:pt idx="19">
                  <c:v>2.6684207925807661E-2</c:v>
                </c:pt>
                <c:pt idx="20">
                  <c:v>2.5074098168638374E-2</c:v>
                </c:pt>
                <c:pt idx="21">
                  <c:v>3.7053775555914395E-2</c:v>
                </c:pt>
                <c:pt idx="22">
                  <c:v>4.1201839145334811E-2</c:v>
                </c:pt>
                <c:pt idx="23">
                  <c:v>3.952108516249337E-2</c:v>
                </c:pt>
                <c:pt idx="24">
                  <c:v>3.301132678213544E-2</c:v>
                </c:pt>
                <c:pt idx="25">
                  <c:v>3.4672282379825628E-2</c:v>
                </c:pt>
                <c:pt idx="26">
                  <c:v>3.6478521099227869E-2</c:v>
                </c:pt>
                <c:pt idx="27">
                  <c:v>3.1719960612283417E-2</c:v>
                </c:pt>
                <c:pt idx="28">
                  <c:v>2.9844699099281863E-2</c:v>
                </c:pt>
                <c:pt idx="29">
                  <c:v>2.8247037929351546E-2</c:v>
                </c:pt>
                <c:pt idx="30">
                  <c:v>2.3926861689124793E-2</c:v>
                </c:pt>
                <c:pt idx="31">
                  <c:v>2.0770671408149036E-2</c:v>
                </c:pt>
                <c:pt idx="32">
                  <c:v>2.3460558709885785E-2</c:v>
                </c:pt>
                <c:pt idx="33">
                  <c:v>3.0427962862070307E-2</c:v>
                </c:pt>
                <c:pt idx="34">
                  <c:v>3.1037706913624008E-2</c:v>
                </c:pt>
                <c:pt idx="35">
                  <c:v>2.928997264422914E-2</c:v>
                </c:pt>
                <c:pt idx="36">
                  <c:v>2.9697936908540855E-2</c:v>
                </c:pt>
                <c:pt idx="37">
                  <c:v>3.0248130900335804E-2</c:v>
                </c:pt>
                <c:pt idx="38">
                  <c:v>3.5070387750061743E-2</c:v>
                </c:pt>
                <c:pt idx="39">
                  <c:v>3.1208337770205517E-2</c:v>
                </c:pt>
                <c:pt idx="40">
                  <c:v>2.6826790166755026E-2</c:v>
                </c:pt>
                <c:pt idx="41">
                  <c:v>2.4203784771293646E-2</c:v>
                </c:pt>
                <c:pt idx="42">
                  <c:v>2.4098053977022377E-2</c:v>
                </c:pt>
                <c:pt idx="43">
                  <c:v>2.4523754132153155E-2</c:v>
                </c:pt>
                <c:pt idx="44">
                  <c:v>2.2379504666963371E-2</c:v>
                </c:pt>
                <c:pt idx="45">
                  <c:v>2.104065524243157E-2</c:v>
                </c:pt>
                <c:pt idx="46">
                  <c:v>2.2028240128902143E-2</c:v>
                </c:pt>
                <c:pt idx="47">
                  <c:v>2.3321641522021073E-2</c:v>
                </c:pt>
                <c:pt idx="48">
                  <c:v>2.5721900660138006E-2</c:v>
                </c:pt>
                <c:pt idx="49">
                  <c:v>2.4967370312040958E-2</c:v>
                </c:pt>
                <c:pt idx="50">
                  <c:v>2.6033359791458374E-2</c:v>
                </c:pt>
                <c:pt idx="51">
                  <c:v>2.5702227757022279E-2</c:v>
                </c:pt>
              </c:numCache>
            </c:numRef>
          </c:yVal>
          <c:smooth val="0"/>
          <c:extLst>
            <c:ext xmlns:c16="http://schemas.microsoft.com/office/drawing/2014/chart" uri="{C3380CC4-5D6E-409C-BE32-E72D297353CC}">
              <c16:uniqueId val="{00000002-F32D-48B7-BC20-E66FC6253BAD}"/>
            </c:ext>
          </c:extLst>
        </c:ser>
        <c:ser>
          <c:idx val="2"/>
          <c:order val="2"/>
          <c:tx>
            <c:strRef>
              <c:f>Sheet1!$B$159</c:f>
              <c:strCache>
                <c:ptCount val="1"/>
                <c:pt idx="0">
                  <c:v>Custom Linep3yQ</c:v>
                </c:pt>
              </c:strCache>
            </c:strRef>
          </c:tx>
          <c:spPr>
            <a:ln w="19050" cap="rnd">
              <a:solidFill>
                <a:srgbClr val="C00000"/>
              </a:solidFill>
              <a:prstDash val="sysDot"/>
              <a:round/>
            </a:ln>
            <a:effectLst/>
          </c:spPr>
          <c:marker>
            <c:symbol val="none"/>
          </c:marker>
          <c:xVal>
            <c:numRef>
              <c:f>Sheet1!$A$160:$A$161</c:f>
              <c:numCache>
                <c:formatCode>General</c:formatCode>
                <c:ptCount val="2"/>
                <c:pt idx="0">
                  <c:v>0</c:v>
                </c:pt>
                <c:pt idx="1">
                  <c:v>0.27575744047645689</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3-F32D-48B7-BC20-E66FC6253BAD}"/>
            </c:ext>
          </c:extLst>
        </c:ser>
        <c:ser>
          <c:idx val="3"/>
          <c:order val="3"/>
          <c:tx>
            <c:strRef>
              <c:f>Sheet1!$B$16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0.27575744047645689</c:v>
                </c:pt>
                <c:pt idx="1">
                  <c:v>0.27575744047645689</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8:$A$169</c:f>
              <c:numCache>
                <c:formatCode>General</c:formatCode>
                <c:ptCount val="2"/>
                <c:pt idx="0">
                  <c:v>0</c:v>
                </c:pt>
                <c:pt idx="1">
                  <c:v>0.28987004975079905</c:v>
                </c:pt>
              </c:numCache>
            </c:numRef>
          </c:xVal>
          <c:yVal>
            <c:numRef>
              <c:f>Sheet1!$B$168:$B$169</c:f>
              <c:numCache>
                <c:formatCode>General</c:formatCode>
                <c:ptCount val="2"/>
                <c:pt idx="0">
                  <c:v>3.1101577984060606E-2</c:v>
                </c:pt>
                <c:pt idx="1">
                  <c:v>3.1101577984060606E-2</c:v>
                </c:pt>
              </c:numCache>
            </c:numRef>
          </c:yVal>
          <c:smooth val="0"/>
          <c:extLst>
            <c:ext xmlns:c16="http://schemas.microsoft.com/office/drawing/2014/chart" uri="{C3380CC4-5D6E-409C-BE32-E72D297353CC}">
              <c16:uniqueId val="{0000000A-F32D-48B7-BC20-E66FC6253BAD}"/>
            </c:ext>
          </c:extLst>
        </c:ser>
        <c:ser>
          <c:idx val="5"/>
          <c:order val="5"/>
          <c:tx>
            <c:strRef>
              <c:f>Sheet1!$B$17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0.28987004975079905</c:v>
                </c:pt>
                <c:pt idx="1">
                  <c:v>0.28987004975079905</c:v>
                </c:pt>
              </c:numCache>
            </c:numRef>
          </c:xVal>
          <c:yVal>
            <c:numRef>
              <c:f>Sheet1!$B$172:$B$173</c:f>
              <c:numCache>
                <c:formatCode>General</c:formatCode>
                <c:ptCount val="2"/>
                <c:pt idx="0">
                  <c:v>3.1101577984060606E-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6:$A$177</c:f>
              <c:numCache>
                <c:formatCode>General</c:formatCode>
                <c:ptCount val="2"/>
                <c:pt idx="0">
                  <c:v>0</c:v>
                </c:pt>
                <c:pt idx="1">
                  <c:v>0.32888493428125432</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1-F32D-48B7-BC20-E66FC6253BAD}"/>
            </c:ext>
          </c:extLst>
        </c:ser>
        <c:ser>
          <c:idx val="7"/>
          <c:order val="7"/>
          <c:tx>
            <c:strRef>
              <c:f>Sheet1!$B$17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0:$A$181</c:f>
              <c:numCache>
                <c:formatCode>General</c:formatCode>
                <c:ptCount val="2"/>
                <c:pt idx="0">
                  <c:v>0.32888493428125432</c:v>
                </c:pt>
                <c:pt idx="1">
                  <c:v>0.32888493428125432</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4:$A$238</c:f>
              <c:numCache>
                <c:formatCode>General</c:formatCode>
                <c:ptCount val="55"/>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pt idx="52">
                  <c:v>0.28987004975079905</c:v>
                </c:pt>
                <c:pt idx="53">
                  <c:v>0.27575744047645689</c:v>
                </c:pt>
                <c:pt idx="54">
                  <c:v>0.32888493428125432</c:v>
                </c:pt>
              </c:numCache>
            </c:numRef>
          </c:xVal>
          <c:yVal>
            <c:numRef>
              <c:f>Sheet1!$B$184:$B$238</c:f>
              <c:numCache>
                <c:formatCode>General</c:formatCode>
                <c:ptCount val="55"/>
                <c:pt idx="0">
                  <c:v>2.9413873016704839E-2</c:v>
                </c:pt>
                <c:pt idx="1">
                  <c:v>2.9896344890080709E-2</c:v>
                </c:pt>
                <c:pt idx="2">
                  <c:v>3.0155656486461964E-2</c:v>
                </c:pt>
                <c:pt idx="3">
                  <c:v>2.7109900331363727E-2</c:v>
                </c:pt>
                <c:pt idx="4">
                  <c:v>2.4371775225560388E-2</c:v>
                </c:pt>
                <c:pt idx="5">
                  <c:v>2.4094268404047922E-2</c:v>
                </c:pt>
                <c:pt idx="6">
                  <c:v>2.4322183284519114E-2</c:v>
                </c:pt>
                <c:pt idx="7">
                  <c:v>2.5263903460272262E-2</c:v>
                </c:pt>
                <c:pt idx="8">
                  <c:v>2.7533717749061021E-2</c:v>
                </c:pt>
                <c:pt idx="9">
                  <c:v>2.9136059572005948E-2</c:v>
                </c:pt>
                <c:pt idx="10">
                  <c:v>2.8439725189245424E-2</c:v>
                </c:pt>
                <c:pt idx="11">
                  <c:v>2.8481575446516888E-2</c:v>
                </c:pt>
                <c:pt idx="12">
                  <c:v>3.0108594349578348E-2</c:v>
                </c:pt>
                <c:pt idx="13">
                  <c:v>3.169054387055209E-2</c:v>
                </c:pt>
                <c:pt idx="14">
                  <c:v>3.1465934595702259E-2</c:v>
                </c:pt>
                <c:pt idx="15">
                  <c:v>3.1477667841337743E-2</c:v>
                </c:pt>
                <c:pt idx="16">
                  <c:v>3.1573121681829512E-2</c:v>
                </c:pt>
                <c:pt idx="17">
                  <c:v>3.1532924296196564E-2</c:v>
                </c:pt>
                <c:pt idx="18">
                  <c:v>3.0515660900336583E-2</c:v>
                </c:pt>
                <c:pt idx="19">
                  <c:v>3.0211789143868836E-2</c:v>
                </c:pt>
                <c:pt idx="20">
                  <c:v>2.8955614795748236E-2</c:v>
                </c:pt>
                <c:pt idx="21">
                  <c:v>3.2772131418724967E-2</c:v>
                </c:pt>
                <c:pt idx="22">
                  <c:v>3.3542665870490845E-2</c:v>
                </c:pt>
                <c:pt idx="23">
                  <c:v>3.3435184307609174E-2</c:v>
                </c:pt>
                <c:pt idx="24">
                  <c:v>3.268271460365052E-2</c:v>
                </c:pt>
                <c:pt idx="25">
                  <c:v>3.3870059534782497E-2</c:v>
                </c:pt>
                <c:pt idx="26">
                  <c:v>3.3073079926514877E-2</c:v>
                </c:pt>
                <c:pt idx="27">
                  <c:v>3.1808643842456727E-2</c:v>
                </c:pt>
                <c:pt idx="28">
                  <c:v>3.0502176751221188E-2</c:v>
                </c:pt>
                <c:pt idx="29">
                  <c:v>2.7906678470255915E-2</c:v>
                </c:pt>
                <c:pt idx="30">
                  <c:v>2.5033266393526828E-2</c:v>
                </c:pt>
                <c:pt idx="31">
                  <c:v>2.630903103630991E-2</c:v>
                </c:pt>
                <c:pt idx="32">
                  <c:v>2.8693045313762239E-2</c:v>
                </c:pt>
                <c:pt idx="33">
                  <c:v>3.2596808075387743E-2</c:v>
                </c:pt>
                <c:pt idx="34">
                  <c:v>3.3462836223474769E-2</c:v>
                </c:pt>
                <c:pt idx="35">
                  <c:v>3.1780988069129081E-2</c:v>
                </c:pt>
                <c:pt idx="36">
                  <c:v>3.2997078119396075E-2</c:v>
                </c:pt>
                <c:pt idx="37">
                  <c:v>3.4241810296995578E-2</c:v>
                </c:pt>
                <c:pt idx="38">
                  <c:v>3.5259393566231922E-2</c:v>
                </c:pt>
                <c:pt idx="39">
                  <c:v>3.2524924643797831E-2</c:v>
                </c:pt>
                <c:pt idx="40">
                  <c:v>2.8308242375685959E-2</c:v>
                </c:pt>
                <c:pt idx="41">
                  <c:v>2.54404048951909E-2</c:v>
                </c:pt>
                <c:pt idx="42">
                  <c:v>2.3287513921568817E-2</c:v>
                </c:pt>
                <c:pt idx="43">
                  <c:v>2.3365554652546534E-2</c:v>
                </c:pt>
                <c:pt idx="44">
                  <c:v>2.3054756675168077E-2</c:v>
                </c:pt>
                <c:pt idx="45">
                  <c:v>2.3566114628330095E-2</c:v>
                </c:pt>
                <c:pt idx="46">
                  <c:v>2.5888630394799238E-2</c:v>
                </c:pt>
                <c:pt idx="47">
                  <c:v>2.6265547596405793E-2</c:v>
                </c:pt>
                <c:pt idx="48">
                  <c:v>2.7412822111043234E-2</c:v>
                </c:pt>
                <c:pt idx="49">
                  <c:v>2.5962622488181153E-2</c:v>
                </c:pt>
                <c:pt idx="50">
                  <c:v>2.4525712064247307E-2</c:v>
                </c:pt>
                <c:pt idx="51">
                  <c:v>2.4473274634488791E-2</c:v>
                </c:pt>
                <c:pt idx="52">
                  <c:v>3.1101577984060602E-2</c:v>
                </c:pt>
                <c:pt idx="53">
                  <c:v>3.3390590546211449E-2</c:v>
                </c:pt>
                <c:pt idx="54">
                  <c:v>2.4773509299877497E-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40737801608579088"/>
          <c:min val="0.18705920295984374"/>
        </c:scaling>
        <c:delete val="0"/>
        <c:axPos val="b"/>
        <c:title>
          <c:tx>
            <c:rich>
              <a:bodyPr rot="0" spcFirstLastPara="1" vertOverflow="ellipsis" vert="horz" wrap="square" anchor="ctr" anchorCtr="1"/>
              <a:lstStyle/>
              <a:p>
                <a:pPr>
                  <a:defRPr sz="800" b="0">
                    <a:latin typeface="Nexa Bold"/>
                  </a:defRPr>
                </a:pPr>
                <a:r>
                  <a:rPr lang="en-US"/>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1291069944164441</c:v>
                </c:pt>
                <c:pt idx="1">
                  <c:v>0.13485892486555889</c:v>
                </c:pt>
                <c:pt idx="2">
                  <c:v>0.13361697278764331</c:v>
                </c:pt>
                <c:pt idx="3">
                  <c:v>0.13181455947245191</c:v>
                </c:pt>
                <c:pt idx="4">
                  <c:v>0.13079849733141291</c:v>
                </c:pt>
                <c:pt idx="5">
                  <c:v>0.12786527339341361</c:v>
                </c:pt>
                <c:pt idx="6">
                  <c:v>0.13389772495720559</c:v>
                </c:pt>
                <c:pt idx="7">
                  <c:v>0.1359519354250221</c:v>
                </c:pt>
                <c:pt idx="8">
                  <c:v>0.13408395448492219</c:v>
                </c:pt>
                <c:pt idx="9">
                  <c:v>0.1272173036352085</c:v>
                </c:pt>
                <c:pt idx="10">
                  <c:v>0.12580154817273331</c:v>
                </c:pt>
                <c:pt idx="11">
                  <c:v>0.1247833670603628</c:v>
                </c:pt>
                <c:pt idx="12">
                  <c:v>0.12616612542700109</c:v>
                </c:pt>
                <c:pt idx="13">
                  <c:v>0.13426073846412021</c:v>
                </c:pt>
                <c:pt idx="14">
                  <c:v>0.13040345544745011</c:v>
                </c:pt>
                <c:pt idx="15">
                  <c:v>0.12568196098787579</c:v>
                </c:pt>
                <c:pt idx="16">
                  <c:v>0.1284543866213313</c:v>
                </c:pt>
                <c:pt idx="17">
                  <c:v>0.13252000199740169</c:v>
                </c:pt>
                <c:pt idx="18">
                  <c:v>0.12612196270786419</c:v>
                </c:pt>
                <c:pt idx="19">
                  <c:v>0.13496886950214251</c:v>
                </c:pt>
                <c:pt idx="20">
                  <c:v>0.13064933940560819</c:v>
                </c:pt>
                <c:pt idx="21">
                  <c:v>0.12635635491031241</c:v>
                </c:pt>
                <c:pt idx="22">
                  <c:v>0.12863609693980929</c:v>
                </c:pt>
                <c:pt idx="23">
                  <c:v>0.13116494310893009</c:v>
                </c:pt>
                <c:pt idx="24">
                  <c:v>0.1278058186678292</c:v>
                </c:pt>
                <c:pt idx="25">
                  <c:v>0.1235932293079324</c:v>
                </c:pt>
                <c:pt idx="26">
                  <c:v>0.12290934252239009</c:v>
                </c:pt>
                <c:pt idx="27">
                  <c:v>0.12109503765009599</c:v>
                </c:pt>
                <c:pt idx="28">
                  <c:v>0.12207135397276341</c:v>
                </c:pt>
                <c:pt idx="29">
                  <c:v>0.1263122981136704</c:v>
                </c:pt>
                <c:pt idx="30">
                  <c:v>0.1263263635992006</c:v>
                </c:pt>
                <c:pt idx="31">
                  <c:v>0.12476889875077329</c:v>
                </c:pt>
                <c:pt idx="32">
                  <c:v>0.12674353123399981</c:v>
                </c:pt>
                <c:pt idx="33">
                  <c:v>0.12588695742723971</c:v>
                </c:pt>
                <c:pt idx="34">
                  <c:v>0.12390000002667199</c:v>
                </c:pt>
                <c:pt idx="35">
                  <c:v>0.12440850519118039</c:v>
                </c:pt>
                <c:pt idx="36">
                  <c:v>0.12336288941275771</c:v>
                </c:pt>
                <c:pt idx="37">
                  <c:v>0.1236579395008299</c:v>
                </c:pt>
                <c:pt idx="38">
                  <c:v>0.1244360084590832</c:v>
                </c:pt>
                <c:pt idx="39">
                  <c:v>0.12224083915887329</c:v>
                </c:pt>
                <c:pt idx="40">
                  <c:v>0.1219327444047168</c:v>
                </c:pt>
                <c:pt idx="41">
                  <c:v>0.1250560323566518</c:v>
                </c:pt>
                <c:pt idx="42">
                  <c:v>0.12745512740440279</c:v>
                </c:pt>
                <c:pt idx="43">
                  <c:v>0.1211984894858895</c:v>
                </c:pt>
                <c:pt idx="44">
                  <c:v>0.1258670226690102</c:v>
                </c:pt>
                <c:pt idx="45">
                  <c:v>0.1272339848348821</c:v>
                </c:pt>
                <c:pt idx="46">
                  <c:v>0.13490346412193621</c:v>
                </c:pt>
                <c:pt idx="47">
                  <c:v>0.1232399985423943</c:v>
                </c:pt>
                <c:pt idx="48">
                  <c:v>0.12311641114157899</c:v>
                </c:pt>
                <c:pt idx="49">
                  <c:v>0.1234350759255986</c:v>
                </c:pt>
                <c:pt idx="50">
                  <c:v>0.12419744604278141</c:v>
                </c:pt>
                <c:pt idx="51">
                  <c:v>0.13145508336915421</c:v>
                </c:pt>
                <c:pt idx="52">
                  <c:v>0.13109930113357529</c:v>
                </c:pt>
                <c:pt idx="53">
                  <c:v>0.13568928560863899</c:v>
                </c:pt>
                <c:pt idx="54">
                  <c:v>0.1285210371531505</c:v>
                </c:pt>
                <c:pt idx="55">
                  <c:v>0.1300753516373136</c:v>
                </c:pt>
                <c:pt idx="56">
                  <c:v>0.12489749950473671</c:v>
                </c:pt>
                <c:pt idx="57">
                  <c:v>0.10266521645136149</c:v>
                </c:pt>
                <c:pt idx="58">
                  <c:v>9.4621929093130358E-2</c:v>
                </c:pt>
                <c:pt idx="59">
                  <c:v>9.8212612965823731E-2</c:v>
                </c:pt>
                <c:pt idx="60">
                  <c:v>0.1102654339127445</c:v>
                </c:pt>
                <c:pt idx="61">
                  <c:v>0.1086326326560431</c:v>
                </c:pt>
                <c:pt idx="62">
                  <c:v>0.10273100071317991</c:v>
                </c:pt>
                <c:pt idx="63">
                  <c:v>0.1056131313298932</c:v>
                </c:pt>
                <c:pt idx="64">
                  <c:v>0.116037952360732</c:v>
                </c:pt>
                <c:pt idx="65">
                  <c:v>0.13065683342069531</c:v>
                </c:pt>
                <c:pt idx="66">
                  <c:v>0.132712182958446</c:v>
                </c:pt>
                <c:pt idx="67">
                  <c:v>0.12498087731066</c:v>
                </c:pt>
                <c:pt idx="68">
                  <c:v>0.1318623648264734</c:v>
                </c:pt>
                <c:pt idx="69">
                  <c:v>0.13405085209231629</c:v>
                </c:pt>
                <c:pt idx="70">
                  <c:v>0.12663942767242409</c:v>
                </c:pt>
                <c:pt idx="71">
                  <c:v>0.13715997078444109</c:v>
                </c:pt>
                <c:pt idx="72">
                  <c:v>0.1312699287114284</c:v>
                </c:pt>
                <c:pt idx="73">
                  <c:v>0.1290474255800157</c:v>
                </c:pt>
                <c:pt idx="74">
                  <c:v>0.12976627424972709</c:v>
                </c:pt>
                <c:pt idx="75">
                  <c:v>0.12686829869724861</c:v>
                </c:pt>
                <c:pt idx="76">
                  <c:v>0.1253623579280761</c:v>
                </c:pt>
                <c:pt idx="77">
                  <c:v>0.12968156222074531</c:v>
                </c:pt>
                <c:pt idx="78">
                  <c:v>0.12750329032649099</c:v>
                </c:pt>
                <c:pt idx="79">
                  <c:v>0.12461050546445129</c:v>
                </c:pt>
                <c:pt idx="80">
                  <c:v>0.12900335189603049</c:v>
                </c:pt>
                <c:pt idx="81">
                  <c:v>0.12741746962889991</c:v>
                </c:pt>
                <c:pt idx="82">
                  <c:v>0.1227246355993528</c:v>
                </c:pt>
                <c:pt idx="83">
                  <c:v>0.12325497363003669</c:v>
                </c:pt>
                <c:pt idx="84">
                  <c:v>0.1237777050026681</c:v>
                </c:pt>
                <c:pt idx="85">
                  <c:v>0.1227618684932686</c:v>
                </c:pt>
                <c:pt idx="86">
                  <c:v>0.12625273778634091</c:v>
                </c:pt>
                <c:pt idx="87">
                  <c:v>0.12848401925218161</c:v>
                </c:pt>
                <c:pt idx="88">
                  <c:v>0.12808991008793849</c:v>
                </c:pt>
                <c:pt idx="89">
                  <c:v>0.12669599383578639</c:v>
                </c:pt>
                <c:pt idx="90">
                  <c:v>0.128457244567205</c:v>
                </c:pt>
                <c:pt idx="91">
                  <c:v>0.1287495738807907</c:v>
                </c:pt>
                <c:pt idx="92">
                  <c:v>0.12753778198649329</c:v>
                </c:pt>
                <c:pt idx="93">
                  <c:v>0.12858384689357691</c:v>
                </c:pt>
                <c:pt idx="94">
                  <c:v>0.13053873342212541</c:v>
                </c:pt>
                <c:pt idx="95">
                  <c:v>0.1283681251237693</c:v>
                </c:pt>
                <c:pt idx="96">
                  <c:v>0.12712219330013799</c:v>
                </c:pt>
                <c:pt idx="97">
                  <c:v>0.12537888942730019</c:v>
                </c:pt>
                <c:pt idx="98">
                  <c:v>0.12745921704595151</c:v>
                </c:pt>
                <c:pt idx="99">
                  <c:v>0.1212266665697815</c:v>
                </c:pt>
                <c:pt idx="100">
                  <c:v>0.1141728668578047</c:v>
                </c:pt>
                <c:pt idx="101">
                  <c:v>0.115957494325048</c:v>
                </c:pt>
              </c:numCache>
            </c:numRef>
          </c:xVal>
          <c:yVal>
            <c:numRef>
              <c:f>Sheet1!$B$2:$B$103</c:f>
              <c:numCache>
                <c:formatCode>General</c:formatCode>
                <c:ptCount val="102"/>
                <c:pt idx="0">
                  <c:v>3.1549194168607013E-2</c:v>
                </c:pt>
                <c:pt idx="1">
                  <c:v>2.5925076493376501E-2</c:v>
                </c:pt>
                <c:pt idx="2">
                  <c:v>1.9457371147598559E-2</c:v>
                </c:pt>
                <c:pt idx="3">
                  <c:v>2.1005226955186751E-2</c:v>
                </c:pt>
                <c:pt idx="4">
                  <c:v>2.3683174888924512E-2</c:v>
                </c:pt>
                <c:pt idx="5">
                  <c:v>2.481491169212223E-2</c:v>
                </c:pt>
                <c:pt idx="6">
                  <c:v>2.2966901329024649E-2</c:v>
                </c:pt>
                <c:pt idx="7">
                  <c:v>2.1693356757167159E-2</c:v>
                </c:pt>
                <c:pt idx="8">
                  <c:v>2.508474647577718E-2</c:v>
                </c:pt>
                <c:pt idx="9">
                  <c:v>3.2219360006132687E-2</c:v>
                </c:pt>
                <c:pt idx="10">
                  <c:v>3.3455366889535383E-2</c:v>
                </c:pt>
                <c:pt idx="11">
                  <c:v>3.077420503855852E-2</c:v>
                </c:pt>
                <c:pt idx="12">
                  <c:v>3.166311843777065E-2</c:v>
                </c:pt>
                <c:pt idx="13">
                  <c:v>2.9573633835338661E-2</c:v>
                </c:pt>
                <c:pt idx="14">
                  <c:v>2.943829474961886E-2</c:v>
                </c:pt>
                <c:pt idx="15">
                  <c:v>3.2326555355538883E-2</c:v>
                </c:pt>
                <c:pt idx="16">
                  <c:v>3.045418321235838E-2</c:v>
                </c:pt>
                <c:pt idx="17">
                  <c:v>3.0177244147381321E-2</c:v>
                </c:pt>
                <c:pt idx="18">
                  <c:v>3.0949579617420529E-2</c:v>
                </c:pt>
                <c:pt idx="19">
                  <c:v>3.3044676701229417E-2</c:v>
                </c:pt>
                <c:pt idx="20">
                  <c:v>3.4502368865567047E-2</c:v>
                </c:pt>
                <c:pt idx="21">
                  <c:v>3.8171203781773647E-2</c:v>
                </c:pt>
                <c:pt idx="22">
                  <c:v>3.2633840746857157E-2</c:v>
                </c:pt>
                <c:pt idx="23">
                  <c:v>3.22851825867847E-2</c:v>
                </c:pt>
                <c:pt idx="24">
                  <c:v>3.4293774474369272E-2</c:v>
                </c:pt>
                <c:pt idx="25">
                  <c:v>3.3493331489235549E-2</c:v>
                </c:pt>
                <c:pt idx="26">
                  <c:v>3.2256296982208908E-2</c:v>
                </c:pt>
                <c:pt idx="27">
                  <c:v>3.256327154323236E-2</c:v>
                </c:pt>
                <c:pt idx="28">
                  <c:v>3.0215972855570969E-2</c:v>
                </c:pt>
                <c:pt idx="29">
                  <c:v>2.971323515475446E-2</c:v>
                </c:pt>
                <c:pt idx="30">
                  <c:v>2.9886044202056931E-2</c:v>
                </c:pt>
                <c:pt idx="31">
                  <c:v>3.0113049153545669E-2</c:v>
                </c:pt>
                <c:pt idx="32">
                  <c:v>3.0121682992946059E-2</c:v>
                </c:pt>
                <c:pt idx="33">
                  <c:v>2.8704102443482309E-2</c:v>
                </c:pt>
                <c:pt idx="34">
                  <c:v>3.0602403901330309E-2</c:v>
                </c:pt>
                <c:pt idx="35">
                  <c:v>3.1456536502498793E-2</c:v>
                </c:pt>
                <c:pt idx="36">
                  <c:v>3.1516667937295108E-2</c:v>
                </c:pt>
                <c:pt idx="37">
                  <c:v>3.3226585884057157E-2</c:v>
                </c:pt>
                <c:pt idx="38">
                  <c:v>3.3016326225624587E-2</c:v>
                </c:pt>
                <c:pt idx="39">
                  <c:v>3.0075909553288729E-2</c:v>
                </c:pt>
                <c:pt idx="40">
                  <c:v>3.030822714314705E-2</c:v>
                </c:pt>
                <c:pt idx="41">
                  <c:v>3.1273537834975489E-2</c:v>
                </c:pt>
                <c:pt idx="42">
                  <c:v>3.005901690014778E-2</c:v>
                </c:pt>
                <c:pt idx="43">
                  <c:v>3.0573863083611631E-2</c:v>
                </c:pt>
                <c:pt idx="44">
                  <c:v>3.254448153409624E-2</c:v>
                </c:pt>
                <c:pt idx="45">
                  <c:v>3.2420025270644671E-2</c:v>
                </c:pt>
                <c:pt idx="46">
                  <c:v>3.0841270586476861E-2</c:v>
                </c:pt>
                <c:pt idx="47">
                  <c:v>3.4545476528939613E-2</c:v>
                </c:pt>
                <c:pt idx="48">
                  <c:v>3.9378011399146942E-2</c:v>
                </c:pt>
                <c:pt idx="49">
                  <c:v>3.4585845792310457E-2</c:v>
                </c:pt>
                <c:pt idx="50">
                  <c:v>3.6889295123608737E-2</c:v>
                </c:pt>
                <c:pt idx="51">
                  <c:v>3.516974061970235E-2</c:v>
                </c:pt>
                <c:pt idx="52">
                  <c:v>3.3440411726256947E-2</c:v>
                </c:pt>
                <c:pt idx="53">
                  <c:v>3.0775515895011849E-2</c:v>
                </c:pt>
                <c:pt idx="54">
                  <c:v>2.856172806220978E-2</c:v>
                </c:pt>
                <c:pt idx="55">
                  <c:v>2.9260191711765832E-2</c:v>
                </c:pt>
                <c:pt idx="56">
                  <c:v>3.1178692703543051E-2</c:v>
                </c:pt>
                <c:pt idx="57">
                  <c:v>3.7031471681131703E-2</c:v>
                </c:pt>
                <c:pt idx="58">
                  <c:v>3.9909501581123753E-2</c:v>
                </c:pt>
                <c:pt idx="59">
                  <c:v>3.3090443177845791E-2</c:v>
                </c:pt>
                <c:pt idx="60">
                  <c:v>2.0429936026239701E-2</c:v>
                </c:pt>
                <c:pt idx="61">
                  <c:v>1.594233918003489E-2</c:v>
                </c:pt>
                <c:pt idx="62">
                  <c:v>2.6561543645322629E-2</c:v>
                </c:pt>
                <c:pt idx="63">
                  <c:v>3.5068893654044378E-2</c:v>
                </c:pt>
                <c:pt idx="64">
                  <c:v>3.0967228847484721E-2</c:v>
                </c:pt>
                <c:pt idx="65">
                  <c:v>2.602705616299417E-2</c:v>
                </c:pt>
                <c:pt idx="66">
                  <c:v>2.587150374122359E-2</c:v>
                </c:pt>
                <c:pt idx="67">
                  <c:v>2.691260699372984E-2</c:v>
                </c:pt>
                <c:pt idx="68">
                  <c:v>2.5874418970458959E-2</c:v>
                </c:pt>
                <c:pt idx="69">
                  <c:v>2.3193315376484971E-2</c:v>
                </c:pt>
                <c:pt idx="70">
                  <c:v>2.2686657383630061E-2</c:v>
                </c:pt>
                <c:pt idx="71">
                  <c:v>2.6189284143623481E-2</c:v>
                </c:pt>
                <c:pt idx="72">
                  <c:v>2.7336338114147821E-2</c:v>
                </c:pt>
                <c:pt idx="73">
                  <c:v>2.7740990571672709E-2</c:v>
                </c:pt>
                <c:pt idx="74">
                  <c:v>2.877527311984417E-2</c:v>
                </c:pt>
                <c:pt idx="75">
                  <c:v>2.8510329318482429E-2</c:v>
                </c:pt>
                <c:pt idx="76">
                  <c:v>2.7909474603405621E-2</c:v>
                </c:pt>
                <c:pt idx="77">
                  <c:v>2.354699792786898E-2</c:v>
                </c:pt>
                <c:pt idx="78">
                  <c:v>2.3516397046911521E-2</c:v>
                </c:pt>
                <c:pt idx="79">
                  <c:v>2.2115174941799771E-2</c:v>
                </c:pt>
                <c:pt idx="80">
                  <c:v>2.2268202762568419E-2</c:v>
                </c:pt>
                <c:pt idx="81">
                  <c:v>2.1244426266941788E-2</c:v>
                </c:pt>
                <c:pt idx="82">
                  <c:v>3.1177386289303839E-2</c:v>
                </c:pt>
                <c:pt idx="83">
                  <c:v>2.630647686699077E-2</c:v>
                </c:pt>
                <c:pt idx="84">
                  <c:v>2.5524833007679371E-2</c:v>
                </c:pt>
                <c:pt idx="85">
                  <c:v>2.6871534411513371E-2</c:v>
                </c:pt>
                <c:pt idx="86">
                  <c:v>2.6338851413823881E-2</c:v>
                </c:pt>
                <c:pt idx="87">
                  <c:v>2.464870108961555E-2</c:v>
                </c:pt>
                <c:pt idx="88">
                  <c:v>2.6238033764437702E-2</c:v>
                </c:pt>
                <c:pt idx="89">
                  <c:v>3.0191859532939729E-2</c:v>
                </c:pt>
                <c:pt idx="90">
                  <c:v>3.071685169632082E-2</c:v>
                </c:pt>
                <c:pt idx="91">
                  <c:v>3.1790352756617277E-2</c:v>
                </c:pt>
                <c:pt idx="92">
                  <c:v>2.9789485452214989E-2</c:v>
                </c:pt>
                <c:pt idx="93">
                  <c:v>2.7419432969366012E-2</c:v>
                </c:pt>
                <c:pt idx="94">
                  <c:v>2.5375304588112151E-2</c:v>
                </c:pt>
                <c:pt idx="95">
                  <c:v>2.727143524464504E-2</c:v>
                </c:pt>
                <c:pt idx="96">
                  <c:v>2.430072520573312E-2</c:v>
                </c:pt>
                <c:pt idx="97">
                  <c:v>2.5953063658202231E-2</c:v>
                </c:pt>
                <c:pt idx="98">
                  <c:v>2.870484051773789E-2</c:v>
                </c:pt>
                <c:pt idx="99">
                  <c:v>3.0161179689259059E-2</c:v>
                </c:pt>
                <c:pt idx="100">
                  <c:v>3.7558407981539428E-2</c:v>
                </c:pt>
                <c:pt idx="101">
                  <c:v>3.5796970668813113E-2</c:v>
                </c:pt>
              </c:numCache>
            </c:numRef>
          </c:yVal>
          <c:smooth val="0"/>
          <c:extLst>
            <c:ext xmlns:c16="http://schemas.microsoft.com/office/drawing/2014/chart" uri="{C3380CC4-5D6E-409C-BE32-E72D297353CC}">
              <c16:uniqueId val="{00000000-096C-4121-9522-6AB7243CCAAE}"/>
            </c:ext>
          </c:extLst>
        </c:ser>
        <c:ser>
          <c:idx val="1"/>
          <c:order val="1"/>
          <c:tx>
            <c:strRef>
              <c:f>Sheet1!$B$10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6:$A$157</c:f>
              <c:numCache>
                <c:formatCode>General</c:formatCode>
                <c:ptCount val="52"/>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numCache>
            </c:numRef>
          </c:xVal>
          <c:yVal>
            <c:numRef>
              <c:f>Sheet1!$B$106:$B$157</c:f>
              <c:numCache>
                <c:formatCode>General</c:formatCode>
                <c:ptCount val="52"/>
                <c:pt idx="0">
                  <c:v>3.3379430772150658E-2</c:v>
                </c:pt>
                <c:pt idx="1">
                  <c:v>3.5297770608354727E-2</c:v>
                </c:pt>
                <c:pt idx="2">
                  <c:v>3.603152077608085E-2</c:v>
                </c:pt>
                <c:pt idx="3">
                  <c:v>3.0978674639028671E-2</c:v>
                </c:pt>
                <c:pt idx="4">
                  <c:v>2.8133515753956471E-2</c:v>
                </c:pt>
                <c:pt idx="5">
                  <c:v>2.7512069607189622E-2</c:v>
                </c:pt>
                <c:pt idx="6">
                  <c:v>2.753590860107619E-2</c:v>
                </c:pt>
                <c:pt idx="7">
                  <c:v>2.7306049137985969E-2</c:v>
                </c:pt>
                <c:pt idx="8">
                  <c:v>2.683860754587173E-2</c:v>
                </c:pt>
                <c:pt idx="9">
                  <c:v>2.8577136215520639E-2</c:v>
                </c:pt>
                <c:pt idx="10">
                  <c:v>2.9045708307140341E-2</c:v>
                </c:pt>
                <c:pt idx="11">
                  <c:v>3.0151694267354031E-2</c:v>
                </c:pt>
                <c:pt idx="12">
                  <c:v>3.1278274774940933E-2</c:v>
                </c:pt>
                <c:pt idx="13">
                  <c:v>3.2623144271831599E-2</c:v>
                </c:pt>
                <c:pt idx="14">
                  <c:v>3.2081452766552027E-2</c:v>
                </c:pt>
                <c:pt idx="15">
                  <c:v>2.8476513020004542E-2</c:v>
                </c:pt>
                <c:pt idx="16">
                  <c:v>2.889792926206242E-2</c:v>
                </c:pt>
                <c:pt idx="17">
                  <c:v>2.8572345272906731E-2</c:v>
                </c:pt>
                <c:pt idx="18">
                  <c:v>2.758215728763419E-2</c:v>
                </c:pt>
                <c:pt idx="19">
                  <c:v>2.6684207925807661E-2</c:v>
                </c:pt>
                <c:pt idx="20">
                  <c:v>2.507409816863837E-2</c:v>
                </c:pt>
                <c:pt idx="21">
                  <c:v>3.7053775555914388E-2</c:v>
                </c:pt>
                <c:pt idx="22">
                  <c:v>4.1201839145334811E-2</c:v>
                </c:pt>
                <c:pt idx="23">
                  <c:v>3.952108516249337E-2</c:v>
                </c:pt>
                <c:pt idx="24">
                  <c:v>3.301132678213544E-2</c:v>
                </c:pt>
                <c:pt idx="25">
                  <c:v>3.4672282379825628E-2</c:v>
                </c:pt>
                <c:pt idx="26">
                  <c:v>3.6478521099227869E-2</c:v>
                </c:pt>
                <c:pt idx="27">
                  <c:v>3.1719960612283417E-2</c:v>
                </c:pt>
                <c:pt idx="28">
                  <c:v>2.9844699099281859E-2</c:v>
                </c:pt>
                <c:pt idx="29">
                  <c:v>2.824703792935155E-2</c:v>
                </c:pt>
                <c:pt idx="30">
                  <c:v>2.3926861689124789E-2</c:v>
                </c:pt>
                <c:pt idx="31">
                  <c:v>2.077067140814904E-2</c:v>
                </c:pt>
                <c:pt idx="32">
                  <c:v>2.3460558709885782E-2</c:v>
                </c:pt>
                <c:pt idx="33">
                  <c:v>3.042796286207031E-2</c:v>
                </c:pt>
                <c:pt idx="34">
                  <c:v>3.1037706913624011E-2</c:v>
                </c:pt>
                <c:pt idx="35">
                  <c:v>2.928997264422914E-2</c:v>
                </c:pt>
                <c:pt idx="36">
                  <c:v>2.9697936908540851E-2</c:v>
                </c:pt>
                <c:pt idx="37">
                  <c:v>3.0248130900335801E-2</c:v>
                </c:pt>
                <c:pt idx="38">
                  <c:v>3.5070387750061743E-2</c:v>
                </c:pt>
                <c:pt idx="39">
                  <c:v>3.120833777020552E-2</c:v>
                </c:pt>
                <c:pt idx="40">
                  <c:v>2.682679016675503E-2</c:v>
                </c:pt>
                <c:pt idx="41">
                  <c:v>2.4203784771293649E-2</c:v>
                </c:pt>
                <c:pt idx="42">
                  <c:v>2.4098053977022381E-2</c:v>
                </c:pt>
                <c:pt idx="43">
                  <c:v>2.4523754132153151E-2</c:v>
                </c:pt>
                <c:pt idx="44">
                  <c:v>2.2379504666963371E-2</c:v>
                </c:pt>
                <c:pt idx="45">
                  <c:v>2.104065524243157E-2</c:v>
                </c:pt>
                <c:pt idx="46">
                  <c:v>2.202824012890214E-2</c:v>
                </c:pt>
                <c:pt idx="47">
                  <c:v>2.3321641522021069E-2</c:v>
                </c:pt>
                <c:pt idx="48">
                  <c:v>2.5721900660138009E-2</c:v>
                </c:pt>
                <c:pt idx="49">
                  <c:v>2.4967370312040962E-2</c:v>
                </c:pt>
                <c:pt idx="50">
                  <c:v>2.603335979145837E-2</c:v>
                </c:pt>
                <c:pt idx="51">
                  <c:v>2.5702227757022279E-2</c:v>
                </c:pt>
              </c:numCache>
            </c:numRef>
          </c:yVal>
          <c:smooth val="0"/>
          <c:extLst>
            <c:ext xmlns:c16="http://schemas.microsoft.com/office/drawing/2014/chart" uri="{C3380CC4-5D6E-409C-BE32-E72D297353CC}">
              <c16:uniqueId val="{00000002-096C-4121-9522-6AB7243CCAAE}"/>
            </c:ext>
          </c:extLst>
        </c:ser>
        <c:ser>
          <c:idx val="2"/>
          <c:order val="2"/>
          <c:tx>
            <c:strRef>
              <c:f>Sheet1!$B$15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0:$A$161</c:f>
              <c:numCache>
                <c:formatCode>General</c:formatCode>
                <c:ptCount val="2"/>
                <c:pt idx="0">
                  <c:v>0</c:v>
                </c:pt>
                <c:pt idx="1">
                  <c:v>0.1108820277239114</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5-096C-4121-9522-6AB7243CCAAE}"/>
            </c:ext>
          </c:extLst>
        </c:ser>
        <c:ser>
          <c:idx val="3"/>
          <c:order val="3"/>
          <c:tx>
            <c:strRef>
              <c:f>Sheet1!$B$16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0.1108820277239114</c:v>
                </c:pt>
                <c:pt idx="1">
                  <c:v>0.1108820277239114</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8:$A$169</c:f>
              <c:numCache>
                <c:formatCode>General</c:formatCode>
                <c:ptCount val="2"/>
                <c:pt idx="0">
                  <c:v>0</c:v>
                </c:pt>
                <c:pt idx="1">
                  <c:v>0.11732114474802791</c:v>
                </c:pt>
              </c:numCache>
            </c:numRef>
          </c:xVal>
          <c:yVal>
            <c:numRef>
              <c:f>Sheet1!$B$168:$B$169</c:f>
              <c:numCache>
                <c:formatCode>General</c:formatCode>
                <c:ptCount val="2"/>
                <c:pt idx="0">
                  <c:v>3.1101577984060609E-2</c:v>
                </c:pt>
                <c:pt idx="1">
                  <c:v>3.1101577984060609E-2</c:v>
                </c:pt>
              </c:numCache>
            </c:numRef>
          </c:yVal>
          <c:smooth val="0"/>
          <c:extLst>
            <c:ext xmlns:c16="http://schemas.microsoft.com/office/drawing/2014/chart" uri="{C3380CC4-5D6E-409C-BE32-E72D297353CC}">
              <c16:uniqueId val="{0000000D-096C-4121-9522-6AB7243CCAAE}"/>
            </c:ext>
          </c:extLst>
        </c:ser>
        <c:ser>
          <c:idx val="5"/>
          <c:order val="5"/>
          <c:tx>
            <c:strRef>
              <c:f>Sheet1!$B$17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0.11732114474802791</c:v>
                </c:pt>
                <c:pt idx="1">
                  <c:v>0.11732114474802791</c:v>
                </c:pt>
              </c:numCache>
            </c:numRef>
          </c:xVal>
          <c:yVal>
            <c:numRef>
              <c:f>Sheet1!$B$172:$B$173</c:f>
              <c:numCache>
                <c:formatCode>General</c:formatCode>
                <c:ptCount val="2"/>
                <c:pt idx="0">
                  <c:v>3.1101577984060609E-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6:$A$177</c:f>
              <c:numCache>
                <c:formatCode>General</c:formatCode>
                <c:ptCount val="2"/>
                <c:pt idx="0">
                  <c:v>0</c:v>
                </c:pt>
                <c:pt idx="1">
                  <c:v>0.13512234665834599</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5-096C-4121-9522-6AB7243CCAAE}"/>
            </c:ext>
          </c:extLst>
        </c:ser>
        <c:ser>
          <c:idx val="7"/>
          <c:order val="7"/>
          <c:tx>
            <c:strRef>
              <c:f>Sheet1!$B$17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0:$A$181</c:f>
              <c:numCache>
                <c:formatCode>General</c:formatCode>
                <c:ptCount val="2"/>
                <c:pt idx="0">
                  <c:v>0.13512234665834599</c:v>
                </c:pt>
                <c:pt idx="1">
                  <c:v>0.13512234665834599</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4:$A$238</c:f>
              <c:numCache>
                <c:formatCode>General</c:formatCode>
                <c:ptCount val="55"/>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pt idx="52">
                  <c:v>0.11732114474802791</c:v>
                </c:pt>
                <c:pt idx="53">
                  <c:v>0.1108820277239114</c:v>
                </c:pt>
                <c:pt idx="54">
                  <c:v>0.13512234665834599</c:v>
                </c:pt>
              </c:numCache>
            </c:numRef>
          </c:xVal>
          <c:yVal>
            <c:numRef>
              <c:f>Sheet1!$B$184:$B$238</c:f>
              <c:numCache>
                <c:formatCode>General</c:formatCode>
                <c:ptCount val="55"/>
                <c:pt idx="0">
                  <c:v>3.1620668745252142E-2</c:v>
                </c:pt>
                <c:pt idx="1">
                  <c:v>3.1654790245678951E-2</c:v>
                </c:pt>
                <c:pt idx="2">
                  <c:v>3.2783325344754151E-2</c:v>
                </c:pt>
                <c:pt idx="3">
                  <c:v>3.022688607526958E-2</c:v>
                </c:pt>
                <c:pt idx="4">
                  <c:v>2.8540776744242852E-2</c:v>
                </c:pt>
                <c:pt idx="5">
                  <c:v>2.8198639317480349E-2</c:v>
                </c:pt>
                <c:pt idx="6">
                  <c:v>2.8149354774764782E-2</c:v>
                </c:pt>
                <c:pt idx="7">
                  <c:v>2.8199004366077019E-2</c:v>
                </c:pt>
                <c:pt idx="8">
                  <c:v>3.0157282303857849E-2</c:v>
                </c:pt>
                <c:pt idx="9">
                  <c:v>2.9717490317624731E-2</c:v>
                </c:pt>
                <c:pt idx="10">
                  <c:v>2.880162617160174E-2</c:v>
                </c:pt>
                <c:pt idx="11">
                  <c:v>3.0799476543192809E-2</c:v>
                </c:pt>
                <c:pt idx="12">
                  <c:v>2.8080121278043681E-2</c:v>
                </c:pt>
                <c:pt idx="13">
                  <c:v>2.8247092051713919E-2</c:v>
                </c:pt>
                <c:pt idx="14">
                  <c:v>2.639540124703324E-2</c:v>
                </c:pt>
                <c:pt idx="15">
                  <c:v>1.9220157910636009E-2</c:v>
                </c:pt>
                <c:pt idx="16">
                  <c:v>2.9292926757015069E-2</c:v>
                </c:pt>
                <c:pt idx="17">
                  <c:v>2.9541107656935999E-2</c:v>
                </c:pt>
                <c:pt idx="18">
                  <c:v>3.1154431279754719E-2</c:v>
                </c:pt>
                <c:pt idx="19">
                  <c:v>2.9461129531890291E-2</c:v>
                </c:pt>
                <c:pt idx="20">
                  <c:v>3.0313783713891131E-2</c:v>
                </c:pt>
                <c:pt idx="21">
                  <c:v>3.3508822667282862E-2</c:v>
                </c:pt>
                <c:pt idx="22">
                  <c:v>3.4739165058279807E-2</c:v>
                </c:pt>
                <c:pt idx="23">
                  <c:v>3.3561500120319547E-2</c:v>
                </c:pt>
                <c:pt idx="24">
                  <c:v>3.0961282548418428E-2</c:v>
                </c:pt>
                <c:pt idx="25">
                  <c:v>3.325613118609181E-2</c:v>
                </c:pt>
                <c:pt idx="26">
                  <c:v>3.230935798656305E-2</c:v>
                </c:pt>
                <c:pt idx="27">
                  <c:v>3.0186042242885399E-2</c:v>
                </c:pt>
                <c:pt idx="28">
                  <c:v>2.9826699740302571E-2</c:v>
                </c:pt>
                <c:pt idx="29">
                  <c:v>2.8461825588360749E-2</c:v>
                </c:pt>
                <c:pt idx="30">
                  <c:v>2.6667445839888119E-2</c:v>
                </c:pt>
                <c:pt idx="31">
                  <c:v>2.9333797528733729E-2</c:v>
                </c:pt>
                <c:pt idx="32">
                  <c:v>2.8469462201818171E-2</c:v>
                </c:pt>
                <c:pt idx="33">
                  <c:v>3.1278574864500211E-2</c:v>
                </c:pt>
                <c:pt idx="34">
                  <c:v>3.362517184260494E-2</c:v>
                </c:pt>
                <c:pt idx="35">
                  <c:v>3.1259339751075838E-2</c:v>
                </c:pt>
                <c:pt idx="36">
                  <c:v>3.2466678789921898E-2</c:v>
                </c:pt>
                <c:pt idx="37">
                  <c:v>3.336561461501103E-2</c:v>
                </c:pt>
                <c:pt idx="38">
                  <c:v>3.1897061212580187E-2</c:v>
                </c:pt>
                <c:pt idx="39">
                  <c:v>3.0591232179052279E-2</c:v>
                </c:pt>
                <c:pt idx="40">
                  <c:v>2.6490890509876141E-2</c:v>
                </c:pt>
                <c:pt idx="41">
                  <c:v>2.5005655171483909E-2</c:v>
                </c:pt>
                <c:pt idx="42">
                  <c:v>2.471524594195228E-2</c:v>
                </c:pt>
                <c:pt idx="43">
                  <c:v>2.5740688254943609E-2</c:v>
                </c:pt>
                <c:pt idx="44">
                  <c:v>2.534241769031121E-2</c:v>
                </c:pt>
                <c:pt idx="45">
                  <c:v>2.5785004878787769E-2</c:v>
                </c:pt>
                <c:pt idx="46">
                  <c:v>2.6712805427711591E-2</c:v>
                </c:pt>
                <c:pt idx="47">
                  <c:v>2.6016063432124481E-2</c:v>
                </c:pt>
                <c:pt idx="48">
                  <c:v>2.645901837190287E-2</c:v>
                </c:pt>
                <c:pt idx="49">
                  <c:v>2.253097533810856E-2</c:v>
                </c:pt>
                <c:pt idx="50">
                  <c:v>2.3407974477709061E-2</c:v>
                </c:pt>
                <c:pt idx="51">
                  <c:v>2.5267129597052979E-2</c:v>
                </c:pt>
                <c:pt idx="52">
                  <c:v>3.1101577984060599E-2</c:v>
                </c:pt>
                <c:pt idx="53">
                  <c:v>3.3390590546211449E-2</c:v>
                </c:pt>
                <c:pt idx="54">
                  <c:v>2.47735092998775E-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18089307194123574"/>
          <c:min val="7.5697543274504286E-2"/>
        </c:scaling>
        <c:delete val="0"/>
        <c:axPos val="b"/>
        <c:title>
          <c:tx>
            <c:rich>
              <a:bodyPr rot="0" spcFirstLastPara="1" vertOverflow="ellipsis" vert="horz" wrap="square" anchor="ctr" anchorCtr="1"/>
              <a:lstStyle/>
              <a:p>
                <a:pPr>
                  <a:defRPr sz="800" b="0">
                    <a:solidFill>
                      <a:srgbClr val="575555"/>
                    </a:solidFill>
                    <a:latin typeface="Nexa Bold"/>
                  </a:defRPr>
                </a:pPr>
                <a:r>
                  <a:rPr lang="en-US"/>
                  <a:t>Price Ix vs. Gillette Fusion5</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3084051742229012</c:v>
                </c:pt>
                <c:pt idx="1">
                  <c:v>0.31591786351078627</c:v>
                </c:pt>
                <c:pt idx="2">
                  <c:v>0.32058023334902946</c:v>
                </c:pt>
                <c:pt idx="3">
                  <c:v>0.31551466024025998</c:v>
                </c:pt>
                <c:pt idx="4">
                  <c:v>0.31248983133575575</c:v>
                </c:pt>
                <c:pt idx="5">
                  <c:v>0.31209899175068745</c:v>
                </c:pt>
                <c:pt idx="6">
                  <c:v>0.31243915630070307</c:v>
                </c:pt>
                <c:pt idx="7">
                  <c:v>0.3133619793471481</c:v>
                </c:pt>
                <c:pt idx="8">
                  <c:v>0.31671907756813417</c:v>
                </c:pt>
                <c:pt idx="9">
                  <c:v>0.31082322826247477</c:v>
                </c:pt>
                <c:pt idx="10">
                  <c:v>0.31047212859141043</c:v>
                </c:pt>
                <c:pt idx="11">
                  <c:v>0.30851195946449417</c:v>
                </c:pt>
                <c:pt idx="12">
                  <c:v>0.30743476600274672</c:v>
                </c:pt>
                <c:pt idx="13">
                  <c:v>0.30557876018361524</c:v>
                </c:pt>
                <c:pt idx="14">
                  <c:v>0.30608180521683359</c:v>
                </c:pt>
                <c:pt idx="15">
                  <c:v>0.30537959003209308</c:v>
                </c:pt>
                <c:pt idx="16">
                  <c:v>0.30479028449342177</c:v>
                </c:pt>
                <c:pt idx="17">
                  <c:v>0.30535697989231286</c:v>
                </c:pt>
                <c:pt idx="18">
                  <c:v>0.30758733419811496</c:v>
                </c:pt>
                <c:pt idx="19">
                  <c:v>0.30384356418742708</c:v>
                </c:pt>
                <c:pt idx="20">
                  <c:v>0.30255871389344829</c:v>
                </c:pt>
                <c:pt idx="21">
                  <c:v>0.30131492720175512</c:v>
                </c:pt>
                <c:pt idx="22">
                  <c:v>0.30402402402402401</c:v>
                </c:pt>
                <c:pt idx="23">
                  <c:v>0.3041818228723267</c:v>
                </c:pt>
                <c:pt idx="24">
                  <c:v>0.30380595989557657</c:v>
                </c:pt>
                <c:pt idx="25">
                  <c:v>0.30266464709715091</c:v>
                </c:pt>
                <c:pt idx="26">
                  <c:v>0.30198090992432275</c:v>
                </c:pt>
                <c:pt idx="27">
                  <c:v>0.30261018186645428</c:v>
                </c:pt>
                <c:pt idx="28">
                  <c:v>0.30379475941413642</c:v>
                </c:pt>
                <c:pt idx="29">
                  <c:v>0.30510575091808745</c:v>
                </c:pt>
                <c:pt idx="30">
                  <c:v>0.30547263681592041</c:v>
                </c:pt>
                <c:pt idx="31">
                  <c:v>0.30191808942530629</c:v>
                </c:pt>
                <c:pt idx="32">
                  <c:v>0.30004016835781272</c:v>
                </c:pt>
                <c:pt idx="33">
                  <c:v>0.30140260803244229</c:v>
                </c:pt>
                <c:pt idx="34">
                  <c:v>0.30315931183998879</c:v>
                </c:pt>
                <c:pt idx="35">
                  <c:v>0.30423707530585153</c:v>
                </c:pt>
                <c:pt idx="36">
                  <c:v>0.30339368848493503</c:v>
                </c:pt>
                <c:pt idx="37">
                  <c:v>0.30312142377964563</c:v>
                </c:pt>
                <c:pt idx="38">
                  <c:v>0.30421477922015827</c:v>
                </c:pt>
                <c:pt idx="39">
                  <c:v>0.30360700245050509</c:v>
                </c:pt>
                <c:pt idx="40">
                  <c:v>0.30482776067799466</c:v>
                </c:pt>
                <c:pt idx="41">
                  <c:v>0.30496561046396053</c:v>
                </c:pt>
                <c:pt idx="42">
                  <c:v>0.30474260101509459</c:v>
                </c:pt>
                <c:pt idx="43">
                  <c:v>0.30487658997567685</c:v>
                </c:pt>
                <c:pt idx="44">
                  <c:v>0.30417377406912238</c:v>
                </c:pt>
                <c:pt idx="45">
                  <c:v>0.30429474182711519</c:v>
                </c:pt>
                <c:pt idx="46">
                  <c:v>0.30416987037597953</c:v>
                </c:pt>
                <c:pt idx="47">
                  <c:v>0.30177142857142858</c:v>
                </c:pt>
                <c:pt idx="48">
                  <c:v>0.30034428178139644</c:v>
                </c:pt>
                <c:pt idx="49">
                  <c:v>0.30020553910468561</c:v>
                </c:pt>
                <c:pt idx="50">
                  <c:v>0.30020393921120919</c:v>
                </c:pt>
                <c:pt idx="51">
                  <c:v>0.30029572161037082</c:v>
                </c:pt>
                <c:pt idx="52">
                  <c:v>0.30085731375024921</c:v>
                </c:pt>
                <c:pt idx="53">
                  <c:v>0.30374794069192751</c:v>
                </c:pt>
                <c:pt idx="54">
                  <c:v>0.30475569923731716</c:v>
                </c:pt>
                <c:pt idx="55">
                  <c:v>0.30484411191281596</c:v>
                </c:pt>
                <c:pt idx="56">
                  <c:v>0.29666067320451317</c:v>
                </c:pt>
                <c:pt idx="57">
                  <c:v>0.25400835544515327</c:v>
                </c:pt>
                <c:pt idx="58">
                  <c:v>0.23382400369980466</c:v>
                </c:pt>
                <c:pt idx="59">
                  <c:v>0.23943026116791946</c:v>
                </c:pt>
                <c:pt idx="60">
                  <c:v>0.25369491863085675</c:v>
                </c:pt>
                <c:pt idx="61">
                  <c:v>0.26335839430757868</c:v>
                </c:pt>
                <c:pt idx="62">
                  <c:v>0.24811366501794199</c:v>
                </c:pt>
                <c:pt idx="63">
                  <c:v>0.25331883600138116</c:v>
                </c:pt>
                <c:pt idx="64">
                  <c:v>0.27606841827999473</c:v>
                </c:pt>
                <c:pt idx="65">
                  <c:v>0.28160478817918266</c:v>
                </c:pt>
                <c:pt idx="66">
                  <c:v>0.29229782021117312</c:v>
                </c:pt>
                <c:pt idx="67">
                  <c:v>0.30127414335954045</c:v>
                </c:pt>
                <c:pt idx="68">
                  <c:v>0.30305886879569066</c:v>
                </c:pt>
                <c:pt idx="69">
                  <c:v>0.30492991022208221</c:v>
                </c:pt>
                <c:pt idx="70">
                  <c:v>0.30628978911194849</c:v>
                </c:pt>
                <c:pt idx="71">
                  <c:v>0.30507690665654685</c:v>
                </c:pt>
                <c:pt idx="72">
                  <c:v>0.30607670596048481</c:v>
                </c:pt>
                <c:pt idx="73">
                  <c:v>0.3116373241246056</c:v>
                </c:pt>
                <c:pt idx="74">
                  <c:v>0.31424842998124136</c:v>
                </c:pt>
                <c:pt idx="75">
                  <c:v>0.31320176754871626</c:v>
                </c:pt>
                <c:pt idx="76">
                  <c:v>0.31380953870863448</c:v>
                </c:pt>
                <c:pt idx="77">
                  <c:v>0.32590348409435188</c:v>
                </c:pt>
                <c:pt idx="78">
                  <c:v>0.33061711871301291</c:v>
                </c:pt>
                <c:pt idx="79">
                  <c:v>0.33376024237416513</c:v>
                </c:pt>
                <c:pt idx="80">
                  <c:v>0.334863282523373</c:v>
                </c:pt>
                <c:pt idx="81">
                  <c:v>0.33732775797715603</c:v>
                </c:pt>
                <c:pt idx="82">
                  <c:v>0.3340239432262419</c:v>
                </c:pt>
                <c:pt idx="83">
                  <c:v>0.32813911724353323</c:v>
                </c:pt>
                <c:pt idx="84">
                  <c:v>0.32451377453380215</c:v>
                </c:pt>
                <c:pt idx="85">
                  <c:v>0.3242920313313794</c:v>
                </c:pt>
                <c:pt idx="86">
                  <c:v>0.32834757834757833</c:v>
                </c:pt>
                <c:pt idx="87">
                  <c:v>0.33024565689467972</c:v>
                </c:pt>
                <c:pt idx="88">
                  <c:v>0.33047076978575868</c:v>
                </c:pt>
                <c:pt idx="89">
                  <c:v>0.32960364974033468</c:v>
                </c:pt>
                <c:pt idx="90">
                  <c:v>0.32877782475231143</c:v>
                </c:pt>
                <c:pt idx="91">
                  <c:v>0.33265505668454848</c:v>
                </c:pt>
                <c:pt idx="92">
                  <c:v>0.33383080669232584</c:v>
                </c:pt>
                <c:pt idx="93">
                  <c:v>0.33445095599479496</c:v>
                </c:pt>
                <c:pt idx="94">
                  <c:v>0.33425385899470356</c:v>
                </c:pt>
                <c:pt idx="95">
                  <c:v>0.33302358553829059</c:v>
                </c:pt>
                <c:pt idx="96">
                  <c:v>0.3331230702831911</c:v>
                </c:pt>
                <c:pt idx="97">
                  <c:v>0.33248279672509923</c:v>
                </c:pt>
                <c:pt idx="98">
                  <c:v>0.33184443040565192</c:v>
                </c:pt>
                <c:pt idx="99">
                  <c:v>0.31234357273380736</c:v>
                </c:pt>
                <c:pt idx="100">
                  <c:v>0.30123106937136429</c:v>
                </c:pt>
                <c:pt idx="101">
                  <c:v>0.30056872662328632</c:v>
                </c:pt>
              </c:numCache>
            </c:numRef>
          </c:xVal>
          <c:yVal>
            <c:numRef>
              <c:f>Sheet1!$B$2:$B$103</c:f>
              <c:numCache>
                <c:formatCode>General</c:formatCode>
                <c:ptCount val="102"/>
                <c:pt idx="0">
                  <c:v>3.1549194168607006E-2</c:v>
                </c:pt>
                <c:pt idx="1">
                  <c:v>2.5925076493376501E-2</c:v>
                </c:pt>
                <c:pt idx="2">
                  <c:v>1.9457371147598559E-2</c:v>
                </c:pt>
                <c:pt idx="3">
                  <c:v>2.1005226955186754E-2</c:v>
                </c:pt>
                <c:pt idx="4">
                  <c:v>2.3683174888924508E-2</c:v>
                </c:pt>
                <c:pt idx="5">
                  <c:v>2.4814911692122233E-2</c:v>
                </c:pt>
                <c:pt idx="6">
                  <c:v>2.2966901329024649E-2</c:v>
                </c:pt>
                <c:pt idx="7">
                  <c:v>2.1693356757167159E-2</c:v>
                </c:pt>
                <c:pt idx="8">
                  <c:v>2.508474647577718E-2</c:v>
                </c:pt>
                <c:pt idx="9">
                  <c:v>3.2219360006132694E-2</c:v>
                </c:pt>
                <c:pt idx="10">
                  <c:v>3.3455366889535383E-2</c:v>
                </c:pt>
                <c:pt idx="11">
                  <c:v>3.0774205038558523E-2</c:v>
                </c:pt>
                <c:pt idx="12">
                  <c:v>3.166311843777065E-2</c:v>
                </c:pt>
                <c:pt idx="13">
                  <c:v>2.9573633835338665E-2</c:v>
                </c:pt>
                <c:pt idx="14">
                  <c:v>2.9438294749618857E-2</c:v>
                </c:pt>
                <c:pt idx="15">
                  <c:v>3.2326555355538883E-2</c:v>
                </c:pt>
                <c:pt idx="16">
                  <c:v>3.0454183212358377E-2</c:v>
                </c:pt>
                <c:pt idx="17">
                  <c:v>3.0177244147381318E-2</c:v>
                </c:pt>
                <c:pt idx="18">
                  <c:v>3.0949579617420526E-2</c:v>
                </c:pt>
                <c:pt idx="19">
                  <c:v>3.3044676701229417E-2</c:v>
                </c:pt>
                <c:pt idx="20">
                  <c:v>3.4502368865567047E-2</c:v>
                </c:pt>
                <c:pt idx="21">
                  <c:v>3.8171203781773647E-2</c:v>
                </c:pt>
                <c:pt idx="22">
                  <c:v>3.2633840746857157E-2</c:v>
                </c:pt>
                <c:pt idx="23">
                  <c:v>3.22851825867847E-2</c:v>
                </c:pt>
                <c:pt idx="24">
                  <c:v>3.4293774474369265E-2</c:v>
                </c:pt>
                <c:pt idx="25">
                  <c:v>3.3493331489235549E-2</c:v>
                </c:pt>
                <c:pt idx="26">
                  <c:v>3.2256296982208908E-2</c:v>
                </c:pt>
                <c:pt idx="27">
                  <c:v>3.256327154323236E-2</c:v>
                </c:pt>
                <c:pt idx="28">
                  <c:v>3.0215972855570965E-2</c:v>
                </c:pt>
                <c:pt idx="29">
                  <c:v>2.971323515475446E-2</c:v>
                </c:pt>
                <c:pt idx="30">
                  <c:v>2.9886044202056927E-2</c:v>
                </c:pt>
                <c:pt idx="31">
                  <c:v>3.0113049153545669E-2</c:v>
                </c:pt>
                <c:pt idx="32">
                  <c:v>3.0121682992946059E-2</c:v>
                </c:pt>
                <c:pt idx="33">
                  <c:v>2.8704102443482309E-2</c:v>
                </c:pt>
                <c:pt idx="34">
                  <c:v>3.0602403901330309E-2</c:v>
                </c:pt>
                <c:pt idx="35">
                  <c:v>3.1456536502498786E-2</c:v>
                </c:pt>
                <c:pt idx="36">
                  <c:v>3.1516667937295108E-2</c:v>
                </c:pt>
                <c:pt idx="37">
                  <c:v>3.3226585884057164E-2</c:v>
                </c:pt>
                <c:pt idx="38">
                  <c:v>3.3016326225624587E-2</c:v>
                </c:pt>
                <c:pt idx="39">
                  <c:v>3.0075909553288729E-2</c:v>
                </c:pt>
                <c:pt idx="40">
                  <c:v>3.0308227143147046E-2</c:v>
                </c:pt>
                <c:pt idx="41">
                  <c:v>3.1273537834975489E-2</c:v>
                </c:pt>
                <c:pt idx="42">
                  <c:v>3.0059016900147784E-2</c:v>
                </c:pt>
                <c:pt idx="43">
                  <c:v>3.0573863083611635E-2</c:v>
                </c:pt>
                <c:pt idx="44">
                  <c:v>3.254448153409624E-2</c:v>
                </c:pt>
                <c:pt idx="45">
                  <c:v>3.2420025270644671E-2</c:v>
                </c:pt>
                <c:pt idx="46">
                  <c:v>3.0841270586476857E-2</c:v>
                </c:pt>
                <c:pt idx="47">
                  <c:v>3.4545476528939606E-2</c:v>
                </c:pt>
                <c:pt idx="48">
                  <c:v>3.9378011399146942E-2</c:v>
                </c:pt>
                <c:pt idx="49">
                  <c:v>3.4585845792310457E-2</c:v>
                </c:pt>
                <c:pt idx="50">
                  <c:v>3.6889295123608744E-2</c:v>
                </c:pt>
                <c:pt idx="51">
                  <c:v>3.516974061970235E-2</c:v>
                </c:pt>
                <c:pt idx="52">
                  <c:v>3.3440411726256954E-2</c:v>
                </c:pt>
                <c:pt idx="53">
                  <c:v>3.0775515895011849E-2</c:v>
                </c:pt>
                <c:pt idx="54">
                  <c:v>2.856172806220978E-2</c:v>
                </c:pt>
                <c:pt idx="55">
                  <c:v>2.9260191711765828E-2</c:v>
                </c:pt>
                <c:pt idx="56">
                  <c:v>3.1178692703543048E-2</c:v>
                </c:pt>
                <c:pt idx="57">
                  <c:v>3.7031471681131703E-2</c:v>
                </c:pt>
                <c:pt idx="58">
                  <c:v>3.9909501581123753E-2</c:v>
                </c:pt>
                <c:pt idx="59">
                  <c:v>3.3090443177845791E-2</c:v>
                </c:pt>
                <c:pt idx="60">
                  <c:v>2.0429936026239697E-2</c:v>
                </c:pt>
                <c:pt idx="61">
                  <c:v>1.5942339180034886E-2</c:v>
                </c:pt>
                <c:pt idx="62">
                  <c:v>2.6561543645322632E-2</c:v>
                </c:pt>
                <c:pt idx="63">
                  <c:v>3.5068893654044385E-2</c:v>
                </c:pt>
                <c:pt idx="64">
                  <c:v>3.0967228847484717E-2</c:v>
                </c:pt>
                <c:pt idx="65">
                  <c:v>2.6027056162994167E-2</c:v>
                </c:pt>
                <c:pt idx="66">
                  <c:v>2.5871503741223587E-2</c:v>
                </c:pt>
                <c:pt idx="67">
                  <c:v>2.691260699372984E-2</c:v>
                </c:pt>
                <c:pt idx="68">
                  <c:v>2.5874418970458959E-2</c:v>
                </c:pt>
                <c:pt idx="69">
                  <c:v>2.3193315376484971E-2</c:v>
                </c:pt>
                <c:pt idx="70">
                  <c:v>2.2686657383630057E-2</c:v>
                </c:pt>
                <c:pt idx="71">
                  <c:v>2.6189284143623485E-2</c:v>
                </c:pt>
                <c:pt idx="72">
                  <c:v>2.7336338114147821E-2</c:v>
                </c:pt>
                <c:pt idx="73">
                  <c:v>2.7740990571672709E-2</c:v>
                </c:pt>
                <c:pt idx="74">
                  <c:v>2.8775273119844166E-2</c:v>
                </c:pt>
                <c:pt idx="75">
                  <c:v>2.8510329318482425E-2</c:v>
                </c:pt>
                <c:pt idx="76">
                  <c:v>2.7909474603405617E-2</c:v>
                </c:pt>
                <c:pt idx="77">
                  <c:v>2.354699792786898E-2</c:v>
                </c:pt>
                <c:pt idx="78">
                  <c:v>2.3516397046911525E-2</c:v>
                </c:pt>
                <c:pt idx="79">
                  <c:v>2.2115174941799768E-2</c:v>
                </c:pt>
                <c:pt idx="80">
                  <c:v>2.2268202762568419E-2</c:v>
                </c:pt>
                <c:pt idx="81">
                  <c:v>2.1244426266941792E-2</c:v>
                </c:pt>
                <c:pt idx="82">
                  <c:v>3.1177386289303839E-2</c:v>
                </c:pt>
                <c:pt idx="83">
                  <c:v>2.6306476866990773E-2</c:v>
                </c:pt>
                <c:pt idx="84">
                  <c:v>2.5524833007679375E-2</c:v>
                </c:pt>
                <c:pt idx="85">
                  <c:v>2.6871534411513368E-2</c:v>
                </c:pt>
                <c:pt idx="86">
                  <c:v>2.6338851413823878E-2</c:v>
                </c:pt>
                <c:pt idx="87">
                  <c:v>2.4648701089615546E-2</c:v>
                </c:pt>
                <c:pt idx="88">
                  <c:v>2.6238033764437702E-2</c:v>
                </c:pt>
                <c:pt idx="89">
                  <c:v>3.0191859532939729E-2</c:v>
                </c:pt>
                <c:pt idx="90">
                  <c:v>3.0716851696320817E-2</c:v>
                </c:pt>
                <c:pt idx="91">
                  <c:v>3.1790352756617284E-2</c:v>
                </c:pt>
                <c:pt idx="92">
                  <c:v>2.9789485452214992E-2</c:v>
                </c:pt>
                <c:pt idx="93">
                  <c:v>2.7419432969366012E-2</c:v>
                </c:pt>
                <c:pt idx="94">
                  <c:v>2.5375304588112154E-2</c:v>
                </c:pt>
                <c:pt idx="95">
                  <c:v>2.7271435244645044E-2</c:v>
                </c:pt>
                <c:pt idx="96">
                  <c:v>2.4300725205733124E-2</c:v>
                </c:pt>
                <c:pt idx="97">
                  <c:v>2.5953063658202231E-2</c:v>
                </c:pt>
                <c:pt idx="98">
                  <c:v>2.870484051773789E-2</c:v>
                </c:pt>
                <c:pt idx="99">
                  <c:v>3.0161179689259059E-2</c:v>
                </c:pt>
                <c:pt idx="100">
                  <c:v>3.7558407981539428E-2</c:v>
                </c:pt>
                <c:pt idx="101">
                  <c:v>3.5796970668813106E-2</c:v>
                </c:pt>
              </c:numCache>
            </c:numRef>
          </c:yVal>
          <c:smooth val="0"/>
          <c:extLst>
            <c:ext xmlns:c16="http://schemas.microsoft.com/office/drawing/2014/chart" uri="{C3380CC4-5D6E-409C-BE32-E72D297353CC}">
              <c16:uniqueId val="{00000000-F32D-48B7-BC20-E66FC6253BAD}"/>
            </c:ext>
          </c:extLst>
        </c:ser>
        <c:ser>
          <c:idx val="1"/>
          <c:order val="1"/>
          <c:tx>
            <c:strRef>
              <c:f>Sheet1!$B$10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6:$A$157</c:f>
              <c:numCache>
                <c:formatCode>General</c:formatCode>
                <c:ptCount val="52"/>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numCache>
            </c:numRef>
          </c:xVal>
          <c:yVal>
            <c:numRef>
              <c:f>Sheet1!$B$106:$B$157</c:f>
              <c:numCache>
                <c:formatCode>General</c:formatCode>
                <c:ptCount val="52"/>
                <c:pt idx="0">
                  <c:v>3.3379430772150658E-2</c:v>
                </c:pt>
                <c:pt idx="1">
                  <c:v>3.5297770608354727E-2</c:v>
                </c:pt>
                <c:pt idx="2">
                  <c:v>3.603152077608085E-2</c:v>
                </c:pt>
                <c:pt idx="3">
                  <c:v>3.0978674639028675E-2</c:v>
                </c:pt>
                <c:pt idx="4">
                  <c:v>2.8133515753956471E-2</c:v>
                </c:pt>
                <c:pt idx="5">
                  <c:v>2.7512069607189618E-2</c:v>
                </c:pt>
                <c:pt idx="6">
                  <c:v>2.7535908601076187E-2</c:v>
                </c:pt>
                <c:pt idx="7">
                  <c:v>2.7306049137985969E-2</c:v>
                </c:pt>
                <c:pt idx="8">
                  <c:v>2.6838607545871734E-2</c:v>
                </c:pt>
                <c:pt idx="9">
                  <c:v>2.8577136215520643E-2</c:v>
                </c:pt>
                <c:pt idx="10">
                  <c:v>2.9045708307140341E-2</c:v>
                </c:pt>
                <c:pt idx="11">
                  <c:v>3.0151694267354034E-2</c:v>
                </c:pt>
                <c:pt idx="12">
                  <c:v>3.1278274774940926E-2</c:v>
                </c:pt>
                <c:pt idx="13">
                  <c:v>3.2623144271831599E-2</c:v>
                </c:pt>
                <c:pt idx="14">
                  <c:v>3.2081452766552027E-2</c:v>
                </c:pt>
                <c:pt idx="15">
                  <c:v>2.8476513020004538E-2</c:v>
                </c:pt>
                <c:pt idx="16">
                  <c:v>2.8897929262062423E-2</c:v>
                </c:pt>
                <c:pt idx="17">
                  <c:v>2.8572345272906727E-2</c:v>
                </c:pt>
                <c:pt idx="18">
                  <c:v>2.7582157287634194E-2</c:v>
                </c:pt>
                <c:pt idx="19">
                  <c:v>2.6684207925807661E-2</c:v>
                </c:pt>
                <c:pt idx="20">
                  <c:v>2.5074098168638374E-2</c:v>
                </c:pt>
                <c:pt idx="21">
                  <c:v>3.7053775555914395E-2</c:v>
                </c:pt>
                <c:pt idx="22">
                  <c:v>4.1201839145334811E-2</c:v>
                </c:pt>
                <c:pt idx="23">
                  <c:v>3.952108516249337E-2</c:v>
                </c:pt>
                <c:pt idx="24">
                  <c:v>3.301132678213544E-2</c:v>
                </c:pt>
                <c:pt idx="25">
                  <c:v>3.4672282379825628E-2</c:v>
                </c:pt>
                <c:pt idx="26">
                  <c:v>3.6478521099227869E-2</c:v>
                </c:pt>
                <c:pt idx="27">
                  <c:v>3.1719960612283417E-2</c:v>
                </c:pt>
                <c:pt idx="28">
                  <c:v>2.9844699099281863E-2</c:v>
                </c:pt>
                <c:pt idx="29">
                  <c:v>2.8247037929351546E-2</c:v>
                </c:pt>
                <c:pt idx="30">
                  <c:v>2.3926861689124793E-2</c:v>
                </c:pt>
                <c:pt idx="31">
                  <c:v>2.0770671408149036E-2</c:v>
                </c:pt>
                <c:pt idx="32">
                  <c:v>2.3460558709885785E-2</c:v>
                </c:pt>
                <c:pt idx="33">
                  <c:v>3.0427962862070307E-2</c:v>
                </c:pt>
                <c:pt idx="34">
                  <c:v>3.1037706913624008E-2</c:v>
                </c:pt>
                <c:pt idx="35">
                  <c:v>2.928997264422914E-2</c:v>
                </c:pt>
                <c:pt idx="36">
                  <c:v>2.9697936908540855E-2</c:v>
                </c:pt>
                <c:pt idx="37">
                  <c:v>3.0248130900335804E-2</c:v>
                </c:pt>
                <c:pt idx="38">
                  <c:v>3.5070387750061743E-2</c:v>
                </c:pt>
                <c:pt idx="39">
                  <c:v>3.1208337770205517E-2</c:v>
                </c:pt>
                <c:pt idx="40">
                  <c:v>2.6826790166755026E-2</c:v>
                </c:pt>
                <c:pt idx="41">
                  <c:v>2.4203784771293646E-2</c:v>
                </c:pt>
                <c:pt idx="42">
                  <c:v>2.4098053977022377E-2</c:v>
                </c:pt>
                <c:pt idx="43">
                  <c:v>2.4523754132153155E-2</c:v>
                </c:pt>
                <c:pt idx="44">
                  <c:v>2.2379504666963371E-2</c:v>
                </c:pt>
                <c:pt idx="45">
                  <c:v>2.104065524243157E-2</c:v>
                </c:pt>
                <c:pt idx="46">
                  <c:v>2.2028240128902143E-2</c:v>
                </c:pt>
                <c:pt idx="47">
                  <c:v>2.3321641522021073E-2</c:v>
                </c:pt>
                <c:pt idx="48">
                  <c:v>2.5721900660138006E-2</c:v>
                </c:pt>
                <c:pt idx="49">
                  <c:v>2.4967370312040958E-2</c:v>
                </c:pt>
                <c:pt idx="50">
                  <c:v>2.6033359791458374E-2</c:v>
                </c:pt>
                <c:pt idx="51">
                  <c:v>2.5702227757022279E-2</c:v>
                </c:pt>
              </c:numCache>
            </c:numRef>
          </c:yVal>
          <c:smooth val="0"/>
          <c:extLst>
            <c:ext xmlns:c16="http://schemas.microsoft.com/office/drawing/2014/chart" uri="{C3380CC4-5D6E-409C-BE32-E72D297353CC}">
              <c16:uniqueId val="{00000002-F32D-48B7-BC20-E66FC6253BAD}"/>
            </c:ext>
          </c:extLst>
        </c:ser>
        <c:ser>
          <c:idx val="2"/>
          <c:order val="2"/>
          <c:tx>
            <c:strRef>
              <c:f>Sheet1!$B$159</c:f>
              <c:strCache>
                <c:ptCount val="1"/>
                <c:pt idx="0">
                  <c:v>Custom Linep3yQ</c:v>
                </c:pt>
              </c:strCache>
            </c:strRef>
          </c:tx>
          <c:spPr>
            <a:ln w="19050" cap="rnd">
              <a:solidFill>
                <a:srgbClr val="C00000"/>
              </a:solidFill>
              <a:prstDash val="sysDot"/>
              <a:round/>
            </a:ln>
            <a:effectLst/>
          </c:spPr>
          <c:marker>
            <c:symbol val="none"/>
          </c:marker>
          <c:xVal>
            <c:numRef>
              <c:f>Sheet1!$A$160:$A$161</c:f>
              <c:numCache>
                <c:formatCode>General</c:formatCode>
                <c:ptCount val="2"/>
                <c:pt idx="0">
                  <c:v>0</c:v>
                </c:pt>
                <c:pt idx="1">
                  <c:v>0.27575744047645689</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3-F32D-48B7-BC20-E66FC6253BAD}"/>
            </c:ext>
          </c:extLst>
        </c:ser>
        <c:ser>
          <c:idx val="3"/>
          <c:order val="3"/>
          <c:tx>
            <c:strRef>
              <c:f>Sheet1!$B$16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0.27575744047645689</c:v>
                </c:pt>
                <c:pt idx="1">
                  <c:v>0.27575744047645689</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8:$A$169</c:f>
              <c:numCache>
                <c:formatCode>General</c:formatCode>
                <c:ptCount val="2"/>
                <c:pt idx="0">
                  <c:v>0</c:v>
                </c:pt>
                <c:pt idx="1">
                  <c:v>0.28987004975079905</c:v>
                </c:pt>
              </c:numCache>
            </c:numRef>
          </c:xVal>
          <c:yVal>
            <c:numRef>
              <c:f>Sheet1!$B$168:$B$169</c:f>
              <c:numCache>
                <c:formatCode>General</c:formatCode>
                <c:ptCount val="2"/>
                <c:pt idx="0">
                  <c:v>3.1101577984060606E-2</c:v>
                </c:pt>
                <c:pt idx="1">
                  <c:v>3.1101577984060606E-2</c:v>
                </c:pt>
              </c:numCache>
            </c:numRef>
          </c:yVal>
          <c:smooth val="0"/>
          <c:extLst>
            <c:ext xmlns:c16="http://schemas.microsoft.com/office/drawing/2014/chart" uri="{C3380CC4-5D6E-409C-BE32-E72D297353CC}">
              <c16:uniqueId val="{0000000A-F32D-48B7-BC20-E66FC6253BAD}"/>
            </c:ext>
          </c:extLst>
        </c:ser>
        <c:ser>
          <c:idx val="5"/>
          <c:order val="5"/>
          <c:tx>
            <c:strRef>
              <c:f>Sheet1!$B$17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0.28987004975079905</c:v>
                </c:pt>
                <c:pt idx="1">
                  <c:v>0.28987004975079905</c:v>
                </c:pt>
              </c:numCache>
            </c:numRef>
          </c:xVal>
          <c:yVal>
            <c:numRef>
              <c:f>Sheet1!$B$172:$B$173</c:f>
              <c:numCache>
                <c:formatCode>General</c:formatCode>
                <c:ptCount val="2"/>
                <c:pt idx="0">
                  <c:v>3.1101577984060606E-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6:$A$177</c:f>
              <c:numCache>
                <c:formatCode>General</c:formatCode>
                <c:ptCount val="2"/>
                <c:pt idx="0">
                  <c:v>0</c:v>
                </c:pt>
                <c:pt idx="1">
                  <c:v>0.32888493428125432</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1-F32D-48B7-BC20-E66FC6253BAD}"/>
            </c:ext>
          </c:extLst>
        </c:ser>
        <c:ser>
          <c:idx val="7"/>
          <c:order val="7"/>
          <c:tx>
            <c:strRef>
              <c:f>Sheet1!$B$17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0:$A$181</c:f>
              <c:numCache>
                <c:formatCode>General</c:formatCode>
                <c:ptCount val="2"/>
                <c:pt idx="0">
                  <c:v>0.32888493428125432</c:v>
                </c:pt>
                <c:pt idx="1">
                  <c:v>0.32888493428125432</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4:$A$238</c:f>
              <c:numCache>
                <c:formatCode>General</c:formatCode>
                <c:ptCount val="55"/>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pt idx="52">
                  <c:v>0.28987004975079905</c:v>
                </c:pt>
                <c:pt idx="53">
                  <c:v>0.27575744047645689</c:v>
                </c:pt>
                <c:pt idx="54">
                  <c:v>0.32888493428125432</c:v>
                </c:pt>
              </c:numCache>
            </c:numRef>
          </c:xVal>
          <c:yVal>
            <c:numRef>
              <c:f>Sheet1!$B$184:$B$238</c:f>
              <c:numCache>
                <c:formatCode>General</c:formatCode>
                <c:ptCount val="55"/>
                <c:pt idx="0">
                  <c:v>2.9413873016704839E-2</c:v>
                </c:pt>
                <c:pt idx="1">
                  <c:v>2.9896344890080709E-2</c:v>
                </c:pt>
                <c:pt idx="2">
                  <c:v>3.0155656486461964E-2</c:v>
                </c:pt>
                <c:pt idx="3">
                  <c:v>2.7109900331363727E-2</c:v>
                </c:pt>
                <c:pt idx="4">
                  <c:v>2.4371775225560388E-2</c:v>
                </c:pt>
                <c:pt idx="5">
                  <c:v>2.4094268404047922E-2</c:v>
                </c:pt>
                <c:pt idx="6">
                  <c:v>2.4322183284519114E-2</c:v>
                </c:pt>
                <c:pt idx="7">
                  <c:v>2.5263903460272262E-2</c:v>
                </c:pt>
                <c:pt idx="8">
                  <c:v>2.7533717749061021E-2</c:v>
                </c:pt>
                <c:pt idx="9">
                  <c:v>2.9136059572005948E-2</c:v>
                </c:pt>
                <c:pt idx="10">
                  <c:v>2.8439725189245424E-2</c:v>
                </c:pt>
                <c:pt idx="11">
                  <c:v>2.8481575446516888E-2</c:v>
                </c:pt>
                <c:pt idx="12">
                  <c:v>3.0108594349578348E-2</c:v>
                </c:pt>
                <c:pt idx="13">
                  <c:v>3.169054387055209E-2</c:v>
                </c:pt>
                <c:pt idx="14">
                  <c:v>3.1465934595702259E-2</c:v>
                </c:pt>
                <c:pt idx="15">
                  <c:v>3.1477667841337743E-2</c:v>
                </c:pt>
                <c:pt idx="16">
                  <c:v>3.1573121681829512E-2</c:v>
                </c:pt>
                <c:pt idx="17">
                  <c:v>3.1532924296196564E-2</c:v>
                </c:pt>
                <c:pt idx="18">
                  <c:v>3.0515660900336583E-2</c:v>
                </c:pt>
                <c:pt idx="19">
                  <c:v>3.0211789143868836E-2</c:v>
                </c:pt>
                <c:pt idx="20">
                  <c:v>2.8955614795748236E-2</c:v>
                </c:pt>
                <c:pt idx="21">
                  <c:v>3.2772131418724967E-2</c:v>
                </c:pt>
                <c:pt idx="22">
                  <c:v>3.3542665870490845E-2</c:v>
                </c:pt>
                <c:pt idx="23">
                  <c:v>3.3435184307609174E-2</c:v>
                </c:pt>
                <c:pt idx="24">
                  <c:v>3.268271460365052E-2</c:v>
                </c:pt>
                <c:pt idx="25">
                  <c:v>3.3870059534782497E-2</c:v>
                </c:pt>
                <c:pt idx="26">
                  <c:v>3.3073079926514877E-2</c:v>
                </c:pt>
                <c:pt idx="27">
                  <c:v>3.1808643842456727E-2</c:v>
                </c:pt>
                <c:pt idx="28">
                  <c:v>3.0502176751221188E-2</c:v>
                </c:pt>
                <c:pt idx="29">
                  <c:v>2.7906678470255915E-2</c:v>
                </c:pt>
                <c:pt idx="30">
                  <c:v>2.5033266393526828E-2</c:v>
                </c:pt>
                <c:pt idx="31">
                  <c:v>2.630903103630991E-2</c:v>
                </c:pt>
                <c:pt idx="32">
                  <c:v>2.8693045313762239E-2</c:v>
                </c:pt>
                <c:pt idx="33">
                  <c:v>3.2596808075387743E-2</c:v>
                </c:pt>
                <c:pt idx="34">
                  <c:v>3.3462836223474769E-2</c:v>
                </c:pt>
                <c:pt idx="35">
                  <c:v>3.1780988069129081E-2</c:v>
                </c:pt>
                <c:pt idx="36">
                  <c:v>3.2997078119396075E-2</c:v>
                </c:pt>
                <c:pt idx="37">
                  <c:v>3.4241810296995578E-2</c:v>
                </c:pt>
                <c:pt idx="38">
                  <c:v>3.5259393566231922E-2</c:v>
                </c:pt>
                <c:pt idx="39">
                  <c:v>3.2524924643797831E-2</c:v>
                </c:pt>
                <c:pt idx="40">
                  <c:v>2.8308242375685959E-2</c:v>
                </c:pt>
                <c:pt idx="41">
                  <c:v>2.54404048951909E-2</c:v>
                </c:pt>
                <c:pt idx="42">
                  <c:v>2.3287513921568817E-2</c:v>
                </c:pt>
                <c:pt idx="43">
                  <c:v>2.3365554652546534E-2</c:v>
                </c:pt>
                <c:pt idx="44">
                  <c:v>2.3054756675168077E-2</c:v>
                </c:pt>
                <c:pt idx="45">
                  <c:v>2.3566114628330095E-2</c:v>
                </c:pt>
                <c:pt idx="46">
                  <c:v>2.5888630394799238E-2</c:v>
                </c:pt>
                <c:pt idx="47">
                  <c:v>2.6265547596405793E-2</c:v>
                </c:pt>
                <c:pt idx="48">
                  <c:v>2.7412822111043234E-2</c:v>
                </c:pt>
                <c:pt idx="49">
                  <c:v>2.5962622488181153E-2</c:v>
                </c:pt>
                <c:pt idx="50">
                  <c:v>2.4525712064247307E-2</c:v>
                </c:pt>
                <c:pt idx="51">
                  <c:v>2.4473274634488791E-2</c:v>
                </c:pt>
                <c:pt idx="52">
                  <c:v>3.1101577984060602E-2</c:v>
                </c:pt>
                <c:pt idx="53">
                  <c:v>3.3390590546211449E-2</c:v>
                </c:pt>
                <c:pt idx="54">
                  <c:v>2.4773509299877497E-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40737801608579088"/>
          <c:min val="0.18705920295984374"/>
        </c:scaling>
        <c:delete val="0"/>
        <c:axPos val="b"/>
        <c:title>
          <c:tx>
            <c:rich>
              <a:bodyPr rot="0" spcFirstLastPara="1" vertOverflow="ellipsis" vert="horz" wrap="square" anchor="ctr" anchorCtr="1"/>
              <a:lstStyle/>
              <a:p>
                <a:pPr>
                  <a:defRPr sz="800" b="0">
                    <a:latin typeface="Nexa Bold"/>
                  </a:defRPr>
                </a:pPr>
                <a:r>
                  <a:rPr lang="en-US"/>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1291069944164441</c:v>
                </c:pt>
                <c:pt idx="1">
                  <c:v>0.13485892486555889</c:v>
                </c:pt>
                <c:pt idx="2">
                  <c:v>0.13361697278764331</c:v>
                </c:pt>
                <c:pt idx="3">
                  <c:v>0.13181455947245191</c:v>
                </c:pt>
                <c:pt idx="4">
                  <c:v>0.13079849733141291</c:v>
                </c:pt>
                <c:pt idx="5">
                  <c:v>0.12786527339341361</c:v>
                </c:pt>
                <c:pt idx="6">
                  <c:v>0.13389772495720559</c:v>
                </c:pt>
                <c:pt idx="7">
                  <c:v>0.1359519354250221</c:v>
                </c:pt>
                <c:pt idx="8">
                  <c:v>0.13408395448492219</c:v>
                </c:pt>
                <c:pt idx="9">
                  <c:v>0.1272173036352085</c:v>
                </c:pt>
                <c:pt idx="10">
                  <c:v>0.12580154817273331</c:v>
                </c:pt>
                <c:pt idx="11">
                  <c:v>0.1247833670603628</c:v>
                </c:pt>
                <c:pt idx="12">
                  <c:v>0.12616612542700109</c:v>
                </c:pt>
                <c:pt idx="13">
                  <c:v>0.13426073846412021</c:v>
                </c:pt>
                <c:pt idx="14">
                  <c:v>0.13040345544745011</c:v>
                </c:pt>
                <c:pt idx="15">
                  <c:v>0.12568196098787579</c:v>
                </c:pt>
                <c:pt idx="16">
                  <c:v>0.1284543866213313</c:v>
                </c:pt>
                <c:pt idx="17">
                  <c:v>0.13252000199740169</c:v>
                </c:pt>
                <c:pt idx="18">
                  <c:v>0.12612196270786419</c:v>
                </c:pt>
                <c:pt idx="19">
                  <c:v>0.13496886950214251</c:v>
                </c:pt>
                <c:pt idx="20">
                  <c:v>0.13064933940560819</c:v>
                </c:pt>
                <c:pt idx="21">
                  <c:v>0.12635635491031241</c:v>
                </c:pt>
                <c:pt idx="22">
                  <c:v>0.12863609693980929</c:v>
                </c:pt>
                <c:pt idx="23">
                  <c:v>0.13116494310893009</c:v>
                </c:pt>
                <c:pt idx="24">
                  <c:v>0.1278058186678292</c:v>
                </c:pt>
                <c:pt idx="25">
                  <c:v>0.1235932293079324</c:v>
                </c:pt>
                <c:pt idx="26">
                  <c:v>0.12290934252239009</c:v>
                </c:pt>
                <c:pt idx="27">
                  <c:v>0.12109503765009599</c:v>
                </c:pt>
                <c:pt idx="28">
                  <c:v>0.12207135397276341</c:v>
                </c:pt>
                <c:pt idx="29">
                  <c:v>0.1263122981136704</c:v>
                </c:pt>
                <c:pt idx="30">
                  <c:v>0.1263263635992006</c:v>
                </c:pt>
                <c:pt idx="31">
                  <c:v>0.12476889875077329</c:v>
                </c:pt>
                <c:pt idx="32">
                  <c:v>0.12674353123399981</c:v>
                </c:pt>
                <c:pt idx="33">
                  <c:v>0.12588695742723971</c:v>
                </c:pt>
                <c:pt idx="34">
                  <c:v>0.12390000002667199</c:v>
                </c:pt>
                <c:pt idx="35">
                  <c:v>0.12440850519118039</c:v>
                </c:pt>
                <c:pt idx="36">
                  <c:v>0.12336288941275771</c:v>
                </c:pt>
                <c:pt idx="37">
                  <c:v>0.1236579395008299</c:v>
                </c:pt>
                <c:pt idx="38">
                  <c:v>0.1244360084590832</c:v>
                </c:pt>
                <c:pt idx="39">
                  <c:v>0.12224083915887329</c:v>
                </c:pt>
                <c:pt idx="40">
                  <c:v>0.1219327444047168</c:v>
                </c:pt>
                <c:pt idx="41">
                  <c:v>0.1250560323566518</c:v>
                </c:pt>
                <c:pt idx="42">
                  <c:v>0.12745512740440279</c:v>
                </c:pt>
                <c:pt idx="43">
                  <c:v>0.1211984894858895</c:v>
                </c:pt>
                <c:pt idx="44">
                  <c:v>0.1258670226690102</c:v>
                </c:pt>
                <c:pt idx="45">
                  <c:v>0.1272339848348821</c:v>
                </c:pt>
                <c:pt idx="46">
                  <c:v>0.13490346412193621</c:v>
                </c:pt>
                <c:pt idx="47">
                  <c:v>0.1232399985423943</c:v>
                </c:pt>
                <c:pt idx="48">
                  <c:v>0.12311641114157899</c:v>
                </c:pt>
                <c:pt idx="49">
                  <c:v>0.1234350759255986</c:v>
                </c:pt>
                <c:pt idx="50">
                  <c:v>0.12419744604278141</c:v>
                </c:pt>
                <c:pt idx="51">
                  <c:v>0.13145508336915421</c:v>
                </c:pt>
                <c:pt idx="52">
                  <c:v>0.13109930113357529</c:v>
                </c:pt>
                <c:pt idx="53">
                  <c:v>0.13568928560863899</c:v>
                </c:pt>
                <c:pt idx="54">
                  <c:v>0.1285210371531505</c:v>
                </c:pt>
                <c:pt idx="55">
                  <c:v>0.1300753516373136</c:v>
                </c:pt>
                <c:pt idx="56">
                  <c:v>0.12489749950473671</c:v>
                </c:pt>
                <c:pt idx="57">
                  <c:v>0.10266521645136149</c:v>
                </c:pt>
                <c:pt idx="58">
                  <c:v>9.4621929093130358E-2</c:v>
                </c:pt>
                <c:pt idx="59">
                  <c:v>9.8212612965823731E-2</c:v>
                </c:pt>
                <c:pt idx="60">
                  <c:v>0.1102654339127445</c:v>
                </c:pt>
                <c:pt idx="61">
                  <c:v>0.1086326326560431</c:v>
                </c:pt>
                <c:pt idx="62">
                  <c:v>0.10273100071317991</c:v>
                </c:pt>
                <c:pt idx="63">
                  <c:v>0.1056131313298932</c:v>
                </c:pt>
                <c:pt idx="64">
                  <c:v>0.116037952360732</c:v>
                </c:pt>
                <c:pt idx="65">
                  <c:v>0.13065683342069531</c:v>
                </c:pt>
                <c:pt idx="66">
                  <c:v>0.132712182958446</c:v>
                </c:pt>
                <c:pt idx="67">
                  <c:v>0.12498087731066</c:v>
                </c:pt>
                <c:pt idx="68">
                  <c:v>0.1318623648264734</c:v>
                </c:pt>
                <c:pt idx="69">
                  <c:v>0.13405085209231629</c:v>
                </c:pt>
                <c:pt idx="70">
                  <c:v>0.12663942767242409</c:v>
                </c:pt>
                <c:pt idx="71">
                  <c:v>0.13715997078444109</c:v>
                </c:pt>
                <c:pt idx="72">
                  <c:v>0.1312699287114284</c:v>
                </c:pt>
                <c:pt idx="73">
                  <c:v>0.1290474255800157</c:v>
                </c:pt>
                <c:pt idx="74">
                  <c:v>0.12976627424972709</c:v>
                </c:pt>
                <c:pt idx="75">
                  <c:v>0.12686829869724861</c:v>
                </c:pt>
                <c:pt idx="76">
                  <c:v>0.1253623579280761</c:v>
                </c:pt>
                <c:pt idx="77">
                  <c:v>0.12968156222074531</c:v>
                </c:pt>
                <c:pt idx="78">
                  <c:v>0.12750329032649099</c:v>
                </c:pt>
                <c:pt idx="79">
                  <c:v>0.12461050546445129</c:v>
                </c:pt>
                <c:pt idx="80">
                  <c:v>0.12900335189603049</c:v>
                </c:pt>
                <c:pt idx="81">
                  <c:v>0.12741746962889991</c:v>
                </c:pt>
                <c:pt idx="82">
                  <c:v>0.1227246355993528</c:v>
                </c:pt>
                <c:pt idx="83">
                  <c:v>0.12325497363003669</c:v>
                </c:pt>
                <c:pt idx="84">
                  <c:v>0.1237777050026681</c:v>
                </c:pt>
                <c:pt idx="85">
                  <c:v>0.1227618684932686</c:v>
                </c:pt>
                <c:pt idx="86">
                  <c:v>0.12625273778634091</c:v>
                </c:pt>
                <c:pt idx="87">
                  <c:v>0.12848401925218161</c:v>
                </c:pt>
                <c:pt idx="88">
                  <c:v>0.12808991008793849</c:v>
                </c:pt>
                <c:pt idx="89">
                  <c:v>0.12669599383578639</c:v>
                </c:pt>
                <c:pt idx="90">
                  <c:v>0.128457244567205</c:v>
                </c:pt>
                <c:pt idx="91">
                  <c:v>0.1287495738807907</c:v>
                </c:pt>
                <c:pt idx="92">
                  <c:v>0.12753778198649329</c:v>
                </c:pt>
                <c:pt idx="93">
                  <c:v>0.12858384689357691</c:v>
                </c:pt>
                <c:pt idx="94">
                  <c:v>0.13053873342212541</c:v>
                </c:pt>
                <c:pt idx="95">
                  <c:v>0.1283681251237693</c:v>
                </c:pt>
                <c:pt idx="96">
                  <c:v>0.12712219330013799</c:v>
                </c:pt>
                <c:pt idx="97">
                  <c:v>0.12537888942730019</c:v>
                </c:pt>
                <c:pt idx="98">
                  <c:v>0.12745921704595151</c:v>
                </c:pt>
                <c:pt idx="99">
                  <c:v>0.1212266665697815</c:v>
                </c:pt>
                <c:pt idx="100">
                  <c:v>0.1141728668578047</c:v>
                </c:pt>
                <c:pt idx="101">
                  <c:v>0.115957494325048</c:v>
                </c:pt>
              </c:numCache>
            </c:numRef>
          </c:xVal>
          <c:yVal>
            <c:numRef>
              <c:f>Sheet1!$B$2:$B$103</c:f>
              <c:numCache>
                <c:formatCode>General</c:formatCode>
                <c:ptCount val="102"/>
                <c:pt idx="0">
                  <c:v>3.1549194168607013E-2</c:v>
                </c:pt>
                <c:pt idx="1">
                  <c:v>2.5925076493376501E-2</c:v>
                </c:pt>
                <c:pt idx="2">
                  <c:v>1.9457371147598559E-2</c:v>
                </c:pt>
                <c:pt idx="3">
                  <c:v>2.1005226955186751E-2</c:v>
                </c:pt>
                <c:pt idx="4">
                  <c:v>2.3683174888924512E-2</c:v>
                </c:pt>
                <c:pt idx="5">
                  <c:v>2.481491169212223E-2</c:v>
                </c:pt>
                <c:pt idx="6">
                  <c:v>2.2966901329024649E-2</c:v>
                </c:pt>
                <c:pt idx="7">
                  <c:v>2.1693356757167159E-2</c:v>
                </c:pt>
                <c:pt idx="8">
                  <c:v>2.508474647577718E-2</c:v>
                </c:pt>
                <c:pt idx="9">
                  <c:v>3.2219360006132687E-2</c:v>
                </c:pt>
                <c:pt idx="10">
                  <c:v>3.3455366889535383E-2</c:v>
                </c:pt>
                <c:pt idx="11">
                  <c:v>3.077420503855852E-2</c:v>
                </c:pt>
                <c:pt idx="12">
                  <c:v>3.166311843777065E-2</c:v>
                </c:pt>
                <c:pt idx="13">
                  <c:v>2.9573633835338661E-2</c:v>
                </c:pt>
                <c:pt idx="14">
                  <c:v>2.943829474961886E-2</c:v>
                </c:pt>
                <c:pt idx="15">
                  <c:v>3.2326555355538883E-2</c:v>
                </c:pt>
                <c:pt idx="16">
                  <c:v>3.045418321235838E-2</c:v>
                </c:pt>
                <c:pt idx="17">
                  <c:v>3.0177244147381321E-2</c:v>
                </c:pt>
                <c:pt idx="18">
                  <c:v>3.0949579617420529E-2</c:v>
                </c:pt>
                <c:pt idx="19">
                  <c:v>3.3044676701229417E-2</c:v>
                </c:pt>
                <c:pt idx="20">
                  <c:v>3.4502368865567047E-2</c:v>
                </c:pt>
                <c:pt idx="21">
                  <c:v>3.8171203781773647E-2</c:v>
                </c:pt>
                <c:pt idx="22">
                  <c:v>3.2633840746857157E-2</c:v>
                </c:pt>
                <c:pt idx="23">
                  <c:v>3.22851825867847E-2</c:v>
                </c:pt>
                <c:pt idx="24">
                  <c:v>3.4293774474369272E-2</c:v>
                </c:pt>
                <c:pt idx="25">
                  <c:v>3.3493331489235549E-2</c:v>
                </c:pt>
                <c:pt idx="26">
                  <c:v>3.2256296982208908E-2</c:v>
                </c:pt>
                <c:pt idx="27">
                  <c:v>3.256327154323236E-2</c:v>
                </c:pt>
                <c:pt idx="28">
                  <c:v>3.0215972855570969E-2</c:v>
                </c:pt>
                <c:pt idx="29">
                  <c:v>2.971323515475446E-2</c:v>
                </c:pt>
                <c:pt idx="30">
                  <c:v>2.9886044202056931E-2</c:v>
                </c:pt>
                <c:pt idx="31">
                  <c:v>3.0113049153545669E-2</c:v>
                </c:pt>
                <c:pt idx="32">
                  <c:v>3.0121682992946059E-2</c:v>
                </c:pt>
                <c:pt idx="33">
                  <c:v>2.8704102443482309E-2</c:v>
                </c:pt>
                <c:pt idx="34">
                  <c:v>3.0602403901330309E-2</c:v>
                </c:pt>
                <c:pt idx="35">
                  <c:v>3.1456536502498793E-2</c:v>
                </c:pt>
                <c:pt idx="36">
                  <c:v>3.1516667937295108E-2</c:v>
                </c:pt>
                <c:pt idx="37">
                  <c:v>3.3226585884057157E-2</c:v>
                </c:pt>
                <c:pt idx="38">
                  <c:v>3.3016326225624587E-2</c:v>
                </c:pt>
                <c:pt idx="39">
                  <c:v>3.0075909553288729E-2</c:v>
                </c:pt>
                <c:pt idx="40">
                  <c:v>3.030822714314705E-2</c:v>
                </c:pt>
                <c:pt idx="41">
                  <c:v>3.1273537834975489E-2</c:v>
                </c:pt>
                <c:pt idx="42">
                  <c:v>3.005901690014778E-2</c:v>
                </c:pt>
                <c:pt idx="43">
                  <c:v>3.0573863083611631E-2</c:v>
                </c:pt>
                <c:pt idx="44">
                  <c:v>3.254448153409624E-2</c:v>
                </c:pt>
                <c:pt idx="45">
                  <c:v>3.2420025270644671E-2</c:v>
                </c:pt>
                <c:pt idx="46">
                  <c:v>3.0841270586476861E-2</c:v>
                </c:pt>
                <c:pt idx="47">
                  <c:v>3.4545476528939613E-2</c:v>
                </c:pt>
                <c:pt idx="48">
                  <c:v>3.9378011399146942E-2</c:v>
                </c:pt>
                <c:pt idx="49">
                  <c:v>3.4585845792310457E-2</c:v>
                </c:pt>
                <c:pt idx="50">
                  <c:v>3.6889295123608737E-2</c:v>
                </c:pt>
                <c:pt idx="51">
                  <c:v>3.516974061970235E-2</c:v>
                </c:pt>
                <c:pt idx="52">
                  <c:v>3.3440411726256947E-2</c:v>
                </c:pt>
                <c:pt idx="53">
                  <c:v>3.0775515895011849E-2</c:v>
                </c:pt>
                <c:pt idx="54">
                  <c:v>2.856172806220978E-2</c:v>
                </c:pt>
                <c:pt idx="55">
                  <c:v>2.9260191711765832E-2</c:v>
                </c:pt>
                <c:pt idx="56">
                  <c:v>3.1178692703543051E-2</c:v>
                </c:pt>
                <c:pt idx="57">
                  <c:v>3.7031471681131703E-2</c:v>
                </c:pt>
                <c:pt idx="58">
                  <c:v>3.9909501581123753E-2</c:v>
                </c:pt>
                <c:pt idx="59">
                  <c:v>3.3090443177845791E-2</c:v>
                </c:pt>
                <c:pt idx="60">
                  <c:v>2.0429936026239701E-2</c:v>
                </c:pt>
                <c:pt idx="61">
                  <c:v>1.594233918003489E-2</c:v>
                </c:pt>
                <c:pt idx="62">
                  <c:v>2.6561543645322629E-2</c:v>
                </c:pt>
                <c:pt idx="63">
                  <c:v>3.5068893654044378E-2</c:v>
                </c:pt>
                <c:pt idx="64">
                  <c:v>3.0967228847484721E-2</c:v>
                </c:pt>
                <c:pt idx="65">
                  <c:v>2.602705616299417E-2</c:v>
                </c:pt>
                <c:pt idx="66">
                  <c:v>2.587150374122359E-2</c:v>
                </c:pt>
                <c:pt idx="67">
                  <c:v>2.691260699372984E-2</c:v>
                </c:pt>
                <c:pt idx="68">
                  <c:v>2.5874418970458959E-2</c:v>
                </c:pt>
                <c:pt idx="69">
                  <c:v>2.3193315376484971E-2</c:v>
                </c:pt>
                <c:pt idx="70">
                  <c:v>2.2686657383630061E-2</c:v>
                </c:pt>
                <c:pt idx="71">
                  <c:v>2.6189284143623481E-2</c:v>
                </c:pt>
                <c:pt idx="72">
                  <c:v>2.7336338114147821E-2</c:v>
                </c:pt>
                <c:pt idx="73">
                  <c:v>2.7740990571672709E-2</c:v>
                </c:pt>
                <c:pt idx="74">
                  <c:v>2.877527311984417E-2</c:v>
                </c:pt>
                <c:pt idx="75">
                  <c:v>2.8510329318482429E-2</c:v>
                </c:pt>
                <c:pt idx="76">
                  <c:v>2.7909474603405621E-2</c:v>
                </c:pt>
                <c:pt idx="77">
                  <c:v>2.354699792786898E-2</c:v>
                </c:pt>
                <c:pt idx="78">
                  <c:v>2.3516397046911521E-2</c:v>
                </c:pt>
                <c:pt idx="79">
                  <c:v>2.2115174941799771E-2</c:v>
                </c:pt>
                <c:pt idx="80">
                  <c:v>2.2268202762568419E-2</c:v>
                </c:pt>
                <c:pt idx="81">
                  <c:v>2.1244426266941788E-2</c:v>
                </c:pt>
                <c:pt idx="82">
                  <c:v>3.1177386289303839E-2</c:v>
                </c:pt>
                <c:pt idx="83">
                  <c:v>2.630647686699077E-2</c:v>
                </c:pt>
                <c:pt idx="84">
                  <c:v>2.5524833007679371E-2</c:v>
                </c:pt>
                <c:pt idx="85">
                  <c:v>2.6871534411513371E-2</c:v>
                </c:pt>
                <c:pt idx="86">
                  <c:v>2.6338851413823881E-2</c:v>
                </c:pt>
                <c:pt idx="87">
                  <c:v>2.464870108961555E-2</c:v>
                </c:pt>
                <c:pt idx="88">
                  <c:v>2.6238033764437702E-2</c:v>
                </c:pt>
                <c:pt idx="89">
                  <c:v>3.0191859532939729E-2</c:v>
                </c:pt>
                <c:pt idx="90">
                  <c:v>3.071685169632082E-2</c:v>
                </c:pt>
                <c:pt idx="91">
                  <c:v>3.1790352756617277E-2</c:v>
                </c:pt>
                <c:pt idx="92">
                  <c:v>2.9789485452214989E-2</c:v>
                </c:pt>
                <c:pt idx="93">
                  <c:v>2.7419432969366012E-2</c:v>
                </c:pt>
                <c:pt idx="94">
                  <c:v>2.5375304588112151E-2</c:v>
                </c:pt>
                <c:pt idx="95">
                  <c:v>2.727143524464504E-2</c:v>
                </c:pt>
                <c:pt idx="96">
                  <c:v>2.430072520573312E-2</c:v>
                </c:pt>
                <c:pt idx="97">
                  <c:v>2.5953063658202231E-2</c:v>
                </c:pt>
                <c:pt idx="98">
                  <c:v>2.870484051773789E-2</c:v>
                </c:pt>
                <c:pt idx="99">
                  <c:v>3.0161179689259059E-2</c:v>
                </c:pt>
                <c:pt idx="100">
                  <c:v>3.7558407981539428E-2</c:v>
                </c:pt>
                <c:pt idx="101">
                  <c:v>3.5796970668813113E-2</c:v>
                </c:pt>
              </c:numCache>
            </c:numRef>
          </c:yVal>
          <c:smooth val="0"/>
          <c:extLst>
            <c:ext xmlns:c16="http://schemas.microsoft.com/office/drawing/2014/chart" uri="{C3380CC4-5D6E-409C-BE32-E72D297353CC}">
              <c16:uniqueId val="{00000000-096C-4121-9522-6AB7243CCAAE}"/>
            </c:ext>
          </c:extLst>
        </c:ser>
        <c:ser>
          <c:idx val="1"/>
          <c:order val="1"/>
          <c:tx>
            <c:strRef>
              <c:f>Sheet1!$B$10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6:$A$157</c:f>
              <c:numCache>
                <c:formatCode>General</c:formatCode>
                <c:ptCount val="52"/>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numCache>
            </c:numRef>
          </c:xVal>
          <c:yVal>
            <c:numRef>
              <c:f>Sheet1!$B$106:$B$157</c:f>
              <c:numCache>
                <c:formatCode>General</c:formatCode>
                <c:ptCount val="52"/>
                <c:pt idx="0">
                  <c:v>3.3379430772150658E-2</c:v>
                </c:pt>
                <c:pt idx="1">
                  <c:v>3.5297770608354727E-2</c:v>
                </c:pt>
                <c:pt idx="2">
                  <c:v>3.603152077608085E-2</c:v>
                </c:pt>
                <c:pt idx="3">
                  <c:v>3.0978674639028671E-2</c:v>
                </c:pt>
                <c:pt idx="4">
                  <c:v>2.8133515753956471E-2</c:v>
                </c:pt>
                <c:pt idx="5">
                  <c:v>2.7512069607189622E-2</c:v>
                </c:pt>
                <c:pt idx="6">
                  <c:v>2.753590860107619E-2</c:v>
                </c:pt>
                <c:pt idx="7">
                  <c:v>2.7306049137985969E-2</c:v>
                </c:pt>
                <c:pt idx="8">
                  <c:v>2.683860754587173E-2</c:v>
                </c:pt>
                <c:pt idx="9">
                  <c:v>2.8577136215520639E-2</c:v>
                </c:pt>
                <c:pt idx="10">
                  <c:v>2.9045708307140341E-2</c:v>
                </c:pt>
                <c:pt idx="11">
                  <c:v>3.0151694267354031E-2</c:v>
                </c:pt>
                <c:pt idx="12">
                  <c:v>3.1278274774940933E-2</c:v>
                </c:pt>
                <c:pt idx="13">
                  <c:v>3.2623144271831599E-2</c:v>
                </c:pt>
                <c:pt idx="14">
                  <c:v>3.2081452766552027E-2</c:v>
                </c:pt>
                <c:pt idx="15">
                  <c:v>2.8476513020004542E-2</c:v>
                </c:pt>
                <c:pt idx="16">
                  <c:v>2.889792926206242E-2</c:v>
                </c:pt>
                <c:pt idx="17">
                  <c:v>2.8572345272906731E-2</c:v>
                </c:pt>
                <c:pt idx="18">
                  <c:v>2.758215728763419E-2</c:v>
                </c:pt>
                <c:pt idx="19">
                  <c:v>2.6684207925807661E-2</c:v>
                </c:pt>
                <c:pt idx="20">
                  <c:v>2.507409816863837E-2</c:v>
                </c:pt>
                <c:pt idx="21">
                  <c:v>3.7053775555914388E-2</c:v>
                </c:pt>
                <c:pt idx="22">
                  <c:v>4.1201839145334811E-2</c:v>
                </c:pt>
                <c:pt idx="23">
                  <c:v>3.952108516249337E-2</c:v>
                </c:pt>
                <c:pt idx="24">
                  <c:v>3.301132678213544E-2</c:v>
                </c:pt>
                <c:pt idx="25">
                  <c:v>3.4672282379825628E-2</c:v>
                </c:pt>
                <c:pt idx="26">
                  <c:v>3.6478521099227869E-2</c:v>
                </c:pt>
                <c:pt idx="27">
                  <c:v>3.1719960612283417E-2</c:v>
                </c:pt>
                <c:pt idx="28">
                  <c:v>2.9844699099281859E-2</c:v>
                </c:pt>
                <c:pt idx="29">
                  <c:v>2.824703792935155E-2</c:v>
                </c:pt>
                <c:pt idx="30">
                  <c:v>2.3926861689124789E-2</c:v>
                </c:pt>
                <c:pt idx="31">
                  <c:v>2.077067140814904E-2</c:v>
                </c:pt>
                <c:pt idx="32">
                  <c:v>2.3460558709885782E-2</c:v>
                </c:pt>
                <c:pt idx="33">
                  <c:v>3.042796286207031E-2</c:v>
                </c:pt>
                <c:pt idx="34">
                  <c:v>3.1037706913624011E-2</c:v>
                </c:pt>
                <c:pt idx="35">
                  <c:v>2.928997264422914E-2</c:v>
                </c:pt>
                <c:pt idx="36">
                  <c:v>2.9697936908540851E-2</c:v>
                </c:pt>
                <c:pt idx="37">
                  <c:v>3.0248130900335801E-2</c:v>
                </c:pt>
                <c:pt idx="38">
                  <c:v>3.5070387750061743E-2</c:v>
                </c:pt>
                <c:pt idx="39">
                  <c:v>3.120833777020552E-2</c:v>
                </c:pt>
                <c:pt idx="40">
                  <c:v>2.682679016675503E-2</c:v>
                </c:pt>
                <c:pt idx="41">
                  <c:v>2.4203784771293649E-2</c:v>
                </c:pt>
                <c:pt idx="42">
                  <c:v>2.4098053977022381E-2</c:v>
                </c:pt>
                <c:pt idx="43">
                  <c:v>2.4523754132153151E-2</c:v>
                </c:pt>
                <c:pt idx="44">
                  <c:v>2.2379504666963371E-2</c:v>
                </c:pt>
                <c:pt idx="45">
                  <c:v>2.104065524243157E-2</c:v>
                </c:pt>
                <c:pt idx="46">
                  <c:v>2.202824012890214E-2</c:v>
                </c:pt>
                <c:pt idx="47">
                  <c:v>2.3321641522021069E-2</c:v>
                </c:pt>
                <c:pt idx="48">
                  <c:v>2.5721900660138009E-2</c:v>
                </c:pt>
                <c:pt idx="49">
                  <c:v>2.4967370312040962E-2</c:v>
                </c:pt>
                <c:pt idx="50">
                  <c:v>2.603335979145837E-2</c:v>
                </c:pt>
                <c:pt idx="51">
                  <c:v>2.5702227757022279E-2</c:v>
                </c:pt>
              </c:numCache>
            </c:numRef>
          </c:yVal>
          <c:smooth val="0"/>
          <c:extLst>
            <c:ext xmlns:c16="http://schemas.microsoft.com/office/drawing/2014/chart" uri="{C3380CC4-5D6E-409C-BE32-E72D297353CC}">
              <c16:uniqueId val="{00000002-096C-4121-9522-6AB7243CCAAE}"/>
            </c:ext>
          </c:extLst>
        </c:ser>
        <c:ser>
          <c:idx val="2"/>
          <c:order val="2"/>
          <c:tx>
            <c:strRef>
              <c:f>Sheet1!$B$15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0:$A$161</c:f>
              <c:numCache>
                <c:formatCode>General</c:formatCode>
                <c:ptCount val="2"/>
                <c:pt idx="0">
                  <c:v>0</c:v>
                </c:pt>
                <c:pt idx="1">
                  <c:v>0.1108820277239114</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5-096C-4121-9522-6AB7243CCAAE}"/>
            </c:ext>
          </c:extLst>
        </c:ser>
        <c:ser>
          <c:idx val="3"/>
          <c:order val="3"/>
          <c:tx>
            <c:strRef>
              <c:f>Sheet1!$B$16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0.1108820277239114</c:v>
                </c:pt>
                <c:pt idx="1">
                  <c:v>0.1108820277239114</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8:$A$169</c:f>
              <c:numCache>
                <c:formatCode>General</c:formatCode>
                <c:ptCount val="2"/>
                <c:pt idx="0">
                  <c:v>0</c:v>
                </c:pt>
                <c:pt idx="1">
                  <c:v>0.11732114474802791</c:v>
                </c:pt>
              </c:numCache>
            </c:numRef>
          </c:xVal>
          <c:yVal>
            <c:numRef>
              <c:f>Sheet1!$B$168:$B$169</c:f>
              <c:numCache>
                <c:formatCode>General</c:formatCode>
                <c:ptCount val="2"/>
                <c:pt idx="0">
                  <c:v>3.1101577984060609E-2</c:v>
                </c:pt>
                <c:pt idx="1">
                  <c:v>3.1101577984060609E-2</c:v>
                </c:pt>
              </c:numCache>
            </c:numRef>
          </c:yVal>
          <c:smooth val="0"/>
          <c:extLst>
            <c:ext xmlns:c16="http://schemas.microsoft.com/office/drawing/2014/chart" uri="{C3380CC4-5D6E-409C-BE32-E72D297353CC}">
              <c16:uniqueId val="{0000000D-096C-4121-9522-6AB7243CCAAE}"/>
            </c:ext>
          </c:extLst>
        </c:ser>
        <c:ser>
          <c:idx val="5"/>
          <c:order val="5"/>
          <c:tx>
            <c:strRef>
              <c:f>Sheet1!$B$17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0.11732114474802791</c:v>
                </c:pt>
                <c:pt idx="1">
                  <c:v>0.11732114474802791</c:v>
                </c:pt>
              </c:numCache>
            </c:numRef>
          </c:xVal>
          <c:yVal>
            <c:numRef>
              <c:f>Sheet1!$B$172:$B$173</c:f>
              <c:numCache>
                <c:formatCode>General</c:formatCode>
                <c:ptCount val="2"/>
                <c:pt idx="0">
                  <c:v>3.1101577984060609E-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6:$A$177</c:f>
              <c:numCache>
                <c:formatCode>General</c:formatCode>
                <c:ptCount val="2"/>
                <c:pt idx="0">
                  <c:v>0</c:v>
                </c:pt>
                <c:pt idx="1">
                  <c:v>0.13512234665834599</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5-096C-4121-9522-6AB7243CCAAE}"/>
            </c:ext>
          </c:extLst>
        </c:ser>
        <c:ser>
          <c:idx val="7"/>
          <c:order val="7"/>
          <c:tx>
            <c:strRef>
              <c:f>Sheet1!$B$17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0:$A$181</c:f>
              <c:numCache>
                <c:formatCode>General</c:formatCode>
                <c:ptCount val="2"/>
                <c:pt idx="0">
                  <c:v>0.13512234665834599</c:v>
                </c:pt>
                <c:pt idx="1">
                  <c:v>0.13512234665834599</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4:$A$238</c:f>
              <c:numCache>
                <c:formatCode>General</c:formatCode>
                <c:ptCount val="55"/>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pt idx="52">
                  <c:v>0.11732114474802791</c:v>
                </c:pt>
                <c:pt idx="53">
                  <c:v>0.1108820277239114</c:v>
                </c:pt>
                <c:pt idx="54">
                  <c:v>0.13512234665834599</c:v>
                </c:pt>
              </c:numCache>
            </c:numRef>
          </c:xVal>
          <c:yVal>
            <c:numRef>
              <c:f>Sheet1!$B$184:$B$238</c:f>
              <c:numCache>
                <c:formatCode>General</c:formatCode>
                <c:ptCount val="55"/>
                <c:pt idx="0">
                  <c:v>3.1620668745252142E-2</c:v>
                </c:pt>
                <c:pt idx="1">
                  <c:v>3.1654790245678951E-2</c:v>
                </c:pt>
                <c:pt idx="2">
                  <c:v>3.2783325344754151E-2</c:v>
                </c:pt>
                <c:pt idx="3">
                  <c:v>3.022688607526958E-2</c:v>
                </c:pt>
                <c:pt idx="4">
                  <c:v>2.8540776744242852E-2</c:v>
                </c:pt>
                <c:pt idx="5">
                  <c:v>2.8198639317480349E-2</c:v>
                </c:pt>
                <c:pt idx="6">
                  <c:v>2.8149354774764782E-2</c:v>
                </c:pt>
                <c:pt idx="7">
                  <c:v>2.8199004366077019E-2</c:v>
                </c:pt>
                <c:pt idx="8">
                  <c:v>3.0157282303857849E-2</c:v>
                </c:pt>
                <c:pt idx="9">
                  <c:v>2.9717490317624731E-2</c:v>
                </c:pt>
                <c:pt idx="10">
                  <c:v>2.880162617160174E-2</c:v>
                </c:pt>
                <c:pt idx="11">
                  <c:v>3.0799476543192809E-2</c:v>
                </c:pt>
                <c:pt idx="12">
                  <c:v>2.8080121278043681E-2</c:v>
                </c:pt>
                <c:pt idx="13">
                  <c:v>2.8247092051713919E-2</c:v>
                </c:pt>
                <c:pt idx="14">
                  <c:v>2.639540124703324E-2</c:v>
                </c:pt>
                <c:pt idx="15">
                  <c:v>1.9220157910636009E-2</c:v>
                </c:pt>
                <c:pt idx="16">
                  <c:v>2.9292926757015069E-2</c:v>
                </c:pt>
                <c:pt idx="17">
                  <c:v>2.9541107656935999E-2</c:v>
                </c:pt>
                <c:pt idx="18">
                  <c:v>3.1154431279754719E-2</c:v>
                </c:pt>
                <c:pt idx="19">
                  <c:v>2.9461129531890291E-2</c:v>
                </c:pt>
                <c:pt idx="20">
                  <c:v>3.0313783713891131E-2</c:v>
                </c:pt>
                <c:pt idx="21">
                  <c:v>3.3508822667282862E-2</c:v>
                </c:pt>
                <c:pt idx="22">
                  <c:v>3.4739165058279807E-2</c:v>
                </c:pt>
                <c:pt idx="23">
                  <c:v>3.3561500120319547E-2</c:v>
                </c:pt>
                <c:pt idx="24">
                  <c:v>3.0961282548418428E-2</c:v>
                </c:pt>
                <c:pt idx="25">
                  <c:v>3.325613118609181E-2</c:v>
                </c:pt>
                <c:pt idx="26">
                  <c:v>3.230935798656305E-2</c:v>
                </c:pt>
                <c:pt idx="27">
                  <c:v>3.0186042242885399E-2</c:v>
                </c:pt>
                <c:pt idx="28">
                  <c:v>2.9826699740302571E-2</c:v>
                </c:pt>
                <c:pt idx="29">
                  <c:v>2.8461825588360749E-2</c:v>
                </c:pt>
                <c:pt idx="30">
                  <c:v>2.6667445839888119E-2</c:v>
                </c:pt>
                <c:pt idx="31">
                  <c:v>2.9333797528733729E-2</c:v>
                </c:pt>
                <c:pt idx="32">
                  <c:v>2.8469462201818171E-2</c:v>
                </c:pt>
                <c:pt idx="33">
                  <c:v>3.1278574864500211E-2</c:v>
                </c:pt>
                <c:pt idx="34">
                  <c:v>3.362517184260494E-2</c:v>
                </c:pt>
                <c:pt idx="35">
                  <c:v>3.1259339751075838E-2</c:v>
                </c:pt>
                <c:pt idx="36">
                  <c:v>3.2466678789921898E-2</c:v>
                </c:pt>
                <c:pt idx="37">
                  <c:v>3.336561461501103E-2</c:v>
                </c:pt>
                <c:pt idx="38">
                  <c:v>3.1897061212580187E-2</c:v>
                </c:pt>
                <c:pt idx="39">
                  <c:v>3.0591232179052279E-2</c:v>
                </c:pt>
                <c:pt idx="40">
                  <c:v>2.6490890509876141E-2</c:v>
                </c:pt>
                <c:pt idx="41">
                  <c:v>2.5005655171483909E-2</c:v>
                </c:pt>
                <c:pt idx="42">
                  <c:v>2.471524594195228E-2</c:v>
                </c:pt>
                <c:pt idx="43">
                  <c:v>2.5740688254943609E-2</c:v>
                </c:pt>
                <c:pt idx="44">
                  <c:v>2.534241769031121E-2</c:v>
                </c:pt>
                <c:pt idx="45">
                  <c:v>2.5785004878787769E-2</c:v>
                </c:pt>
                <c:pt idx="46">
                  <c:v>2.6712805427711591E-2</c:v>
                </c:pt>
                <c:pt idx="47">
                  <c:v>2.6016063432124481E-2</c:v>
                </c:pt>
                <c:pt idx="48">
                  <c:v>2.645901837190287E-2</c:v>
                </c:pt>
                <c:pt idx="49">
                  <c:v>2.253097533810856E-2</c:v>
                </c:pt>
                <c:pt idx="50">
                  <c:v>2.3407974477709061E-2</c:v>
                </c:pt>
                <c:pt idx="51">
                  <c:v>2.5267129597052979E-2</c:v>
                </c:pt>
                <c:pt idx="52">
                  <c:v>3.1101577984060599E-2</c:v>
                </c:pt>
                <c:pt idx="53">
                  <c:v>3.3390590546211449E-2</c:v>
                </c:pt>
                <c:pt idx="54">
                  <c:v>2.47735092998775E-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18089307194123574"/>
          <c:min val="7.5697543274504286E-2"/>
        </c:scaling>
        <c:delete val="0"/>
        <c:axPos val="b"/>
        <c:title>
          <c:tx>
            <c:rich>
              <a:bodyPr rot="0" spcFirstLastPara="1" vertOverflow="ellipsis" vert="horz" wrap="square" anchor="ctr" anchorCtr="1"/>
              <a:lstStyle/>
              <a:p>
                <a:pPr>
                  <a:defRPr sz="800" b="0">
                    <a:solidFill>
                      <a:srgbClr val="575555"/>
                    </a:solidFill>
                    <a:latin typeface="Nexa Bold"/>
                  </a:defRPr>
                </a:pPr>
                <a:r>
                  <a:rPr lang="en-US"/>
                  <a:t>Price Ix vs. Gillette Fusion5</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3084051742229012</c:v>
                </c:pt>
                <c:pt idx="1">
                  <c:v>0.31591786351078627</c:v>
                </c:pt>
                <c:pt idx="2">
                  <c:v>0.32058023334902946</c:v>
                </c:pt>
                <c:pt idx="3">
                  <c:v>0.31551466024025998</c:v>
                </c:pt>
                <c:pt idx="4">
                  <c:v>0.31248983133575575</c:v>
                </c:pt>
                <c:pt idx="5">
                  <c:v>0.31209899175068745</c:v>
                </c:pt>
                <c:pt idx="6">
                  <c:v>0.31243915630070307</c:v>
                </c:pt>
                <c:pt idx="7">
                  <c:v>0.3133619793471481</c:v>
                </c:pt>
                <c:pt idx="8">
                  <c:v>0.31671907756813417</c:v>
                </c:pt>
                <c:pt idx="9">
                  <c:v>0.31082322826247477</c:v>
                </c:pt>
                <c:pt idx="10">
                  <c:v>0.31047212859141043</c:v>
                </c:pt>
                <c:pt idx="11">
                  <c:v>0.30851195946449417</c:v>
                </c:pt>
                <c:pt idx="12">
                  <c:v>0.30743476600274672</c:v>
                </c:pt>
                <c:pt idx="13">
                  <c:v>0.30557876018361524</c:v>
                </c:pt>
                <c:pt idx="14">
                  <c:v>0.30608180521683359</c:v>
                </c:pt>
                <c:pt idx="15">
                  <c:v>0.30537959003209308</c:v>
                </c:pt>
                <c:pt idx="16">
                  <c:v>0.30479028449342177</c:v>
                </c:pt>
                <c:pt idx="17">
                  <c:v>0.30535697989231286</c:v>
                </c:pt>
                <c:pt idx="18">
                  <c:v>0.30758733419811496</c:v>
                </c:pt>
                <c:pt idx="19">
                  <c:v>0.30384356418742708</c:v>
                </c:pt>
                <c:pt idx="20">
                  <c:v>0.30255871389344829</c:v>
                </c:pt>
                <c:pt idx="21">
                  <c:v>0.30131492720175512</c:v>
                </c:pt>
                <c:pt idx="22">
                  <c:v>0.30402402402402401</c:v>
                </c:pt>
                <c:pt idx="23">
                  <c:v>0.3041818228723267</c:v>
                </c:pt>
                <c:pt idx="24">
                  <c:v>0.30380595989557657</c:v>
                </c:pt>
                <c:pt idx="25">
                  <c:v>0.30266464709715091</c:v>
                </c:pt>
                <c:pt idx="26">
                  <c:v>0.30198090992432275</c:v>
                </c:pt>
                <c:pt idx="27">
                  <c:v>0.30261018186645428</c:v>
                </c:pt>
                <c:pt idx="28">
                  <c:v>0.30379475941413642</c:v>
                </c:pt>
                <c:pt idx="29">
                  <c:v>0.30510575091808745</c:v>
                </c:pt>
                <c:pt idx="30">
                  <c:v>0.30547263681592041</c:v>
                </c:pt>
                <c:pt idx="31">
                  <c:v>0.30191808942530629</c:v>
                </c:pt>
                <c:pt idx="32">
                  <c:v>0.30004016835781272</c:v>
                </c:pt>
                <c:pt idx="33">
                  <c:v>0.30140260803244229</c:v>
                </c:pt>
                <c:pt idx="34">
                  <c:v>0.30315931183998879</c:v>
                </c:pt>
                <c:pt idx="35">
                  <c:v>0.30423707530585153</c:v>
                </c:pt>
                <c:pt idx="36">
                  <c:v>0.30339368848493503</c:v>
                </c:pt>
                <c:pt idx="37">
                  <c:v>0.30312142377964563</c:v>
                </c:pt>
                <c:pt idx="38">
                  <c:v>0.30421477922015827</c:v>
                </c:pt>
                <c:pt idx="39">
                  <c:v>0.30360700245050509</c:v>
                </c:pt>
                <c:pt idx="40">
                  <c:v>0.30482776067799466</c:v>
                </c:pt>
                <c:pt idx="41">
                  <c:v>0.30496561046396053</c:v>
                </c:pt>
                <c:pt idx="42">
                  <c:v>0.30474260101509459</c:v>
                </c:pt>
                <c:pt idx="43">
                  <c:v>0.30487658997567685</c:v>
                </c:pt>
                <c:pt idx="44">
                  <c:v>0.30417377406912238</c:v>
                </c:pt>
                <c:pt idx="45">
                  <c:v>0.30429474182711519</c:v>
                </c:pt>
                <c:pt idx="46">
                  <c:v>0.30416987037597953</c:v>
                </c:pt>
                <c:pt idx="47">
                  <c:v>0.30177142857142858</c:v>
                </c:pt>
                <c:pt idx="48">
                  <c:v>0.30034428178139644</c:v>
                </c:pt>
                <c:pt idx="49">
                  <c:v>0.30020553910468561</c:v>
                </c:pt>
                <c:pt idx="50">
                  <c:v>0.30020393921120919</c:v>
                </c:pt>
                <c:pt idx="51">
                  <c:v>0.30029572161037082</c:v>
                </c:pt>
                <c:pt idx="52">
                  <c:v>0.30085731375024921</c:v>
                </c:pt>
                <c:pt idx="53">
                  <c:v>0.30374794069192751</c:v>
                </c:pt>
                <c:pt idx="54">
                  <c:v>0.30475569923731716</c:v>
                </c:pt>
                <c:pt idx="55">
                  <c:v>0.30484411191281596</c:v>
                </c:pt>
                <c:pt idx="56">
                  <c:v>0.29666067320451317</c:v>
                </c:pt>
                <c:pt idx="57">
                  <c:v>0.25400835544515327</c:v>
                </c:pt>
                <c:pt idx="58">
                  <c:v>0.23382400369980466</c:v>
                </c:pt>
                <c:pt idx="59">
                  <c:v>0.23943026116791946</c:v>
                </c:pt>
                <c:pt idx="60">
                  <c:v>0.25369491863085675</c:v>
                </c:pt>
                <c:pt idx="61">
                  <c:v>0.26335839430757868</c:v>
                </c:pt>
                <c:pt idx="62">
                  <c:v>0.24811366501794199</c:v>
                </c:pt>
                <c:pt idx="63">
                  <c:v>0.25331883600138116</c:v>
                </c:pt>
                <c:pt idx="64">
                  <c:v>0.27606841827999473</c:v>
                </c:pt>
                <c:pt idx="65">
                  <c:v>0.28160478817918266</c:v>
                </c:pt>
                <c:pt idx="66">
                  <c:v>0.29229782021117312</c:v>
                </c:pt>
                <c:pt idx="67">
                  <c:v>0.30127414335954045</c:v>
                </c:pt>
                <c:pt idx="68">
                  <c:v>0.30305886879569066</c:v>
                </c:pt>
                <c:pt idx="69">
                  <c:v>0.30492991022208221</c:v>
                </c:pt>
                <c:pt idx="70">
                  <c:v>0.30628978911194849</c:v>
                </c:pt>
                <c:pt idx="71">
                  <c:v>0.30507690665654685</c:v>
                </c:pt>
                <c:pt idx="72">
                  <c:v>0.30607670596048481</c:v>
                </c:pt>
                <c:pt idx="73">
                  <c:v>0.3116373241246056</c:v>
                </c:pt>
                <c:pt idx="74">
                  <c:v>0.31424842998124136</c:v>
                </c:pt>
                <c:pt idx="75">
                  <c:v>0.31320176754871626</c:v>
                </c:pt>
                <c:pt idx="76">
                  <c:v>0.31380953870863448</c:v>
                </c:pt>
                <c:pt idx="77">
                  <c:v>0.32590348409435188</c:v>
                </c:pt>
                <c:pt idx="78">
                  <c:v>0.33061711871301291</c:v>
                </c:pt>
                <c:pt idx="79">
                  <c:v>0.33376024237416513</c:v>
                </c:pt>
                <c:pt idx="80">
                  <c:v>0.334863282523373</c:v>
                </c:pt>
                <c:pt idx="81">
                  <c:v>0.33732775797715603</c:v>
                </c:pt>
                <c:pt idx="82">
                  <c:v>0.3340239432262419</c:v>
                </c:pt>
                <c:pt idx="83">
                  <c:v>0.32813911724353323</c:v>
                </c:pt>
                <c:pt idx="84">
                  <c:v>0.32451377453380215</c:v>
                </c:pt>
                <c:pt idx="85">
                  <c:v>0.3242920313313794</c:v>
                </c:pt>
                <c:pt idx="86">
                  <c:v>0.32834757834757833</c:v>
                </c:pt>
                <c:pt idx="87">
                  <c:v>0.33024565689467972</c:v>
                </c:pt>
                <c:pt idx="88">
                  <c:v>0.33047076978575868</c:v>
                </c:pt>
                <c:pt idx="89">
                  <c:v>0.32960364974033468</c:v>
                </c:pt>
                <c:pt idx="90">
                  <c:v>0.32877782475231143</c:v>
                </c:pt>
                <c:pt idx="91">
                  <c:v>0.33265505668454848</c:v>
                </c:pt>
                <c:pt idx="92">
                  <c:v>0.33383080669232584</c:v>
                </c:pt>
                <c:pt idx="93">
                  <c:v>0.33445095599479496</c:v>
                </c:pt>
                <c:pt idx="94">
                  <c:v>0.33425385899470356</c:v>
                </c:pt>
                <c:pt idx="95">
                  <c:v>0.33302358553829059</c:v>
                </c:pt>
                <c:pt idx="96">
                  <c:v>0.3331230702831911</c:v>
                </c:pt>
                <c:pt idx="97">
                  <c:v>0.33248279672509923</c:v>
                </c:pt>
                <c:pt idx="98">
                  <c:v>0.33184443040565192</c:v>
                </c:pt>
                <c:pt idx="99">
                  <c:v>0.31234357273380736</c:v>
                </c:pt>
                <c:pt idx="100">
                  <c:v>0.30123106937136429</c:v>
                </c:pt>
                <c:pt idx="101">
                  <c:v>0.30056872662328632</c:v>
                </c:pt>
              </c:numCache>
            </c:numRef>
          </c:xVal>
          <c:yVal>
            <c:numRef>
              <c:f>Sheet1!$B$2:$B$103</c:f>
              <c:numCache>
                <c:formatCode>General</c:formatCode>
                <c:ptCount val="102"/>
                <c:pt idx="0">
                  <c:v>3.1549194168607006E-2</c:v>
                </c:pt>
                <c:pt idx="1">
                  <c:v>2.5925076493376501E-2</c:v>
                </c:pt>
                <c:pt idx="2">
                  <c:v>1.9457371147598559E-2</c:v>
                </c:pt>
                <c:pt idx="3">
                  <c:v>2.1005226955186754E-2</c:v>
                </c:pt>
                <c:pt idx="4">
                  <c:v>2.3683174888924508E-2</c:v>
                </c:pt>
                <c:pt idx="5">
                  <c:v>2.4814911692122233E-2</c:v>
                </c:pt>
                <c:pt idx="6">
                  <c:v>2.2966901329024649E-2</c:v>
                </c:pt>
                <c:pt idx="7">
                  <c:v>2.1693356757167159E-2</c:v>
                </c:pt>
                <c:pt idx="8">
                  <c:v>2.508474647577718E-2</c:v>
                </c:pt>
                <c:pt idx="9">
                  <c:v>3.2219360006132694E-2</c:v>
                </c:pt>
                <c:pt idx="10">
                  <c:v>3.3455366889535383E-2</c:v>
                </c:pt>
                <c:pt idx="11">
                  <c:v>3.0774205038558523E-2</c:v>
                </c:pt>
                <c:pt idx="12">
                  <c:v>3.166311843777065E-2</c:v>
                </c:pt>
                <c:pt idx="13">
                  <c:v>2.9573633835338665E-2</c:v>
                </c:pt>
                <c:pt idx="14">
                  <c:v>2.9438294749618857E-2</c:v>
                </c:pt>
                <c:pt idx="15">
                  <c:v>3.2326555355538883E-2</c:v>
                </c:pt>
                <c:pt idx="16">
                  <c:v>3.0454183212358377E-2</c:v>
                </c:pt>
                <c:pt idx="17">
                  <c:v>3.0177244147381318E-2</c:v>
                </c:pt>
                <c:pt idx="18">
                  <c:v>3.0949579617420526E-2</c:v>
                </c:pt>
                <c:pt idx="19">
                  <c:v>3.3044676701229417E-2</c:v>
                </c:pt>
                <c:pt idx="20">
                  <c:v>3.4502368865567047E-2</c:v>
                </c:pt>
                <c:pt idx="21">
                  <c:v>3.8171203781773647E-2</c:v>
                </c:pt>
                <c:pt idx="22">
                  <c:v>3.2633840746857157E-2</c:v>
                </c:pt>
                <c:pt idx="23">
                  <c:v>3.22851825867847E-2</c:v>
                </c:pt>
                <c:pt idx="24">
                  <c:v>3.4293774474369265E-2</c:v>
                </c:pt>
                <c:pt idx="25">
                  <c:v>3.3493331489235549E-2</c:v>
                </c:pt>
                <c:pt idx="26">
                  <c:v>3.2256296982208908E-2</c:v>
                </c:pt>
                <c:pt idx="27">
                  <c:v>3.256327154323236E-2</c:v>
                </c:pt>
                <c:pt idx="28">
                  <c:v>3.0215972855570965E-2</c:v>
                </c:pt>
                <c:pt idx="29">
                  <c:v>2.971323515475446E-2</c:v>
                </c:pt>
                <c:pt idx="30">
                  <c:v>2.9886044202056927E-2</c:v>
                </c:pt>
                <c:pt idx="31">
                  <c:v>3.0113049153545669E-2</c:v>
                </c:pt>
                <c:pt idx="32">
                  <c:v>3.0121682992946059E-2</c:v>
                </c:pt>
                <c:pt idx="33">
                  <c:v>2.8704102443482309E-2</c:v>
                </c:pt>
                <c:pt idx="34">
                  <c:v>3.0602403901330309E-2</c:v>
                </c:pt>
                <c:pt idx="35">
                  <c:v>3.1456536502498786E-2</c:v>
                </c:pt>
                <c:pt idx="36">
                  <c:v>3.1516667937295108E-2</c:v>
                </c:pt>
                <c:pt idx="37">
                  <c:v>3.3226585884057164E-2</c:v>
                </c:pt>
                <c:pt idx="38">
                  <c:v>3.3016326225624587E-2</c:v>
                </c:pt>
                <c:pt idx="39">
                  <c:v>3.0075909553288729E-2</c:v>
                </c:pt>
                <c:pt idx="40">
                  <c:v>3.0308227143147046E-2</c:v>
                </c:pt>
                <c:pt idx="41">
                  <c:v>3.1273537834975489E-2</c:v>
                </c:pt>
                <c:pt idx="42">
                  <c:v>3.0059016900147784E-2</c:v>
                </c:pt>
                <c:pt idx="43">
                  <c:v>3.0573863083611635E-2</c:v>
                </c:pt>
                <c:pt idx="44">
                  <c:v>3.254448153409624E-2</c:v>
                </c:pt>
                <c:pt idx="45">
                  <c:v>3.2420025270644671E-2</c:v>
                </c:pt>
                <c:pt idx="46">
                  <c:v>3.0841270586476857E-2</c:v>
                </c:pt>
                <c:pt idx="47">
                  <c:v>3.4545476528939606E-2</c:v>
                </c:pt>
                <c:pt idx="48">
                  <c:v>3.9378011399146942E-2</c:v>
                </c:pt>
                <c:pt idx="49">
                  <c:v>3.4585845792310457E-2</c:v>
                </c:pt>
                <c:pt idx="50">
                  <c:v>3.6889295123608744E-2</c:v>
                </c:pt>
                <c:pt idx="51">
                  <c:v>3.516974061970235E-2</c:v>
                </c:pt>
                <c:pt idx="52">
                  <c:v>3.3440411726256954E-2</c:v>
                </c:pt>
                <c:pt idx="53">
                  <c:v>3.0775515895011849E-2</c:v>
                </c:pt>
                <c:pt idx="54">
                  <c:v>2.856172806220978E-2</c:v>
                </c:pt>
                <c:pt idx="55">
                  <c:v>2.9260191711765828E-2</c:v>
                </c:pt>
                <c:pt idx="56">
                  <c:v>3.1178692703543048E-2</c:v>
                </c:pt>
                <c:pt idx="57">
                  <c:v>3.7031471681131703E-2</c:v>
                </c:pt>
                <c:pt idx="58">
                  <c:v>3.9909501581123753E-2</c:v>
                </c:pt>
                <c:pt idx="59">
                  <c:v>3.3090443177845791E-2</c:v>
                </c:pt>
                <c:pt idx="60">
                  <c:v>2.0429936026239697E-2</c:v>
                </c:pt>
                <c:pt idx="61">
                  <c:v>1.5942339180034886E-2</c:v>
                </c:pt>
                <c:pt idx="62">
                  <c:v>2.6561543645322632E-2</c:v>
                </c:pt>
                <c:pt idx="63">
                  <c:v>3.5068893654044385E-2</c:v>
                </c:pt>
                <c:pt idx="64">
                  <c:v>3.0967228847484717E-2</c:v>
                </c:pt>
                <c:pt idx="65">
                  <c:v>2.6027056162994167E-2</c:v>
                </c:pt>
                <c:pt idx="66">
                  <c:v>2.5871503741223587E-2</c:v>
                </c:pt>
                <c:pt idx="67">
                  <c:v>2.691260699372984E-2</c:v>
                </c:pt>
                <c:pt idx="68">
                  <c:v>2.5874418970458959E-2</c:v>
                </c:pt>
                <c:pt idx="69">
                  <c:v>2.3193315376484971E-2</c:v>
                </c:pt>
                <c:pt idx="70">
                  <c:v>2.2686657383630057E-2</c:v>
                </c:pt>
                <c:pt idx="71">
                  <c:v>2.6189284143623485E-2</c:v>
                </c:pt>
                <c:pt idx="72">
                  <c:v>2.7336338114147821E-2</c:v>
                </c:pt>
                <c:pt idx="73">
                  <c:v>2.7740990571672709E-2</c:v>
                </c:pt>
                <c:pt idx="74">
                  <c:v>2.8775273119844166E-2</c:v>
                </c:pt>
                <c:pt idx="75">
                  <c:v>2.8510329318482425E-2</c:v>
                </c:pt>
                <c:pt idx="76">
                  <c:v>2.7909474603405617E-2</c:v>
                </c:pt>
                <c:pt idx="77">
                  <c:v>2.354699792786898E-2</c:v>
                </c:pt>
                <c:pt idx="78">
                  <c:v>2.3516397046911525E-2</c:v>
                </c:pt>
                <c:pt idx="79">
                  <c:v>2.2115174941799768E-2</c:v>
                </c:pt>
                <c:pt idx="80">
                  <c:v>2.2268202762568419E-2</c:v>
                </c:pt>
                <c:pt idx="81">
                  <c:v>2.1244426266941792E-2</c:v>
                </c:pt>
                <c:pt idx="82">
                  <c:v>3.1177386289303839E-2</c:v>
                </c:pt>
                <c:pt idx="83">
                  <c:v>2.6306476866990773E-2</c:v>
                </c:pt>
                <c:pt idx="84">
                  <c:v>2.5524833007679375E-2</c:v>
                </c:pt>
                <c:pt idx="85">
                  <c:v>2.6871534411513368E-2</c:v>
                </c:pt>
                <c:pt idx="86">
                  <c:v>2.6338851413823878E-2</c:v>
                </c:pt>
                <c:pt idx="87">
                  <c:v>2.4648701089615546E-2</c:v>
                </c:pt>
                <c:pt idx="88">
                  <c:v>2.6238033764437702E-2</c:v>
                </c:pt>
                <c:pt idx="89">
                  <c:v>3.0191859532939729E-2</c:v>
                </c:pt>
                <c:pt idx="90">
                  <c:v>3.0716851696320817E-2</c:v>
                </c:pt>
                <c:pt idx="91">
                  <c:v>3.1790352756617284E-2</c:v>
                </c:pt>
                <c:pt idx="92">
                  <c:v>2.9789485452214992E-2</c:v>
                </c:pt>
                <c:pt idx="93">
                  <c:v>2.7419432969366012E-2</c:v>
                </c:pt>
                <c:pt idx="94">
                  <c:v>2.5375304588112154E-2</c:v>
                </c:pt>
                <c:pt idx="95">
                  <c:v>2.7271435244645044E-2</c:v>
                </c:pt>
                <c:pt idx="96">
                  <c:v>2.4300725205733124E-2</c:v>
                </c:pt>
                <c:pt idx="97">
                  <c:v>2.5953063658202231E-2</c:v>
                </c:pt>
                <c:pt idx="98">
                  <c:v>2.870484051773789E-2</c:v>
                </c:pt>
                <c:pt idx="99">
                  <c:v>3.0161179689259059E-2</c:v>
                </c:pt>
                <c:pt idx="100">
                  <c:v>3.7558407981539428E-2</c:v>
                </c:pt>
                <c:pt idx="101">
                  <c:v>3.5796970668813106E-2</c:v>
                </c:pt>
              </c:numCache>
            </c:numRef>
          </c:yVal>
          <c:smooth val="0"/>
          <c:extLst>
            <c:ext xmlns:c16="http://schemas.microsoft.com/office/drawing/2014/chart" uri="{C3380CC4-5D6E-409C-BE32-E72D297353CC}">
              <c16:uniqueId val="{00000000-F32D-48B7-BC20-E66FC6253BAD}"/>
            </c:ext>
          </c:extLst>
        </c:ser>
        <c:ser>
          <c:idx val="1"/>
          <c:order val="1"/>
          <c:tx>
            <c:strRef>
              <c:f>Sheet1!$B$10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6:$A$157</c:f>
              <c:numCache>
                <c:formatCode>General</c:formatCode>
                <c:ptCount val="52"/>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numCache>
            </c:numRef>
          </c:xVal>
          <c:yVal>
            <c:numRef>
              <c:f>Sheet1!$B$106:$B$157</c:f>
              <c:numCache>
                <c:formatCode>General</c:formatCode>
                <c:ptCount val="52"/>
                <c:pt idx="0">
                  <c:v>3.3379430772150658E-2</c:v>
                </c:pt>
                <c:pt idx="1">
                  <c:v>3.5297770608354727E-2</c:v>
                </c:pt>
                <c:pt idx="2">
                  <c:v>3.603152077608085E-2</c:v>
                </c:pt>
                <c:pt idx="3">
                  <c:v>3.0978674639028675E-2</c:v>
                </c:pt>
                <c:pt idx="4">
                  <c:v>2.8133515753956471E-2</c:v>
                </c:pt>
                <c:pt idx="5">
                  <c:v>2.7512069607189618E-2</c:v>
                </c:pt>
                <c:pt idx="6">
                  <c:v>2.7535908601076187E-2</c:v>
                </c:pt>
                <c:pt idx="7">
                  <c:v>2.7306049137985969E-2</c:v>
                </c:pt>
                <c:pt idx="8">
                  <c:v>2.6838607545871734E-2</c:v>
                </c:pt>
                <c:pt idx="9">
                  <c:v>2.8577136215520643E-2</c:v>
                </c:pt>
                <c:pt idx="10">
                  <c:v>2.9045708307140341E-2</c:v>
                </c:pt>
                <c:pt idx="11">
                  <c:v>3.0151694267354034E-2</c:v>
                </c:pt>
                <c:pt idx="12">
                  <c:v>3.1278274774940926E-2</c:v>
                </c:pt>
                <c:pt idx="13">
                  <c:v>3.2623144271831599E-2</c:v>
                </c:pt>
                <c:pt idx="14">
                  <c:v>3.2081452766552027E-2</c:v>
                </c:pt>
                <c:pt idx="15">
                  <c:v>2.8476513020004538E-2</c:v>
                </c:pt>
                <c:pt idx="16">
                  <c:v>2.8897929262062423E-2</c:v>
                </c:pt>
                <c:pt idx="17">
                  <c:v>2.8572345272906727E-2</c:v>
                </c:pt>
                <c:pt idx="18">
                  <c:v>2.7582157287634194E-2</c:v>
                </c:pt>
                <c:pt idx="19">
                  <c:v>2.6684207925807661E-2</c:v>
                </c:pt>
                <c:pt idx="20">
                  <c:v>2.5074098168638374E-2</c:v>
                </c:pt>
                <c:pt idx="21">
                  <c:v>3.7053775555914395E-2</c:v>
                </c:pt>
                <c:pt idx="22">
                  <c:v>4.1201839145334811E-2</c:v>
                </c:pt>
                <c:pt idx="23">
                  <c:v>3.952108516249337E-2</c:v>
                </c:pt>
                <c:pt idx="24">
                  <c:v>3.301132678213544E-2</c:v>
                </c:pt>
                <c:pt idx="25">
                  <c:v>3.4672282379825628E-2</c:v>
                </c:pt>
                <c:pt idx="26">
                  <c:v>3.6478521099227869E-2</c:v>
                </c:pt>
                <c:pt idx="27">
                  <c:v>3.1719960612283417E-2</c:v>
                </c:pt>
                <c:pt idx="28">
                  <c:v>2.9844699099281863E-2</c:v>
                </c:pt>
                <c:pt idx="29">
                  <c:v>2.8247037929351546E-2</c:v>
                </c:pt>
                <c:pt idx="30">
                  <c:v>2.3926861689124793E-2</c:v>
                </c:pt>
                <c:pt idx="31">
                  <c:v>2.0770671408149036E-2</c:v>
                </c:pt>
                <c:pt idx="32">
                  <c:v>2.3460558709885785E-2</c:v>
                </c:pt>
                <c:pt idx="33">
                  <c:v>3.0427962862070307E-2</c:v>
                </c:pt>
                <c:pt idx="34">
                  <c:v>3.1037706913624008E-2</c:v>
                </c:pt>
                <c:pt idx="35">
                  <c:v>2.928997264422914E-2</c:v>
                </c:pt>
                <c:pt idx="36">
                  <c:v>2.9697936908540855E-2</c:v>
                </c:pt>
                <c:pt idx="37">
                  <c:v>3.0248130900335804E-2</c:v>
                </c:pt>
                <c:pt idx="38">
                  <c:v>3.5070387750061743E-2</c:v>
                </c:pt>
                <c:pt idx="39">
                  <c:v>3.1208337770205517E-2</c:v>
                </c:pt>
                <c:pt idx="40">
                  <c:v>2.6826790166755026E-2</c:v>
                </c:pt>
                <c:pt idx="41">
                  <c:v>2.4203784771293646E-2</c:v>
                </c:pt>
                <c:pt idx="42">
                  <c:v>2.4098053977022377E-2</c:v>
                </c:pt>
                <c:pt idx="43">
                  <c:v>2.4523754132153155E-2</c:v>
                </c:pt>
                <c:pt idx="44">
                  <c:v>2.2379504666963371E-2</c:v>
                </c:pt>
                <c:pt idx="45">
                  <c:v>2.104065524243157E-2</c:v>
                </c:pt>
                <c:pt idx="46">
                  <c:v>2.2028240128902143E-2</c:v>
                </c:pt>
                <c:pt idx="47">
                  <c:v>2.3321641522021073E-2</c:v>
                </c:pt>
                <c:pt idx="48">
                  <c:v>2.5721900660138006E-2</c:v>
                </c:pt>
                <c:pt idx="49">
                  <c:v>2.4967370312040958E-2</c:v>
                </c:pt>
                <c:pt idx="50">
                  <c:v>2.6033359791458374E-2</c:v>
                </c:pt>
                <c:pt idx="51">
                  <c:v>2.5702227757022279E-2</c:v>
                </c:pt>
              </c:numCache>
            </c:numRef>
          </c:yVal>
          <c:smooth val="0"/>
          <c:extLst>
            <c:ext xmlns:c16="http://schemas.microsoft.com/office/drawing/2014/chart" uri="{C3380CC4-5D6E-409C-BE32-E72D297353CC}">
              <c16:uniqueId val="{00000002-F32D-48B7-BC20-E66FC6253BAD}"/>
            </c:ext>
          </c:extLst>
        </c:ser>
        <c:ser>
          <c:idx val="2"/>
          <c:order val="2"/>
          <c:tx>
            <c:strRef>
              <c:f>Sheet1!$B$159</c:f>
              <c:strCache>
                <c:ptCount val="1"/>
                <c:pt idx="0">
                  <c:v>Custom Linep3yQ</c:v>
                </c:pt>
              </c:strCache>
            </c:strRef>
          </c:tx>
          <c:spPr>
            <a:ln w="19050" cap="rnd">
              <a:solidFill>
                <a:srgbClr val="C00000"/>
              </a:solidFill>
              <a:prstDash val="sysDot"/>
              <a:round/>
            </a:ln>
            <a:effectLst/>
          </c:spPr>
          <c:marker>
            <c:symbol val="none"/>
          </c:marker>
          <c:xVal>
            <c:numRef>
              <c:f>Sheet1!$A$160:$A$161</c:f>
              <c:numCache>
                <c:formatCode>General</c:formatCode>
                <c:ptCount val="2"/>
                <c:pt idx="0">
                  <c:v>0</c:v>
                </c:pt>
                <c:pt idx="1">
                  <c:v>0.27575744047645689</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3-F32D-48B7-BC20-E66FC6253BAD}"/>
            </c:ext>
          </c:extLst>
        </c:ser>
        <c:ser>
          <c:idx val="3"/>
          <c:order val="3"/>
          <c:tx>
            <c:strRef>
              <c:f>Sheet1!$B$16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0.27575744047645689</c:v>
                </c:pt>
                <c:pt idx="1">
                  <c:v>0.27575744047645689</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8:$A$169</c:f>
              <c:numCache>
                <c:formatCode>General</c:formatCode>
                <c:ptCount val="2"/>
                <c:pt idx="0">
                  <c:v>0</c:v>
                </c:pt>
                <c:pt idx="1">
                  <c:v>0.28987004975079905</c:v>
                </c:pt>
              </c:numCache>
            </c:numRef>
          </c:xVal>
          <c:yVal>
            <c:numRef>
              <c:f>Sheet1!$B$168:$B$169</c:f>
              <c:numCache>
                <c:formatCode>General</c:formatCode>
                <c:ptCount val="2"/>
                <c:pt idx="0">
                  <c:v>3.1101577984060606E-2</c:v>
                </c:pt>
                <c:pt idx="1">
                  <c:v>3.1101577984060606E-2</c:v>
                </c:pt>
              </c:numCache>
            </c:numRef>
          </c:yVal>
          <c:smooth val="0"/>
          <c:extLst>
            <c:ext xmlns:c16="http://schemas.microsoft.com/office/drawing/2014/chart" uri="{C3380CC4-5D6E-409C-BE32-E72D297353CC}">
              <c16:uniqueId val="{0000000A-F32D-48B7-BC20-E66FC6253BAD}"/>
            </c:ext>
          </c:extLst>
        </c:ser>
        <c:ser>
          <c:idx val="5"/>
          <c:order val="5"/>
          <c:tx>
            <c:strRef>
              <c:f>Sheet1!$B$17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0.28987004975079905</c:v>
                </c:pt>
                <c:pt idx="1">
                  <c:v>0.28987004975079905</c:v>
                </c:pt>
              </c:numCache>
            </c:numRef>
          </c:xVal>
          <c:yVal>
            <c:numRef>
              <c:f>Sheet1!$B$172:$B$173</c:f>
              <c:numCache>
                <c:formatCode>General</c:formatCode>
                <c:ptCount val="2"/>
                <c:pt idx="0">
                  <c:v>3.1101577984060606E-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6:$A$177</c:f>
              <c:numCache>
                <c:formatCode>General</c:formatCode>
                <c:ptCount val="2"/>
                <c:pt idx="0">
                  <c:v>0</c:v>
                </c:pt>
                <c:pt idx="1">
                  <c:v>0.32888493428125432</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1-F32D-48B7-BC20-E66FC6253BAD}"/>
            </c:ext>
          </c:extLst>
        </c:ser>
        <c:ser>
          <c:idx val="7"/>
          <c:order val="7"/>
          <c:tx>
            <c:strRef>
              <c:f>Sheet1!$B$17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0:$A$181</c:f>
              <c:numCache>
                <c:formatCode>General</c:formatCode>
                <c:ptCount val="2"/>
                <c:pt idx="0">
                  <c:v>0.32888493428125432</c:v>
                </c:pt>
                <c:pt idx="1">
                  <c:v>0.32888493428125432</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4:$A$238</c:f>
              <c:numCache>
                <c:formatCode>General</c:formatCode>
                <c:ptCount val="55"/>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pt idx="52">
                  <c:v>0.28987004975079905</c:v>
                </c:pt>
                <c:pt idx="53">
                  <c:v>0.27575744047645689</c:v>
                </c:pt>
                <c:pt idx="54">
                  <c:v>0.32888493428125432</c:v>
                </c:pt>
              </c:numCache>
            </c:numRef>
          </c:xVal>
          <c:yVal>
            <c:numRef>
              <c:f>Sheet1!$B$184:$B$238</c:f>
              <c:numCache>
                <c:formatCode>General</c:formatCode>
                <c:ptCount val="55"/>
                <c:pt idx="0">
                  <c:v>2.9413873016704839E-2</c:v>
                </c:pt>
                <c:pt idx="1">
                  <c:v>2.9896344890080709E-2</c:v>
                </c:pt>
                <c:pt idx="2">
                  <c:v>3.0155656486461964E-2</c:v>
                </c:pt>
                <c:pt idx="3">
                  <c:v>2.7109900331363727E-2</c:v>
                </c:pt>
                <c:pt idx="4">
                  <c:v>2.4371775225560388E-2</c:v>
                </c:pt>
                <c:pt idx="5">
                  <c:v>2.4094268404047922E-2</c:v>
                </c:pt>
                <c:pt idx="6">
                  <c:v>2.4322183284519114E-2</c:v>
                </c:pt>
                <c:pt idx="7">
                  <c:v>2.5263903460272262E-2</c:v>
                </c:pt>
                <c:pt idx="8">
                  <c:v>2.7533717749061021E-2</c:v>
                </c:pt>
                <c:pt idx="9">
                  <c:v>2.9136059572005948E-2</c:v>
                </c:pt>
                <c:pt idx="10">
                  <c:v>2.8439725189245424E-2</c:v>
                </c:pt>
                <c:pt idx="11">
                  <c:v>2.8481575446516888E-2</c:v>
                </c:pt>
                <c:pt idx="12">
                  <c:v>3.0108594349578348E-2</c:v>
                </c:pt>
                <c:pt idx="13">
                  <c:v>3.169054387055209E-2</c:v>
                </c:pt>
                <c:pt idx="14">
                  <c:v>3.1465934595702259E-2</c:v>
                </c:pt>
                <c:pt idx="15">
                  <c:v>3.1477667841337743E-2</c:v>
                </c:pt>
                <c:pt idx="16">
                  <c:v>3.1573121681829512E-2</c:v>
                </c:pt>
                <c:pt idx="17">
                  <c:v>3.1532924296196564E-2</c:v>
                </c:pt>
                <c:pt idx="18">
                  <c:v>3.0515660900336583E-2</c:v>
                </c:pt>
                <c:pt idx="19">
                  <c:v>3.0211789143868836E-2</c:v>
                </c:pt>
                <c:pt idx="20">
                  <c:v>2.8955614795748236E-2</c:v>
                </c:pt>
                <c:pt idx="21">
                  <c:v>3.2772131418724967E-2</c:v>
                </c:pt>
                <c:pt idx="22">
                  <c:v>3.3542665870490845E-2</c:v>
                </c:pt>
                <c:pt idx="23">
                  <c:v>3.3435184307609174E-2</c:v>
                </c:pt>
                <c:pt idx="24">
                  <c:v>3.268271460365052E-2</c:v>
                </c:pt>
                <c:pt idx="25">
                  <c:v>3.3870059534782497E-2</c:v>
                </c:pt>
                <c:pt idx="26">
                  <c:v>3.3073079926514877E-2</c:v>
                </c:pt>
                <c:pt idx="27">
                  <c:v>3.1808643842456727E-2</c:v>
                </c:pt>
                <c:pt idx="28">
                  <c:v>3.0502176751221188E-2</c:v>
                </c:pt>
                <c:pt idx="29">
                  <c:v>2.7906678470255915E-2</c:v>
                </c:pt>
                <c:pt idx="30">
                  <c:v>2.5033266393526828E-2</c:v>
                </c:pt>
                <c:pt idx="31">
                  <c:v>2.630903103630991E-2</c:v>
                </c:pt>
                <c:pt idx="32">
                  <c:v>2.8693045313762239E-2</c:v>
                </c:pt>
                <c:pt idx="33">
                  <c:v>3.2596808075387743E-2</c:v>
                </c:pt>
                <c:pt idx="34">
                  <c:v>3.3462836223474769E-2</c:v>
                </c:pt>
                <c:pt idx="35">
                  <c:v>3.1780988069129081E-2</c:v>
                </c:pt>
                <c:pt idx="36">
                  <c:v>3.2997078119396075E-2</c:v>
                </c:pt>
                <c:pt idx="37">
                  <c:v>3.4241810296995578E-2</c:v>
                </c:pt>
                <c:pt idx="38">
                  <c:v>3.5259393566231922E-2</c:v>
                </c:pt>
                <c:pt idx="39">
                  <c:v>3.2524924643797831E-2</c:v>
                </c:pt>
                <c:pt idx="40">
                  <c:v>2.8308242375685959E-2</c:v>
                </c:pt>
                <c:pt idx="41">
                  <c:v>2.54404048951909E-2</c:v>
                </c:pt>
                <c:pt idx="42">
                  <c:v>2.3287513921568817E-2</c:v>
                </c:pt>
                <c:pt idx="43">
                  <c:v>2.3365554652546534E-2</c:v>
                </c:pt>
                <c:pt idx="44">
                  <c:v>2.3054756675168077E-2</c:v>
                </c:pt>
                <c:pt idx="45">
                  <c:v>2.3566114628330095E-2</c:v>
                </c:pt>
                <c:pt idx="46">
                  <c:v>2.5888630394799238E-2</c:v>
                </c:pt>
                <c:pt idx="47">
                  <c:v>2.6265547596405793E-2</c:v>
                </c:pt>
                <c:pt idx="48">
                  <c:v>2.7412822111043234E-2</c:v>
                </c:pt>
                <c:pt idx="49">
                  <c:v>2.5962622488181153E-2</c:v>
                </c:pt>
                <c:pt idx="50">
                  <c:v>2.4525712064247307E-2</c:v>
                </c:pt>
                <c:pt idx="51">
                  <c:v>2.4473274634488791E-2</c:v>
                </c:pt>
                <c:pt idx="52">
                  <c:v>3.1101577984060602E-2</c:v>
                </c:pt>
                <c:pt idx="53">
                  <c:v>3.3390590546211449E-2</c:v>
                </c:pt>
                <c:pt idx="54">
                  <c:v>2.4773509299877497E-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40737801608579088"/>
          <c:min val="0.18705920295984374"/>
        </c:scaling>
        <c:delete val="0"/>
        <c:axPos val="b"/>
        <c:title>
          <c:tx>
            <c:rich>
              <a:bodyPr rot="0" spcFirstLastPara="1" vertOverflow="ellipsis" vert="horz" wrap="square" anchor="ctr" anchorCtr="1"/>
              <a:lstStyle/>
              <a:p>
                <a:pPr>
                  <a:defRPr sz="800" b="0">
                    <a:latin typeface="Nexa Bold"/>
                  </a:defRPr>
                </a:pPr>
                <a:r>
                  <a:rPr lang="en-US"/>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1291069944164441</c:v>
                </c:pt>
                <c:pt idx="1">
                  <c:v>0.13485892486555889</c:v>
                </c:pt>
                <c:pt idx="2">
                  <c:v>0.13361697278764331</c:v>
                </c:pt>
                <c:pt idx="3">
                  <c:v>0.13181455947245191</c:v>
                </c:pt>
                <c:pt idx="4">
                  <c:v>0.13079849733141291</c:v>
                </c:pt>
                <c:pt idx="5">
                  <c:v>0.12786527339341361</c:v>
                </c:pt>
                <c:pt idx="6">
                  <c:v>0.13389772495720559</c:v>
                </c:pt>
                <c:pt idx="7">
                  <c:v>0.1359519354250221</c:v>
                </c:pt>
                <c:pt idx="8">
                  <c:v>0.13408395448492219</c:v>
                </c:pt>
                <c:pt idx="9">
                  <c:v>0.1272173036352085</c:v>
                </c:pt>
                <c:pt idx="10">
                  <c:v>0.12580154817273331</c:v>
                </c:pt>
                <c:pt idx="11">
                  <c:v>0.1247833670603628</c:v>
                </c:pt>
                <c:pt idx="12">
                  <c:v>0.12616612542700109</c:v>
                </c:pt>
                <c:pt idx="13">
                  <c:v>0.13426073846412021</c:v>
                </c:pt>
                <c:pt idx="14">
                  <c:v>0.13040345544745011</c:v>
                </c:pt>
                <c:pt idx="15">
                  <c:v>0.12568196098787579</c:v>
                </c:pt>
                <c:pt idx="16">
                  <c:v>0.1284543866213313</c:v>
                </c:pt>
                <c:pt idx="17">
                  <c:v>0.13252000199740169</c:v>
                </c:pt>
                <c:pt idx="18">
                  <c:v>0.12612196270786419</c:v>
                </c:pt>
                <c:pt idx="19">
                  <c:v>0.13496886950214251</c:v>
                </c:pt>
                <c:pt idx="20">
                  <c:v>0.13064933940560819</c:v>
                </c:pt>
                <c:pt idx="21">
                  <c:v>0.12635635491031241</c:v>
                </c:pt>
                <c:pt idx="22">
                  <c:v>0.12863609693980929</c:v>
                </c:pt>
                <c:pt idx="23">
                  <c:v>0.13116494310893009</c:v>
                </c:pt>
                <c:pt idx="24">
                  <c:v>0.1278058186678292</c:v>
                </c:pt>
                <c:pt idx="25">
                  <c:v>0.1235932293079324</c:v>
                </c:pt>
                <c:pt idx="26">
                  <c:v>0.12290934252239009</c:v>
                </c:pt>
                <c:pt idx="27">
                  <c:v>0.12109503765009599</c:v>
                </c:pt>
                <c:pt idx="28">
                  <c:v>0.12207135397276341</c:v>
                </c:pt>
                <c:pt idx="29">
                  <c:v>0.1263122981136704</c:v>
                </c:pt>
                <c:pt idx="30">
                  <c:v>0.1263263635992006</c:v>
                </c:pt>
                <c:pt idx="31">
                  <c:v>0.12476889875077329</c:v>
                </c:pt>
                <c:pt idx="32">
                  <c:v>0.12674353123399981</c:v>
                </c:pt>
                <c:pt idx="33">
                  <c:v>0.12588695742723971</c:v>
                </c:pt>
                <c:pt idx="34">
                  <c:v>0.12390000002667199</c:v>
                </c:pt>
                <c:pt idx="35">
                  <c:v>0.12440850519118039</c:v>
                </c:pt>
                <c:pt idx="36">
                  <c:v>0.12336288941275771</c:v>
                </c:pt>
                <c:pt idx="37">
                  <c:v>0.1236579395008299</c:v>
                </c:pt>
                <c:pt idx="38">
                  <c:v>0.1244360084590832</c:v>
                </c:pt>
                <c:pt idx="39">
                  <c:v>0.12224083915887329</c:v>
                </c:pt>
                <c:pt idx="40">
                  <c:v>0.1219327444047168</c:v>
                </c:pt>
                <c:pt idx="41">
                  <c:v>0.1250560323566518</c:v>
                </c:pt>
                <c:pt idx="42">
                  <c:v>0.12745512740440279</c:v>
                </c:pt>
                <c:pt idx="43">
                  <c:v>0.1211984894858895</c:v>
                </c:pt>
                <c:pt idx="44">
                  <c:v>0.1258670226690102</c:v>
                </c:pt>
                <c:pt idx="45">
                  <c:v>0.1272339848348821</c:v>
                </c:pt>
                <c:pt idx="46">
                  <c:v>0.13490346412193621</c:v>
                </c:pt>
                <c:pt idx="47">
                  <c:v>0.1232399985423943</c:v>
                </c:pt>
                <c:pt idx="48">
                  <c:v>0.12311641114157899</c:v>
                </c:pt>
                <c:pt idx="49">
                  <c:v>0.1234350759255986</c:v>
                </c:pt>
                <c:pt idx="50">
                  <c:v>0.12419744604278141</c:v>
                </c:pt>
                <c:pt idx="51">
                  <c:v>0.13145508336915421</c:v>
                </c:pt>
                <c:pt idx="52">
                  <c:v>0.13109930113357529</c:v>
                </c:pt>
                <c:pt idx="53">
                  <c:v>0.13568928560863899</c:v>
                </c:pt>
                <c:pt idx="54">
                  <c:v>0.1285210371531505</c:v>
                </c:pt>
                <c:pt idx="55">
                  <c:v>0.1300753516373136</c:v>
                </c:pt>
                <c:pt idx="56">
                  <c:v>0.12489749950473671</c:v>
                </c:pt>
                <c:pt idx="57">
                  <c:v>0.10266521645136149</c:v>
                </c:pt>
                <c:pt idx="58">
                  <c:v>9.4621929093130358E-2</c:v>
                </c:pt>
                <c:pt idx="59">
                  <c:v>9.8212612965823731E-2</c:v>
                </c:pt>
                <c:pt idx="60">
                  <c:v>0.1102654339127445</c:v>
                </c:pt>
                <c:pt idx="61">
                  <c:v>0.1086326326560431</c:v>
                </c:pt>
                <c:pt idx="62">
                  <c:v>0.10273100071317991</c:v>
                </c:pt>
                <c:pt idx="63">
                  <c:v>0.1056131313298932</c:v>
                </c:pt>
                <c:pt idx="64">
                  <c:v>0.116037952360732</c:v>
                </c:pt>
                <c:pt idx="65">
                  <c:v>0.13065683342069531</c:v>
                </c:pt>
                <c:pt idx="66">
                  <c:v>0.132712182958446</c:v>
                </c:pt>
                <c:pt idx="67">
                  <c:v>0.12498087731066</c:v>
                </c:pt>
                <c:pt idx="68">
                  <c:v>0.1318623648264734</c:v>
                </c:pt>
                <c:pt idx="69">
                  <c:v>0.13405085209231629</c:v>
                </c:pt>
                <c:pt idx="70">
                  <c:v>0.12663942767242409</c:v>
                </c:pt>
                <c:pt idx="71">
                  <c:v>0.13715997078444109</c:v>
                </c:pt>
                <c:pt idx="72">
                  <c:v>0.1312699287114284</c:v>
                </c:pt>
                <c:pt idx="73">
                  <c:v>0.1290474255800157</c:v>
                </c:pt>
                <c:pt idx="74">
                  <c:v>0.12976627424972709</c:v>
                </c:pt>
                <c:pt idx="75">
                  <c:v>0.12686829869724861</c:v>
                </c:pt>
                <c:pt idx="76">
                  <c:v>0.1253623579280761</c:v>
                </c:pt>
                <c:pt idx="77">
                  <c:v>0.12968156222074531</c:v>
                </c:pt>
                <c:pt idx="78">
                  <c:v>0.12750329032649099</c:v>
                </c:pt>
                <c:pt idx="79">
                  <c:v>0.12461050546445129</c:v>
                </c:pt>
                <c:pt idx="80">
                  <c:v>0.12900335189603049</c:v>
                </c:pt>
                <c:pt idx="81">
                  <c:v>0.12741746962889991</c:v>
                </c:pt>
                <c:pt idx="82">
                  <c:v>0.1227246355993528</c:v>
                </c:pt>
                <c:pt idx="83">
                  <c:v>0.12325497363003669</c:v>
                </c:pt>
                <c:pt idx="84">
                  <c:v>0.1237777050026681</c:v>
                </c:pt>
                <c:pt idx="85">
                  <c:v>0.1227618684932686</c:v>
                </c:pt>
                <c:pt idx="86">
                  <c:v>0.12625273778634091</c:v>
                </c:pt>
                <c:pt idx="87">
                  <c:v>0.12848401925218161</c:v>
                </c:pt>
                <c:pt idx="88">
                  <c:v>0.12808991008793849</c:v>
                </c:pt>
                <c:pt idx="89">
                  <c:v>0.12669599383578639</c:v>
                </c:pt>
                <c:pt idx="90">
                  <c:v>0.128457244567205</c:v>
                </c:pt>
                <c:pt idx="91">
                  <c:v>0.1287495738807907</c:v>
                </c:pt>
                <c:pt idx="92">
                  <c:v>0.12753778198649329</c:v>
                </c:pt>
                <c:pt idx="93">
                  <c:v>0.12858384689357691</c:v>
                </c:pt>
                <c:pt idx="94">
                  <c:v>0.13053873342212541</c:v>
                </c:pt>
                <c:pt idx="95">
                  <c:v>0.1283681251237693</c:v>
                </c:pt>
                <c:pt idx="96">
                  <c:v>0.12712219330013799</c:v>
                </c:pt>
                <c:pt idx="97">
                  <c:v>0.12537888942730019</c:v>
                </c:pt>
                <c:pt idx="98">
                  <c:v>0.12745921704595151</c:v>
                </c:pt>
                <c:pt idx="99">
                  <c:v>0.1212266665697815</c:v>
                </c:pt>
                <c:pt idx="100">
                  <c:v>0.1141728668578047</c:v>
                </c:pt>
                <c:pt idx="101">
                  <c:v>0.115957494325048</c:v>
                </c:pt>
              </c:numCache>
            </c:numRef>
          </c:xVal>
          <c:yVal>
            <c:numRef>
              <c:f>Sheet1!$B$2:$B$103</c:f>
              <c:numCache>
                <c:formatCode>General</c:formatCode>
                <c:ptCount val="102"/>
                <c:pt idx="0">
                  <c:v>3.1549194168607013E-2</c:v>
                </c:pt>
                <c:pt idx="1">
                  <c:v>2.5925076493376501E-2</c:v>
                </c:pt>
                <c:pt idx="2">
                  <c:v>1.9457371147598559E-2</c:v>
                </c:pt>
                <c:pt idx="3">
                  <c:v>2.1005226955186751E-2</c:v>
                </c:pt>
                <c:pt idx="4">
                  <c:v>2.3683174888924512E-2</c:v>
                </c:pt>
                <c:pt idx="5">
                  <c:v>2.481491169212223E-2</c:v>
                </c:pt>
                <c:pt idx="6">
                  <c:v>2.2966901329024649E-2</c:v>
                </c:pt>
                <c:pt idx="7">
                  <c:v>2.1693356757167159E-2</c:v>
                </c:pt>
                <c:pt idx="8">
                  <c:v>2.508474647577718E-2</c:v>
                </c:pt>
                <c:pt idx="9">
                  <c:v>3.2219360006132687E-2</c:v>
                </c:pt>
                <c:pt idx="10">
                  <c:v>3.3455366889535383E-2</c:v>
                </c:pt>
                <c:pt idx="11">
                  <c:v>3.077420503855852E-2</c:v>
                </c:pt>
                <c:pt idx="12">
                  <c:v>3.166311843777065E-2</c:v>
                </c:pt>
                <c:pt idx="13">
                  <c:v>2.9573633835338661E-2</c:v>
                </c:pt>
                <c:pt idx="14">
                  <c:v>2.943829474961886E-2</c:v>
                </c:pt>
                <c:pt idx="15">
                  <c:v>3.2326555355538883E-2</c:v>
                </c:pt>
                <c:pt idx="16">
                  <c:v>3.045418321235838E-2</c:v>
                </c:pt>
                <c:pt idx="17">
                  <c:v>3.0177244147381321E-2</c:v>
                </c:pt>
                <c:pt idx="18">
                  <c:v>3.0949579617420529E-2</c:v>
                </c:pt>
                <c:pt idx="19">
                  <c:v>3.3044676701229417E-2</c:v>
                </c:pt>
                <c:pt idx="20">
                  <c:v>3.4502368865567047E-2</c:v>
                </c:pt>
                <c:pt idx="21">
                  <c:v>3.8171203781773647E-2</c:v>
                </c:pt>
                <c:pt idx="22">
                  <c:v>3.2633840746857157E-2</c:v>
                </c:pt>
                <c:pt idx="23">
                  <c:v>3.22851825867847E-2</c:v>
                </c:pt>
                <c:pt idx="24">
                  <c:v>3.4293774474369272E-2</c:v>
                </c:pt>
                <c:pt idx="25">
                  <c:v>3.3493331489235549E-2</c:v>
                </c:pt>
                <c:pt idx="26">
                  <c:v>3.2256296982208908E-2</c:v>
                </c:pt>
                <c:pt idx="27">
                  <c:v>3.256327154323236E-2</c:v>
                </c:pt>
                <c:pt idx="28">
                  <c:v>3.0215972855570969E-2</c:v>
                </c:pt>
                <c:pt idx="29">
                  <c:v>2.971323515475446E-2</c:v>
                </c:pt>
                <c:pt idx="30">
                  <c:v>2.9886044202056931E-2</c:v>
                </c:pt>
                <c:pt idx="31">
                  <c:v>3.0113049153545669E-2</c:v>
                </c:pt>
                <c:pt idx="32">
                  <c:v>3.0121682992946059E-2</c:v>
                </c:pt>
                <c:pt idx="33">
                  <c:v>2.8704102443482309E-2</c:v>
                </c:pt>
                <c:pt idx="34">
                  <c:v>3.0602403901330309E-2</c:v>
                </c:pt>
                <c:pt idx="35">
                  <c:v>3.1456536502498793E-2</c:v>
                </c:pt>
                <c:pt idx="36">
                  <c:v>3.1516667937295108E-2</c:v>
                </c:pt>
                <c:pt idx="37">
                  <c:v>3.3226585884057157E-2</c:v>
                </c:pt>
                <c:pt idx="38">
                  <c:v>3.3016326225624587E-2</c:v>
                </c:pt>
                <c:pt idx="39">
                  <c:v>3.0075909553288729E-2</c:v>
                </c:pt>
                <c:pt idx="40">
                  <c:v>3.030822714314705E-2</c:v>
                </c:pt>
                <c:pt idx="41">
                  <c:v>3.1273537834975489E-2</c:v>
                </c:pt>
                <c:pt idx="42">
                  <c:v>3.005901690014778E-2</c:v>
                </c:pt>
                <c:pt idx="43">
                  <c:v>3.0573863083611631E-2</c:v>
                </c:pt>
                <c:pt idx="44">
                  <c:v>3.254448153409624E-2</c:v>
                </c:pt>
                <c:pt idx="45">
                  <c:v>3.2420025270644671E-2</c:v>
                </c:pt>
                <c:pt idx="46">
                  <c:v>3.0841270586476861E-2</c:v>
                </c:pt>
                <c:pt idx="47">
                  <c:v>3.4545476528939613E-2</c:v>
                </c:pt>
                <c:pt idx="48">
                  <c:v>3.9378011399146942E-2</c:v>
                </c:pt>
                <c:pt idx="49">
                  <c:v>3.4585845792310457E-2</c:v>
                </c:pt>
                <c:pt idx="50">
                  <c:v>3.6889295123608737E-2</c:v>
                </c:pt>
                <c:pt idx="51">
                  <c:v>3.516974061970235E-2</c:v>
                </c:pt>
                <c:pt idx="52">
                  <c:v>3.3440411726256947E-2</c:v>
                </c:pt>
                <c:pt idx="53">
                  <c:v>3.0775515895011849E-2</c:v>
                </c:pt>
                <c:pt idx="54">
                  <c:v>2.856172806220978E-2</c:v>
                </c:pt>
                <c:pt idx="55">
                  <c:v>2.9260191711765832E-2</c:v>
                </c:pt>
                <c:pt idx="56">
                  <c:v>3.1178692703543051E-2</c:v>
                </c:pt>
                <c:pt idx="57">
                  <c:v>3.7031471681131703E-2</c:v>
                </c:pt>
                <c:pt idx="58">
                  <c:v>3.9909501581123753E-2</c:v>
                </c:pt>
                <c:pt idx="59">
                  <c:v>3.3090443177845791E-2</c:v>
                </c:pt>
                <c:pt idx="60">
                  <c:v>2.0429936026239701E-2</c:v>
                </c:pt>
                <c:pt idx="61">
                  <c:v>1.594233918003489E-2</c:v>
                </c:pt>
                <c:pt idx="62">
                  <c:v>2.6561543645322629E-2</c:v>
                </c:pt>
                <c:pt idx="63">
                  <c:v>3.5068893654044378E-2</c:v>
                </c:pt>
                <c:pt idx="64">
                  <c:v>3.0967228847484721E-2</c:v>
                </c:pt>
                <c:pt idx="65">
                  <c:v>2.602705616299417E-2</c:v>
                </c:pt>
                <c:pt idx="66">
                  <c:v>2.587150374122359E-2</c:v>
                </c:pt>
                <c:pt idx="67">
                  <c:v>2.691260699372984E-2</c:v>
                </c:pt>
                <c:pt idx="68">
                  <c:v>2.5874418970458959E-2</c:v>
                </c:pt>
                <c:pt idx="69">
                  <c:v>2.3193315376484971E-2</c:v>
                </c:pt>
                <c:pt idx="70">
                  <c:v>2.2686657383630061E-2</c:v>
                </c:pt>
                <c:pt idx="71">
                  <c:v>2.6189284143623481E-2</c:v>
                </c:pt>
                <c:pt idx="72">
                  <c:v>2.7336338114147821E-2</c:v>
                </c:pt>
                <c:pt idx="73">
                  <c:v>2.7740990571672709E-2</c:v>
                </c:pt>
                <c:pt idx="74">
                  <c:v>2.877527311984417E-2</c:v>
                </c:pt>
                <c:pt idx="75">
                  <c:v>2.8510329318482429E-2</c:v>
                </c:pt>
                <c:pt idx="76">
                  <c:v>2.7909474603405621E-2</c:v>
                </c:pt>
                <c:pt idx="77">
                  <c:v>2.354699792786898E-2</c:v>
                </c:pt>
                <c:pt idx="78">
                  <c:v>2.3516397046911521E-2</c:v>
                </c:pt>
                <c:pt idx="79">
                  <c:v>2.2115174941799771E-2</c:v>
                </c:pt>
                <c:pt idx="80">
                  <c:v>2.2268202762568419E-2</c:v>
                </c:pt>
                <c:pt idx="81">
                  <c:v>2.1244426266941788E-2</c:v>
                </c:pt>
                <c:pt idx="82">
                  <c:v>3.1177386289303839E-2</c:v>
                </c:pt>
                <c:pt idx="83">
                  <c:v>2.630647686699077E-2</c:v>
                </c:pt>
                <c:pt idx="84">
                  <c:v>2.5524833007679371E-2</c:v>
                </c:pt>
                <c:pt idx="85">
                  <c:v>2.6871534411513371E-2</c:v>
                </c:pt>
                <c:pt idx="86">
                  <c:v>2.6338851413823881E-2</c:v>
                </c:pt>
                <c:pt idx="87">
                  <c:v>2.464870108961555E-2</c:v>
                </c:pt>
                <c:pt idx="88">
                  <c:v>2.6238033764437702E-2</c:v>
                </c:pt>
                <c:pt idx="89">
                  <c:v>3.0191859532939729E-2</c:v>
                </c:pt>
                <c:pt idx="90">
                  <c:v>3.071685169632082E-2</c:v>
                </c:pt>
                <c:pt idx="91">
                  <c:v>3.1790352756617277E-2</c:v>
                </c:pt>
                <c:pt idx="92">
                  <c:v>2.9789485452214989E-2</c:v>
                </c:pt>
                <c:pt idx="93">
                  <c:v>2.7419432969366012E-2</c:v>
                </c:pt>
                <c:pt idx="94">
                  <c:v>2.5375304588112151E-2</c:v>
                </c:pt>
                <c:pt idx="95">
                  <c:v>2.727143524464504E-2</c:v>
                </c:pt>
                <c:pt idx="96">
                  <c:v>2.430072520573312E-2</c:v>
                </c:pt>
                <c:pt idx="97">
                  <c:v>2.5953063658202231E-2</c:v>
                </c:pt>
                <c:pt idx="98">
                  <c:v>2.870484051773789E-2</c:v>
                </c:pt>
                <c:pt idx="99">
                  <c:v>3.0161179689259059E-2</c:v>
                </c:pt>
                <c:pt idx="100">
                  <c:v>3.7558407981539428E-2</c:v>
                </c:pt>
                <c:pt idx="101">
                  <c:v>3.5796970668813113E-2</c:v>
                </c:pt>
              </c:numCache>
            </c:numRef>
          </c:yVal>
          <c:smooth val="0"/>
          <c:extLst>
            <c:ext xmlns:c16="http://schemas.microsoft.com/office/drawing/2014/chart" uri="{C3380CC4-5D6E-409C-BE32-E72D297353CC}">
              <c16:uniqueId val="{00000000-096C-4121-9522-6AB7243CCAAE}"/>
            </c:ext>
          </c:extLst>
        </c:ser>
        <c:ser>
          <c:idx val="1"/>
          <c:order val="1"/>
          <c:tx>
            <c:strRef>
              <c:f>Sheet1!$B$10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6:$A$157</c:f>
              <c:numCache>
                <c:formatCode>General</c:formatCode>
                <c:ptCount val="52"/>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numCache>
            </c:numRef>
          </c:xVal>
          <c:yVal>
            <c:numRef>
              <c:f>Sheet1!$B$106:$B$157</c:f>
              <c:numCache>
                <c:formatCode>General</c:formatCode>
                <c:ptCount val="52"/>
                <c:pt idx="0">
                  <c:v>3.3379430772150658E-2</c:v>
                </c:pt>
                <c:pt idx="1">
                  <c:v>3.5297770608354727E-2</c:v>
                </c:pt>
                <c:pt idx="2">
                  <c:v>3.603152077608085E-2</c:v>
                </c:pt>
                <c:pt idx="3">
                  <c:v>3.0978674639028671E-2</c:v>
                </c:pt>
                <c:pt idx="4">
                  <c:v>2.8133515753956471E-2</c:v>
                </c:pt>
                <c:pt idx="5">
                  <c:v>2.7512069607189622E-2</c:v>
                </c:pt>
                <c:pt idx="6">
                  <c:v>2.753590860107619E-2</c:v>
                </c:pt>
                <c:pt idx="7">
                  <c:v>2.7306049137985969E-2</c:v>
                </c:pt>
                <c:pt idx="8">
                  <c:v>2.683860754587173E-2</c:v>
                </c:pt>
                <c:pt idx="9">
                  <c:v>2.8577136215520639E-2</c:v>
                </c:pt>
                <c:pt idx="10">
                  <c:v>2.9045708307140341E-2</c:v>
                </c:pt>
                <c:pt idx="11">
                  <c:v>3.0151694267354031E-2</c:v>
                </c:pt>
                <c:pt idx="12">
                  <c:v>3.1278274774940933E-2</c:v>
                </c:pt>
                <c:pt idx="13">
                  <c:v>3.2623144271831599E-2</c:v>
                </c:pt>
                <c:pt idx="14">
                  <c:v>3.2081452766552027E-2</c:v>
                </c:pt>
                <c:pt idx="15">
                  <c:v>2.8476513020004542E-2</c:v>
                </c:pt>
                <c:pt idx="16">
                  <c:v>2.889792926206242E-2</c:v>
                </c:pt>
                <c:pt idx="17">
                  <c:v>2.8572345272906731E-2</c:v>
                </c:pt>
                <c:pt idx="18">
                  <c:v>2.758215728763419E-2</c:v>
                </c:pt>
                <c:pt idx="19">
                  <c:v>2.6684207925807661E-2</c:v>
                </c:pt>
                <c:pt idx="20">
                  <c:v>2.507409816863837E-2</c:v>
                </c:pt>
                <c:pt idx="21">
                  <c:v>3.7053775555914388E-2</c:v>
                </c:pt>
                <c:pt idx="22">
                  <c:v>4.1201839145334811E-2</c:v>
                </c:pt>
                <c:pt idx="23">
                  <c:v>3.952108516249337E-2</c:v>
                </c:pt>
                <c:pt idx="24">
                  <c:v>3.301132678213544E-2</c:v>
                </c:pt>
                <c:pt idx="25">
                  <c:v>3.4672282379825628E-2</c:v>
                </c:pt>
                <c:pt idx="26">
                  <c:v>3.6478521099227869E-2</c:v>
                </c:pt>
                <c:pt idx="27">
                  <c:v>3.1719960612283417E-2</c:v>
                </c:pt>
                <c:pt idx="28">
                  <c:v>2.9844699099281859E-2</c:v>
                </c:pt>
                <c:pt idx="29">
                  <c:v>2.824703792935155E-2</c:v>
                </c:pt>
                <c:pt idx="30">
                  <c:v>2.3926861689124789E-2</c:v>
                </c:pt>
                <c:pt idx="31">
                  <c:v>2.077067140814904E-2</c:v>
                </c:pt>
                <c:pt idx="32">
                  <c:v>2.3460558709885782E-2</c:v>
                </c:pt>
                <c:pt idx="33">
                  <c:v>3.042796286207031E-2</c:v>
                </c:pt>
                <c:pt idx="34">
                  <c:v>3.1037706913624011E-2</c:v>
                </c:pt>
                <c:pt idx="35">
                  <c:v>2.928997264422914E-2</c:v>
                </c:pt>
                <c:pt idx="36">
                  <c:v>2.9697936908540851E-2</c:v>
                </c:pt>
                <c:pt idx="37">
                  <c:v>3.0248130900335801E-2</c:v>
                </c:pt>
                <c:pt idx="38">
                  <c:v>3.5070387750061743E-2</c:v>
                </c:pt>
                <c:pt idx="39">
                  <c:v>3.120833777020552E-2</c:v>
                </c:pt>
                <c:pt idx="40">
                  <c:v>2.682679016675503E-2</c:v>
                </c:pt>
                <c:pt idx="41">
                  <c:v>2.4203784771293649E-2</c:v>
                </c:pt>
                <c:pt idx="42">
                  <c:v>2.4098053977022381E-2</c:v>
                </c:pt>
                <c:pt idx="43">
                  <c:v>2.4523754132153151E-2</c:v>
                </c:pt>
                <c:pt idx="44">
                  <c:v>2.2379504666963371E-2</c:v>
                </c:pt>
                <c:pt idx="45">
                  <c:v>2.104065524243157E-2</c:v>
                </c:pt>
                <c:pt idx="46">
                  <c:v>2.202824012890214E-2</c:v>
                </c:pt>
                <c:pt idx="47">
                  <c:v>2.3321641522021069E-2</c:v>
                </c:pt>
                <c:pt idx="48">
                  <c:v>2.5721900660138009E-2</c:v>
                </c:pt>
                <c:pt idx="49">
                  <c:v>2.4967370312040962E-2</c:v>
                </c:pt>
                <c:pt idx="50">
                  <c:v>2.603335979145837E-2</c:v>
                </c:pt>
                <c:pt idx="51">
                  <c:v>2.5702227757022279E-2</c:v>
                </c:pt>
              </c:numCache>
            </c:numRef>
          </c:yVal>
          <c:smooth val="0"/>
          <c:extLst>
            <c:ext xmlns:c16="http://schemas.microsoft.com/office/drawing/2014/chart" uri="{C3380CC4-5D6E-409C-BE32-E72D297353CC}">
              <c16:uniqueId val="{00000002-096C-4121-9522-6AB7243CCAAE}"/>
            </c:ext>
          </c:extLst>
        </c:ser>
        <c:ser>
          <c:idx val="2"/>
          <c:order val="2"/>
          <c:tx>
            <c:strRef>
              <c:f>Sheet1!$B$15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0:$A$161</c:f>
              <c:numCache>
                <c:formatCode>General</c:formatCode>
                <c:ptCount val="2"/>
                <c:pt idx="0">
                  <c:v>0</c:v>
                </c:pt>
                <c:pt idx="1">
                  <c:v>0.1108820277239114</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5-096C-4121-9522-6AB7243CCAAE}"/>
            </c:ext>
          </c:extLst>
        </c:ser>
        <c:ser>
          <c:idx val="3"/>
          <c:order val="3"/>
          <c:tx>
            <c:strRef>
              <c:f>Sheet1!$B$16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0.1108820277239114</c:v>
                </c:pt>
                <c:pt idx="1">
                  <c:v>0.1108820277239114</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8:$A$169</c:f>
              <c:numCache>
                <c:formatCode>General</c:formatCode>
                <c:ptCount val="2"/>
                <c:pt idx="0">
                  <c:v>0</c:v>
                </c:pt>
                <c:pt idx="1">
                  <c:v>0.11732114474802791</c:v>
                </c:pt>
              </c:numCache>
            </c:numRef>
          </c:xVal>
          <c:yVal>
            <c:numRef>
              <c:f>Sheet1!$B$168:$B$169</c:f>
              <c:numCache>
                <c:formatCode>General</c:formatCode>
                <c:ptCount val="2"/>
                <c:pt idx="0">
                  <c:v>3.1101577984060609E-2</c:v>
                </c:pt>
                <c:pt idx="1">
                  <c:v>3.1101577984060609E-2</c:v>
                </c:pt>
              </c:numCache>
            </c:numRef>
          </c:yVal>
          <c:smooth val="0"/>
          <c:extLst>
            <c:ext xmlns:c16="http://schemas.microsoft.com/office/drawing/2014/chart" uri="{C3380CC4-5D6E-409C-BE32-E72D297353CC}">
              <c16:uniqueId val="{0000000D-096C-4121-9522-6AB7243CCAAE}"/>
            </c:ext>
          </c:extLst>
        </c:ser>
        <c:ser>
          <c:idx val="5"/>
          <c:order val="5"/>
          <c:tx>
            <c:strRef>
              <c:f>Sheet1!$B$17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0.11732114474802791</c:v>
                </c:pt>
                <c:pt idx="1">
                  <c:v>0.11732114474802791</c:v>
                </c:pt>
              </c:numCache>
            </c:numRef>
          </c:xVal>
          <c:yVal>
            <c:numRef>
              <c:f>Sheet1!$B$172:$B$173</c:f>
              <c:numCache>
                <c:formatCode>General</c:formatCode>
                <c:ptCount val="2"/>
                <c:pt idx="0">
                  <c:v>3.1101577984060609E-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6:$A$177</c:f>
              <c:numCache>
                <c:formatCode>General</c:formatCode>
                <c:ptCount val="2"/>
                <c:pt idx="0">
                  <c:v>0</c:v>
                </c:pt>
                <c:pt idx="1">
                  <c:v>0.13512234665834599</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5-096C-4121-9522-6AB7243CCAAE}"/>
            </c:ext>
          </c:extLst>
        </c:ser>
        <c:ser>
          <c:idx val="7"/>
          <c:order val="7"/>
          <c:tx>
            <c:strRef>
              <c:f>Sheet1!$B$17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0:$A$181</c:f>
              <c:numCache>
                <c:formatCode>General</c:formatCode>
                <c:ptCount val="2"/>
                <c:pt idx="0">
                  <c:v>0.13512234665834599</c:v>
                </c:pt>
                <c:pt idx="1">
                  <c:v>0.13512234665834599</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4:$A$238</c:f>
              <c:numCache>
                <c:formatCode>General</c:formatCode>
                <c:ptCount val="55"/>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pt idx="52">
                  <c:v>0.11732114474802791</c:v>
                </c:pt>
                <c:pt idx="53">
                  <c:v>0.1108820277239114</c:v>
                </c:pt>
                <c:pt idx="54">
                  <c:v>0.13512234665834599</c:v>
                </c:pt>
              </c:numCache>
            </c:numRef>
          </c:xVal>
          <c:yVal>
            <c:numRef>
              <c:f>Sheet1!$B$184:$B$238</c:f>
              <c:numCache>
                <c:formatCode>General</c:formatCode>
                <c:ptCount val="55"/>
                <c:pt idx="0">
                  <c:v>3.1620668745252142E-2</c:v>
                </c:pt>
                <c:pt idx="1">
                  <c:v>3.1654790245678951E-2</c:v>
                </c:pt>
                <c:pt idx="2">
                  <c:v>3.2783325344754151E-2</c:v>
                </c:pt>
                <c:pt idx="3">
                  <c:v>3.022688607526958E-2</c:v>
                </c:pt>
                <c:pt idx="4">
                  <c:v>2.8540776744242852E-2</c:v>
                </c:pt>
                <c:pt idx="5">
                  <c:v>2.8198639317480349E-2</c:v>
                </c:pt>
                <c:pt idx="6">
                  <c:v>2.8149354774764782E-2</c:v>
                </c:pt>
                <c:pt idx="7">
                  <c:v>2.8199004366077019E-2</c:v>
                </c:pt>
                <c:pt idx="8">
                  <c:v>3.0157282303857849E-2</c:v>
                </c:pt>
                <c:pt idx="9">
                  <c:v>2.9717490317624731E-2</c:v>
                </c:pt>
                <c:pt idx="10">
                  <c:v>2.880162617160174E-2</c:v>
                </c:pt>
                <c:pt idx="11">
                  <c:v>3.0799476543192809E-2</c:v>
                </c:pt>
                <c:pt idx="12">
                  <c:v>2.8080121278043681E-2</c:v>
                </c:pt>
                <c:pt idx="13">
                  <c:v>2.8247092051713919E-2</c:v>
                </c:pt>
                <c:pt idx="14">
                  <c:v>2.639540124703324E-2</c:v>
                </c:pt>
                <c:pt idx="15">
                  <c:v>1.9220157910636009E-2</c:v>
                </c:pt>
                <c:pt idx="16">
                  <c:v>2.9292926757015069E-2</c:v>
                </c:pt>
                <c:pt idx="17">
                  <c:v>2.9541107656935999E-2</c:v>
                </c:pt>
                <c:pt idx="18">
                  <c:v>3.1154431279754719E-2</c:v>
                </c:pt>
                <c:pt idx="19">
                  <c:v>2.9461129531890291E-2</c:v>
                </c:pt>
                <c:pt idx="20">
                  <c:v>3.0313783713891131E-2</c:v>
                </c:pt>
                <c:pt idx="21">
                  <c:v>3.3508822667282862E-2</c:v>
                </c:pt>
                <c:pt idx="22">
                  <c:v>3.4739165058279807E-2</c:v>
                </c:pt>
                <c:pt idx="23">
                  <c:v>3.3561500120319547E-2</c:v>
                </c:pt>
                <c:pt idx="24">
                  <c:v>3.0961282548418428E-2</c:v>
                </c:pt>
                <c:pt idx="25">
                  <c:v>3.325613118609181E-2</c:v>
                </c:pt>
                <c:pt idx="26">
                  <c:v>3.230935798656305E-2</c:v>
                </c:pt>
                <c:pt idx="27">
                  <c:v>3.0186042242885399E-2</c:v>
                </c:pt>
                <c:pt idx="28">
                  <c:v>2.9826699740302571E-2</c:v>
                </c:pt>
                <c:pt idx="29">
                  <c:v>2.8461825588360749E-2</c:v>
                </c:pt>
                <c:pt idx="30">
                  <c:v>2.6667445839888119E-2</c:v>
                </c:pt>
                <c:pt idx="31">
                  <c:v>2.9333797528733729E-2</c:v>
                </c:pt>
                <c:pt idx="32">
                  <c:v>2.8469462201818171E-2</c:v>
                </c:pt>
                <c:pt idx="33">
                  <c:v>3.1278574864500211E-2</c:v>
                </c:pt>
                <c:pt idx="34">
                  <c:v>3.362517184260494E-2</c:v>
                </c:pt>
                <c:pt idx="35">
                  <c:v>3.1259339751075838E-2</c:v>
                </c:pt>
                <c:pt idx="36">
                  <c:v>3.2466678789921898E-2</c:v>
                </c:pt>
                <c:pt idx="37">
                  <c:v>3.336561461501103E-2</c:v>
                </c:pt>
                <c:pt idx="38">
                  <c:v>3.1897061212580187E-2</c:v>
                </c:pt>
                <c:pt idx="39">
                  <c:v>3.0591232179052279E-2</c:v>
                </c:pt>
                <c:pt idx="40">
                  <c:v>2.6490890509876141E-2</c:v>
                </c:pt>
                <c:pt idx="41">
                  <c:v>2.5005655171483909E-2</c:v>
                </c:pt>
                <c:pt idx="42">
                  <c:v>2.471524594195228E-2</c:v>
                </c:pt>
                <c:pt idx="43">
                  <c:v>2.5740688254943609E-2</c:v>
                </c:pt>
                <c:pt idx="44">
                  <c:v>2.534241769031121E-2</c:v>
                </c:pt>
                <c:pt idx="45">
                  <c:v>2.5785004878787769E-2</c:v>
                </c:pt>
                <c:pt idx="46">
                  <c:v>2.6712805427711591E-2</c:v>
                </c:pt>
                <c:pt idx="47">
                  <c:v>2.6016063432124481E-2</c:v>
                </c:pt>
                <c:pt idx="48">
                  <c:v>2.645901837190287E-2</c:v>
                </c:pt>
                <c:pt idx="49">
                  <c:v>2.253097533810856E-2</c:v>
                </c:pt>
                <c:pt idx="50">
                  <c:v>2.3407974477709061E-2</c:v>
                </c:pt>
                <c:pt idx="51">
                  <c:v>2.5267129597052979E-2</c:v>
                </c:pt>
                <c:pt idx="52">
                  <c:v>3.1101577984060599E-2</c:v>
                </c:pt>
                <c:pt idx="53">
                  <c:v>3.3390590546211449E-2</c:v>
                </c:pt>
                <c:pt idx="54">
                  <c:v>2.47735092998775E-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18089307194123574"/>
          <c:min val="7.5697543274504286E-2"/>
        </c:scaling>
        <c:delete val="0"/>
        <c:axPos val="b"/>
        <c:title>
          <c:tx>
            <c:rich>
              <a:bodyPr rot="0" spcFirstLastPara="1" vertOverflow="ellipsis" vert="horz" wrap="square" anchor="ctr" anchorCtr="1"/>
              <a:lstStyle/>
              <a:p>
                <a:pPr>
                  <a:defRPr sz="800" b="0">
                    <a:solidFill>
                      <a:srgbClr val="575555"/>
                    </a:solidFill>
                    <a:latin typeface="Nexa Bold"/>
                  </a:defRPr>
                </a:pPr>
                <a:r>
                  <a:rPr lang="en-US"/>
                  <a:t>Price Ix vs. Gillette Fusion5</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3084051742229012</c:v>
                </c:pt>
                <c:pt idx="1">
                  <c:v>0.31591786351078627</c:v>
                </c:pt>
                <c:pt idx="2">
                  <c:v>0.32058023334902946</c:v>
                </c:pt>
                <c:pt idx="3">
                  <c:v>0.31551466024025998</c:v>
                </c:pt>
                <c:pt idx="4">
                  <c:v>0.31248983133575575</c:v>
                </c:pt>
                <c:pt idx="5">
                  <c:v>0.31209899175068745</c:v>
                </c:pt>
                <c:pt idx="6">
                  <c:v>0.31243915630070307</c:v>
                </c:pt>
                <c:pt idx="7">
                  <c:v>0.3133619793471481</c:v>
                </c:pt>
                <c:pt idx="8">
                  <c:v>0.31671907756813417</c:v>
                </c:pt>
                <c:pt idx="9">
                  <c:v>0.31082322826247477</c:v>
                </c:pt>
                <c:pt idx="10">
                  <c:v>0.31047212859141043</c:v>
                </c:pt>
                <c:pt idx="11">
                  <c:v>0.30851195946449417</c:v>
                </c:pt>
                <c:pt idx="12">
                  <c:v>0.30743476600274672</c:v>
                </c:pt>
                <c:pt idx="13">
                  <c:v>0.30557876018361524</c:v>
                </c:pt>
                <c:pt idx="14">
                  <c:v>0.30608180521683359</c:v>
                </c:pt>
                <c:pt idx="15">
                  <c:v>0.30537959003209308</c:v>
                </c:pt>
                <c:pt idx="16">
                  <c:v>0.30479028449342177</c:v>
                </c:pt>
                <c:pt idx="17">
                  <c:v>0.30535697989231286</c:v>
                </c:pt>
                <c:pt idx="18">
                  <c:v>0.30758733419811496</c:v>
                </c:pt>
                <c:pt idx="19">
                  <c:v>0.30384356418742708</c:v>
                </c:pt>
                <c:pt idx="20">
                  <c:v>0.30255871389344829</c:v>
                </c:pt>
                <c:pt idx="21">
                  <c:v>0.30131492720175512</c:v>
                </c:pt>
                <c:pt idx="22">
                  <c:v>0.30402402402402401</c:v>
                </c:pt>
                <c:pt idx="23">
                  <c:v>0.3041818228723267</c:v>
                </c:pt>
                <c:pt idx="24">
                  <c:v>0.30380595989557657</c:v>
                </c:pt>
                <c:pt idx="25">
                  <c:v>0.30266464709715091</c:v>
                </c:pt>
                <c:pt idx="26">
                  <c:v>0.30198090992432275</c:v>
                </c:pt>
                <c:pt idx="27">
                  <c:v>0.30261018186645428</c:v>
                </c:pt>
                <c:pt idx="28">
                  <c:v>0.30379475941413642</c:v>
                </c:pt>
                <c:pt idx="29">
                  <c:v>0.30510575091808745</c:v>
                </c:pt>
                <c:pt idx="30">
                  <c:v>0.30547263681592041</c:v>
                </c:pt>
                <c:pt idx="31">
                  <c:v>0.30191808942530629</c:v>
                </c:pt>
                <c:pt idx="32">
                  <c:v>0.30004016835781272</c:v>
                </c:pt>
                <c:pt idx="33">
                  <c:v>0.30140260803244229</c:v>
                </c:pt>
                <c:pt idx="34">
                  <c:v>0.30315931183998879</c:v>
                </c:pt>
                <c:pt idx="35">
                  <c:v>0.30423707530585153</c:v>
                </c:pt>
                <c:pt idx="36">
                  <c:v>0.30339368848493503</c:v>
                </c:pt>
                <c:pt idx="37">
                  <c:v>0.30312142377964563</c:v>
                </c:pt>
                <c:pt idx="38">
                  <c:v>0.30421477922015827</c:v>
                </c:pt>
                <c:pt idx="39">
                  <c:v>0.30360700245050509</c:v>
                </c:pt>
                <c:pt idx="40">
                  <c:v>0.30482776067799466</c:v>
                </c:pt>
                <c:pt idx="41">
                  <c:v>0.30496561046396053</c:v>
                </c:pt>
                <c:pt idx="42">
                  <c:v>0.30474260101509459</c:v>
                </c:pt>
                <c:pt idx="43">
                  <c:v>0.30487658997567685</c:v>
                </c:pt>
                <c:pt idx="44">
                  <c:v>0.30417377406912238</c:v>
                </c:pt>
                <c:pt idx="45">
                  <c:v>0.30429474182711519</c:v>
                </c:pt>
                <c:pt idx="46">
                  <c:v>0.30416987037597953</c:v>
                </c:pt>
                <c:pt idx="47">
                  <c:v>0.30177142857142858</c:v>
                </c:pt>
                <c:pt idx="48">
                  <c:v>0.30034428178139644</c:v>
                </c:pt>
                <c:pt idx="49">
                  <c:v>0.30020553910468561</c:v>
                </c:pt>
                <c:pt idx="50">
                  <c:v>0.30020393921120919</c:v>
                </c:pt>
                <c:pt idx="51">
                  <c:v>0.30029572161037082</c:v>
                </c:pt>
                <c:pt idx="52">
                  <c:v>0.30085731375024921</c:v>
                </c:pt>
                <c:pt idx="53">
                  <c:v>0.30374794069192751</c:v>
                </c:pt>
                <c:pt idx="54">
                  <c:v>0.30475569923731716</c:v>
                </c:pt>
                <c:pt idx="55">
                  <c:v>0.30484411191281596</c:v>
                </c:pt>
                <c:pt idx="56">
                  <c:v>0.29666067320451317</c:v>
                </c:pt>
                <c:pt idx="57">
                  <c:v>0.25400835544515327</c:v>
                </c:pt>
                <c:pt idx="58">
                  <c:v>0.23382400369980466</c:v>
                </c:pt>
                <c:pt idx="59">
                  <c:v>0.23943026116791946</c:v>
                </c:pt>
                <c:pt idx="60">
                  <c:v>0.25369491863085675</c:v>
                </c:pt>
                <c:pt idx="61">
                  <c:v>0.26335839430757868</c:v>
                </c:pt>
                <c:pt idx="62">
                  <c:v>0.24811366501794199</c:v>
                </c:pt>
                <c:pt idx="63">
                  <c:v>0.25331883600138116</c:v>
                </c:pt>
                <c:pt idx="64">
                  <c:v>0.27606841827999473</c:v>
                </c:pt>
                <c:pt idx="65">
                  <c:v>0.28160478817918266</c:v>
                </c:pt>
                <c:pt idx="66">
                  <c:v>0.29229782021117312</c:v>
                </c:pt>
                <c:pt idx="67">
                  <c:v>0.30127414335954045</c:v>
                </c:pt>
                <c:pt idx="68">
                  <c:v>0.30305886879569066</c:v>
                </c:pt>
                <c:pt idx="69">
                  <c:v>0.30492991022208221</c:v>
                </c:pt>
                <c:pt idx="70">
                  <c:v>0.30628978911194849</c:v>
                </c:pt>
                <c:pt idx="71">
                  <c:v>0.30507690665654685</c:v>
                </c:pt>
                <c:pt idx="72">
                  <c:v>0.30607670596048481</c:v>
                </c:pt>
                <c:pt idx="73">
                  <c:v>0.3116373241246056</c:v>
                </c:pt>
                <c:pt idx="74">
                  <c:v>0.31424842998124136</c:v>
                </c:pt>
                <c:pt idx="75">
                  <c:v>0.31320176754871626</c:v>
                </c:pt>
                <c:pt idx="76">
                  <c:v>0.31380953870863448</c:v>
                </c:pt>
                <c:pt idx="77">
                  <c:v>0.32590348409435188</c:v>
                </c:pt>
                <c:pt idx="78">
                  <c:v>0.33061711871301291</c:v>
                </c:pt>
                <c:pt idx="79">
                  <c:v>0.33376024237416513</c:v>
                </c:pt>
                <c:pt idx="80">
                  <c:v>0.334863282523373</c:v>
                </c:pt>
                <c:pt idx="81">
                  <c:v>0.33732775797715603</c:v>
                </c:pt>
                <c:pt idx="82">
                  <c:v>0.3340239432262419</c:v>
                </c:pt>
                <c:pt idx="83">
                  <c:v>0.32813911724353323</c:v>
                </c:pt>
                <c:pt idx="84">
                  <c:v>0.32451377453380215</c:v>
                </c:pt>
                <c:pt idx="85">
                  <c:v>0.3242920313313794</c:v>
                </c:pt>
                <c:pt idx="86">
                  <c:v>0.32834757834757833</c:v>
                </c:pt>
                <c:pt idx="87">
                  <c:v>0.33024565689467972</c:v>
                </c:pt>
                <c:pt idx="88">
                  <c:v>0.33047076978575868</c:v>
                </c:pt>
                <c:pt idx="89">
                  <c:v>0.32960364974033468</c:v>
                </c:pt>
                <c:pt idx="90">
                  <c:v>0.32877782475231143</c:v>
                </c:pt>
                <c:pt idx="91">
                  <c:v>0.33265505668454848</c:v>
                </c:pt>
                <c:pt idx="92">
                  <c:v>0.33383080669232584</c:v>
                </c:pt>
                <c:pt idx="93">
                  <c:v>0.33445095599479496</c:v>
                </c:pt>
                <c:pt idx="94">
                  <c:v>0.33425385899470356</c:v>
                </c:pt>
                <c:pt idx="95">
                  <c:v>0.33302358553829059</c:v>
                </c:pt>
                <c:pt idx="96">
                  <c:v>0.3331230702831911</c:v>
                </c:pt>
                <c:pt idx="97">
                  <c:v>0.33248279672509923</c:v>
                </c:pt>
                <c:pt idx="98">
                  <c:v>0.33184443040565192</c:v>
                </c:pt>
                <c:pt idx="99">
                  <c:v>0.31234357273380736</c:v>
                </c:pt>
                <c:pt idx="100">
                  <c:v>0.30123106937136429</c:v>
                </c:pt>
                <c:pt idx="101">
                  <c:v>0.30056872662328632</c:v>
                </c:pt>
              </c:numCache>
            </c:numRef>
          </c:xVal>
          <c:yVal>
            <c:numRef>
              <c:f>Sheet1!$B$2:$B$103</c:f>
              <c:numCache>
                <c:formatCode>General</c:formatCode>
                <c:ptCount val="102"/>
                <c:pt idx="0">
                  <c:v>3.1549194168607006E-2</c:v>
                </c:pt>
                <c:pt idx="1">
                  <c:v>2.5925076493376501E-2</c:v>
                </c:pt>
                <c:pt idx="2">
                  <c:v>1.9457371147598559E-2</c:v>
                </c:pt>
                <c:pt idx="3">
                  <c:v>2.1005226955186754E-2</c:v>
                </c:pt>
                <c:pt idx="4">
                  <c:v>2.3683174888924508E-2</c:v>
                </c:pt>
                <c:pt idx="5">
                  <c:v>2.4814911692122233E-2</c:v>
                </c:pt>
                <c:pt idx="6">
                  <c:v>2.2966901329024649E-2</c:v>
                </c:pt>
                <c:pt idx="7">
                  <c:v>2.1693356757167159E-2</c:v>
                </c:pt>
                <c:pt idx="8">
                  <c:v>2.508474647577718E-2</c:v>
                </c:pt>
                <c:pt idx="9">
                  <c:v>3.2219360006132694E-2</c:v>
                </c:pt>
                <c:pt idx="10">
                  <c:v>3.3455366889535383E-2</c:v>
                </c:pt>
                <c:pt idx="11">
                  <c:v>3.0774205038558523E-2</c:v>
                </c:pt>
                <c:pt idx="12">
                  <c:v>3.166311843777065E-2</c:v>
                </c:pt>
                <c:pt idx="13">
                  <c:v>2.9573633835338665E-2</c:v>
                </c:pt>
                <c:pt idx="14">
                  <c:v>2.9438294749618857E-2</c:v>
                </c:pt>
                <c:pt idx="15">
                  <c:v>3.2326555355538883E-2</c:v>
                </c:pt>
                <c:pt idx="16">
                  <c:v>3.0454183212358377E-2</c:v>
                </c:pt>
                <c:pt idx="17">
                  <c:v>3.0177244147381318E-2</c:v>
                </c:pt>
                <c:pt idx="18">
                  <c:v>3.0949579617420526E-2</c:v>
                </c:pt>
                <c:pt idx="19">
                  <c:v>3.3044676701229417E-2</c:v>
                </c:pt>
                <c:pt idx="20">
                  <c:v>3.4502368865567047E-2</c:v>
                </c:pt>
                <c:pt idx="21">
                  <c:v>3.8171203781773647E-2</c:v>
                </c:pt>
                <c:pt idx="22">
                  <c:v>3.2633840746857157E-2</c:v>
                </c:pt>
                <c:pt idx="23">
                  <c:v>3.22851825867847E-2</c:v>
                </c:pt>
                <c:pt idx="24">
                  <c:v>3.4293774474369265E-2</c:v>
                </c:pt>
                <c:pt idx="25">
                  <c:v>3.3493331489235549E-2</c:v>
                </c:pt>
                <c:pt idx="26">
                  <c:v>3.2256296982208908E-2</c:v>
                </c:pt>
                <c:pt idx="27">
                  <c:v>3.256327154323236E-2</c:v>
                </c:pt>
                <c:pt idx="28">
                  <c:v>3.0215972855570965E-2</c:v>
                </c:pt>
                <c:pt idx="29">
                  <c:v>2.971323515475446E-2</c:v>
                </c:pt>
                <c:pt idx="30">
                  <c:v>2.9886044202056927E-2</c:v>
                </c:pt>
                <c:pt idx="31">
                  <c:v>3.0113049153545669E-2</c:v>
                </c:pt>
                <c:pt idx="32">
                  <c:v>3.0121682992946059E-2</c:v>
                </c:pt>
                <c:pt idx="33">
                  <c:v>2.8704102443482309E-2</c:v>
                </c:pt>
                <c:pt idx="34">
                  <c:v>3.0602403901330309E-2</c:v>
                </c:pt>
                <c:pt idx="35">
                  <c:v>3.1456536502498786E-2</c:v>
                </c:pt>
                <c:pt idx="36">
                  <c:v>3.1516667937295108E-2</c:v>
                </c:pt>
                <c:pt idx="37">
                  <c:v>3.3226585884057164E-2</c:v>
                </c:pt>
                <c:pt idx="38">
                  <c:v>3.3016326225624587E-2</c:v>
                </c:pt>
                <c:pt idx="39">
                  <c:v>3.0075909553288729E-2</c:v>
                </c:pt>
                <c:pt idx="40">
                  <c:v>3.0308227143147046E-2</c:v>
                </c:pt>
                <c:pt idx="41">
                  <c:v>3.1273537834975489E-2</c:v>
                </c:pt>
                <c:pt idx="42">
                  <c:v>3.0059016900147784E-2</c:v>
                </c:pt>
                <c:pt idx="43">
                  <c:v>3.0573863083611635E-2</c:v>
                </c:pt>
                <c:pt idx="44">
                  <c:v>3.254448153409624E-2</c:v>
                </c:pt>
                <c:pt idx="45">
                  <c:v>3.2420025270644671E-2</c:v>
                </c:pt>
                <c:pt idx="46">
                  <c:v>3.0841270586476857E-2</c:v>
                </c:pt>
                <c:pt idx="47">
                  <c:v>3.4545476528939606E-2</c:v>
                </c:pt>
                <c:pt idx="48">
                  <c:v>3.9378011399146942E-2</c:v>
                </c:pt>
                <c:pt idx="49">
                  <c:v>3.4585845792310457E-2</c:v>
                </c:pt>
                <c:pt idx="50">
                  <c:v>3.6889295123608744E-2</c:v>
                </c:pt>
                <c:pt idx="51">
                  <c:v>3.516974061970235E-2</c:v>
                </c:pt>
                <c:pt idx="52">
                  <c:v>3.3440411726256954E-2</c:v>
                </c:pt>
                <c:pt idx="53">
                  <c:v>3.0775515895011849E-2</c:v>
                </c:pt>
                <c:pt idx="54">
                  <c:v>2.856172806220978E-2</c:v>
                </c:pt>
                <c:pt idx="55">
                  <c:v>2.9260191711765828E-2</c:v>
                </c:pt>
                <c:pt idx="56">
                  <c:v>3.1178692703543048E-2</c:v>
                </c:pt>
                <c:pt idx="57">
                  <c:v>3.7031471681131703E-2</c:v>
                </c:pt>
                <c:pt idx="58">
                  <c:v>3.9909501581123753E-2</c:v>
                </c:pt>
                <c:pt idx="59">
                  <c:v>3.3090443177845791E-2</c:v>
                </c:pt>
                <c:pt idx="60">
                  <c:v>2.0429936026239697E-2</c:v>
                </c:pt>
                <c:pt idx="61">
                  <c:v>1.5942339180034886E-2</c:v>
                </c:pt>
                <c:pt idx="62">
                  <c:v>2.6561543645322632E-2</c:v>
                </c:pt>
                <c:pt idx="63">
                  <c:v>3.5068893654044385E-2</c:v>
                </c:pt>
                <c:pt idx="64">
                  <c:v>3.0967228847484717E-2</c:v>
                </c:pt>
                <c:pt idx="65">
                  <c:v>2.6027056162994167E-2</c:v>
                </c:pt>
                <c:pt idx="66">
                  <c:v>2.5871503741223587E-2</c:v>
                </c:pt>
                <c:pt idx="67">
                  <c:v>2.691260699372984E-2</c:v>
                </c:pt>
                <c:pt idx="68">
                  <c:v>2.5874418970458959E-2</c:v>
                </c:pt>
                <c:pt idx="69">
                  <c:v>2.3193315376484971E-2</c:v>
                </c:pt>
                <c:pt idx="70">
                  <c:v>2.2686657383630057E-2</c:v>
                </c:pt>
                <c:pt idx="71">
                  <c:v>2.6189284143623485E-2</c:v>
                </c:pt>
                <c:pt idx="72">
                  <c:v>2.7336338114147821E-2</c:v>
                </c:pt>
                <c:pt idx="73">
                  <c:v>2.7740990571672709E-2</c:v>
                </c:pt>
                <c:pt idx="74">
                  <c:v>2.8775273119844166E-2</c:v>
                </c:pt>
                <c:pt idx="75">
                  <c:v>2.8510329318482425E-2</c:v>
                </c:pt>
                <c:pt idx="76">
                  <c:v>2.7909474603405617E-2</c:v>
                </c:pt>
                <c:pt idx="77">
                  <c:v>2.354699792786898E-2</c:v>
                </c:pt>
                <c:pt idx="78">
                  <c:v>2.3516397046911525E-2</c:v>
                </c:pt>
                <c:pt idx="79">
                  <c:v>2.2115174941799768E-2</c:v>
                </c:pt>
                <c:pt idx="80">
                  <c:v>2.2268202762568419E-2</c:v>
                </c:pt>
                <c:pt idx="81">
                  <c:v>2.1244426266941792E-2</c:v>
                </c:pt>
                <c:pt idx="82">
                  <c:v>3.1177386289303839E-2</c:v>
                </c:pt>
                <c:pt idx="83">
                  <c:v>2.6306476866990773E-2</c:v>
                </c:pt>
                <c:pt idx="84">
                  <c:v>2.5524833007679375E-2</c:v>
                </c:pt>
                <c:pt idx="85">
                  <c:v>2.6871534411513368E-2</c:v>
                </c:pt>
                <c:pt idx="86">
                  <c:v>2.6338851413823878E-2</c:v>
                </c:pt>
                <c:pt idx="87">
                  <c:v>2.4648701089615546E-2</c:v>
                </c:pt>
                <c:pt idx="88">
                  <c:v>2.6238033764437702E-2</c:v>
                </c:pt>
                <c:pt idx="89">
                  <c:v>3.0191859532939729E-2</c:v>
                </c:pt>
                <c:pt idx="90">
                  <c:v>3.0716851696320817E-2</c:v>
                </c:pt>
                <c:pt idx="91">
                  <c:v>3.1790352756617284E-2</c:v>
                </c:pt>
                <c:pt idx="92">
                  <c:v>2.9789485452214992E-2</c:v>
                </c:pt>
                <c:pt idx="93">
                  <c:v>2.7419432969366012E-2</c:v>
                </c:pt>
                <c:pt idx="94">
                  <c:v>2.5375304588112154E-2</c:v>
                </c:pt>
                <c:pt idx="95">
                  <c:v>2.7271435244645044E-2</c:v>
                </c:pt>
                <c:pt idx="96">
                  <c:v>2.4300725205733124E-2</c:v>
                </c:pt>
                <c:pt idx="97">
                  <c:v>2.5953063658202231E-2</c:v>
                </c:pt>
                <c:pt idx="98">
                  <c:v>2.870484051773789E-2</c:v>
                </c:pt>
                <c:pt idx="99">
                  <c:v>3.0161179689259059E-2</c:v>
                </c:pt>
                <c:pt idx="100">
                  <c:v>3.7558407981539428E-2</c:v>
                </c:pt>
                <c:pt idx="101">
                  <c:v>3.5796970668813106E-2</c:v>
                </c:pt>
              </c:numCache>
            </c:numRef>
          </c:yVal>
          <c:smooth val="0"/>
          <c:extLst>
            <c:ext xmlns:c16="http://schemas.microsoft.com/office/drawing/2014/chart" uri="{C3380CC4-5D6E-409C-BE32-E72D297353CC}">
              <c16:uniqueId val="{00000000-F32D-48B7-BC20-E66FC6253BAD}"/>
            </c:ext>
          </c:extLst>
        </c:ser>
        <c:ser>
          <c:idx val="1"/>
          <c:order val="1"/>
          <c:tx>
            <c:strRef>
              <c:f>Sheet1!$B$10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6:$A$157</c:f>
              <c:numCache>
                <c:formatCode>General</c:formatCode>
                <c:ptCount val="52"/>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numCache>
            </c:numRef>
          </c:xVal>
          <c:yVal>
            <c:numRef>
              <c:f>Sheet1!$B$106:$B$157</c:f>
              <c:numCache>
                <c:formatCode>General</c:formatCode>
                <c:ptCount val="52"/>
                <c:pt idx="0">
                  <c:v>3.3379430772150658E-2</c:v>
                </c:pt>
                <c:pt idx="1">
                  <c:v>3.5297770608354727E-2</c:v>
                </c:pt>
                <c:pt idx="2">
                  <c:v>3.603152077608085E-2</c:v>
                </c:pt>
                <c:pt idx="3">
                  <c:v>3.0978674639028675E-2</c:v>
                </c:pt>
                <c:pt idx="4">
                  <c:v>2.8133515753956471E-2</c:v>
                </c:pt>
                <c:pt idx="5">
                  <c:v>2.7512069607189618E-2</c:v>
                </c:pt>
                <c:pt idx="6">
                  <c:v>2.7535908601076187E-2</c:v>
                </c:pt>
                <c:pt idx="7">
                  <c:v>2.7306049137985969E-2</c:v>
                </c:pt>
                <c:pt idx="8">
                  <c:v>2.6838607545871734E-2</c:v>
                </c:pt>
                <c:pt idx="9">
                  <c:v>2.8577136215520643E-2</c:v>
                </c:pt>
                <c:pt idx="10">
                  <c:v>2.9045708307140341E-2</c:v>
                </c:pt>
                <c:pt idx="11">
                  <c:v>3.0151694267354034E-2</c:v>
                </c:pt>
                <c:pt idx="12">
                  <c:v>3.1278274774940926E-2</c:v>
                </c:pt>
                <c:pt idx="13">
                  <c:v>3.2623144271831599E-2</c:v>
                </c:pt>
                <c:pt idx="14">
                  <c:v>3.2081452766552027E-2</c:v>
                </c:pt>
                <c:pt idx="15">
                  <c:v>2.8476513020004538E-2</c:v>
                </c:pt>
                <c:pt idx="16">
                  <c:v>2.8897929262062423E-2</c:v>
                </c:pt>
                <c:pt idx="17">
                  <c:v>2.8572345272906727E-2</c:v>
                </c:pt>
                <c:pt idx="18">
                  <c:v>2.7582157287634194E-2</c:v>
                </c:pt>
                <c:pt idx="19">
                  <c:v>2.6684207925807661E-2</c:v>
                </c:pt>
                <c:pt idx="20">
                  <c:v>2.5074098168638374E-2</c:v>
                </c:pt>
                <c:pt idx="21">
                  <c:v>3.7053775555914395E-2</c:v>
                </c:pt>
                <c:pt idx="22">
                  <c:v>4.1201839145334811E-2</c:v>
                </c:pt>
                <c:pt idx="23">
                  <c:v>3.952108516249337E-2</c:v>
                </c:pt>
                <c:pt idx="24">
                  <c:v>3.301132678213544E-2</c:v>
                </c:pt>
                <c:pt idx="25">
                  <c:v>3.4672282379825628E-2</c:v>
                </c:pt>
                <c:pt idx="26">
                  <c:v>3.6478521099227869E-2</c:v>
                </c:pt>
                <c:pt idx="27">
                  <c:v>3.1719960612283417E-2</c:v>
                </c:pt>
                <c:pt idx="28">
                  <c:v>2.9844699099281863E-2</c:v>
                </c:pt>
                <c:pt idx="29">
                  <c:v>2.8247037929351546E-2</c:v>
                </c:pt>
                <c:pt idx="30">
                  <c:v>2.3926861689124793E-2</c:v>
                </c:pt>
                <c:pt idx="31">
                  <c:v>2.0770671408149036E-2</c:v>
                </c:pt>
                <c:pt idx="32">
                  <c:v>2.3460558709885785E-2</c:v>
                </c:pt>
                <c:pt idx="33">
                  <c:v>3.0427962862070307E-2</c:v>
                </c:pt>
                <c:pt idx="34">
                  <c:v>3.1037706913624008E-2</c:v>
                </c:pt>
                <c:pt idx="35">
                  <c:v>2.928997264422914E-2</c:v>
                </c:pt>
                <c:pt idx="36">
                  <c:v>2.9697936908540855E-2</c:v>
                </c:pt>
                <c:pt idx="37">
                  <c:v>3.0248130900335804E-2</c:v>
                </c:pt>
                <c:pt idx="38">
                  <c:v>3.5070387750061743E-2</c:v>
                </c:pt>
                <c:pt idx="39">
                  <c:v>3.1208337770205517E-2</c:v>
                </c:pt>
                <c:pt idx="40">
                  <c:v>2.6826790166755026E-2</c:v>
                </c:pt>
                <c:pt idx="41">
                  <c:v>2.4203784771293646E-2</c:v>
                </c:pt>
                <c:pt idx="42">
                  <c:v>2.4098053977022377E-2</c:v>
                </c:pt>
                <c:pt idx="43">
                  <c:v>2.4523754132153155E-2</c:v>
                </c:pt>
                <c:pt idx="44">
                  <c:v>2.2379504666963371E-2</c:v>
                </c:pt>
                <c:pt idx="45">
                  <c:v>2.104065524243157E-2</c:v>
                </c:pt>
                <c:pt idx="46">
                  <c:v>2.2028240128902143E-2</c:v>
                </c:pt>
                <c:pt idx="47">
                  <c:v>2.3321641522021073E-2</c:v>
                </c:pt>
                <c:pt idx="48">
                  <c:v>2.5721900660138006E-2</c:v>
                </c:pt>
                <c:pt idx="49">
                  <c:v>2.4967370312040958E-2</c:v>
                </c:pt>
                <c:pt idx="50">
                  <c:v>2.6033359791458374E-2</c:v>
                </c:pt>
                <c:pt idx="51">
                  <c:v>2.5702227757022279E-2</c:v>
                </c:pt>
              </c:numCache>
            </c:numRef>
          </c:yVal>
          <c:smooth val="0"/>
          <c:extLst>
            <c:ext xmlns:c16="http://schemas.microsoft.com/office/drawing/2014/chart" uri="{C3380CC4-5D6E-409C-BE32-E72D297353CC}">
              <c16:uniqueId val="{00000002-F32D-48B7-BC20-E66FC6253BAD}"/>
            </c:ext>
          </c:extLst>
        </c:ser>
        <c:ser>
          <c:idx val="2"/>
          <c:order val="2"/>
          <c:tx>
            <c:strRef>
              <c:f>Sheet1!$B$159</c:f>
              <c:strCache>
                <c:ptCount val="1"/>
                <c:pt idx="0">
                  <c:v>Custom Linep3yQ</c:v>
                </c:pt>
              </c:strCache>
            </c:strRef>
          </c:tx>
          <c:spPr>
            <a:ln w="19050" cap="rnd">
              <a:solidFill>
                <a:srgbClr val="C00000"/>
              </a:solidFill>
              <a:prstDash val="sysDot"/>
              <a:round/>
            </a:ln>
            <a:effectLst/>
          </c:spPr>
          <c:marker>
            <c:symbol val="none"/>
          </c:marker>
          <c:xVal>
            <c:numRef>
              <c:f>Sheet1!$A$160:$A$161</c:f>
              <c:numCache>
                <c:formatCode>General</c:formatCode>
                <c:ptCount val="2"/>
                <c:pt idx="0">
                  <c:v>0</c:v>
                </c:pt>
                <c:pt idx="1">
                  <c:v>0.27575744047645689</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3-F32D-48B7-BC20-E66FC6253BAD}"/>
            </c:ext>
          </c:extLst>
        </c:ser>
        <c:ser>
          <c:idx val="3"/>
          <c:order val="3"/>
          <c:tx>
            <c:strRef>
              <c:f>Sheet1!$B$16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0.27575744047645689</c:v>
                </c:pt>
                <c:pt idx="1">
                  <c:v>0.27575744047645689</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8:$A$169</c:f>
              <c:numCache>
                <c:formatCode>General</c:formatCode>
                <c:ptCount val="2"/>
                <c:pt idx="0">
                  <c:v>0</c:v>
                </c:pt>
                <c:pt idx="1">
                  <c:v>0.28987004975079905</c:v>
                </c:pt>
              </c:numCache>
            </c:numRef>
          </c:xVal>
          <c:yVal>
            <c:numRef>
              <c:f>Sheet1!$B$168:$B$169</c:f>
              <c:numCache>
                <c:formatCode>General</c:formatCode>
                <c:ptCount val="2"/>
                <c:pt idx="0">
                  <c:v>3.1101577984060606E-2</c:v>
                </c:pt>
                <c:pt idx="1">
                  <c:v>3.1101577984060606E-2</c:v>
                </c:pt>
              </c:numCache>
            </c:numRef>
          </c:yVal>
          <c:smooth val="0"/>
          <c:extLst>
            <c:ext xmlns:c16="http://schemas.microsoft.com/office/drawing/2014/chart" uri="{C3380CC4-5D6E-409C-BE32-E72D297353CC}">
              <c16:uniqueId val="{0000000A-F32D-48B7-BC20-E66FC6253BAD}"/>
            </c:ext>
          </c:extLst>
        </c:ser>
        <c:ser>
          <c:idx val="5"/>
          <c:order val="5"/>
          <c:tx>
            <c:strRef>
              <c:f>Sheet1!$B$17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0.28987004975079905</c:v>
                </c:pt>
                <c:pt idx="1">
                  <c:v>0.28987004975079905</c:v>
                </c:pt>
              </c:numCache>
            </c:numRef>
          </c:xVal>
          <c:yVal>
            <c:numRef>
              <c:f>Sheet1!$B$172:$B$173</c:f>
              <c:numCache>
                <c:formatCode>General</c:formatCode>
                <c:ptCount val="2"/>
                <c:pt idx="0">
                  <c:v>3.1101577984060606E-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6:$A$177</c:f>
              <c:numCache>
                <c:formatCode>General</c:formatCode>
                <c:ptCount val="2"/>
                <c:pt idx="0">
                  <c:v>0</c:v>
                </c:pt>
                <c:pt idx="1">
                  <c:v>0.32888493428125432</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1-F32D-48B7-BC20-E66FC6253BAD}"/>
            </c:ext>
          </c:extLst>
        </c:ser>
        <c:ser>
          <c:idx val="7"/>
          <c:order val="7"/>
          <c:tx>
            <c:strRef>
              <c:f>Sheet1!$B$17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0:$A$181</c:f>
              <c:numCache>
                <c:formatCode>General</c:formatCode>
                <c:ptCount val="2"/>
                <c:pt idx="0">
                  <c:v>0.32888493428125432</c:v>
                </c:pt>
                <c:pt idx="1">
                  <c:v>0.32888493428125432</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4:$A$238</c:f>
              <c:numCache>
                <c:formatCode>General</c:formatCode>
                <c:ptCount val="55"/>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pt idx="52">
                  <c:v>0.28987004975079905</c:v>
                </c:pt>
                <c:pt idx="53">
                  <c:v>0.27575744047645689</c:v>
                </c:pt>
                <c:pt idx="54">
                  <c:v>0.32888493428125432</c:v>
                </c:pt>
              </c:numCache>
            </c:numRef>
          </c:xVal>
          <c:yVal>
            <c:numRef>
              <c:f>Sheet1!$B$184:$B$238</c:f>
              <c:numCache>
                <c:formatCode>General</c:formatCode>
                <c:ptCount val="55"/>
                <c:pt idx="0">
                  <c:v>2.9413873016704839E-2</c:v>
                </c:pt>
                <c:pt idx="1">
                  <c:v>2.9896344890080709E-2</c:v>
                </c:pt>
                <c:pt idx="2">
                  <c:v>3.0155656486461964E-2</c:v>
                </c:pt>
                <c:pt idx="3">
                  <c:v>2.7109900331363727E-2</c:v>
                </c:pt>
                <c:pt idx="4">
                  <c:v>2.4371775225560388E-2</c:v>
                </c:pt>
                <c:pt idx="5">
                  <c:v>2.4094268404047922E-2</c:v>
                </c:pt>
                <c:pt idx="6">
                  <c:v>2.4322183284519114E-2</c:v>
                </c:pt>
                <c:pt idx="7">
                  <c:v>2.5263903460272262E-2</c:v>
                </c:pt>
                <c:pt idx="8">
                  <c:v>2.7533717749061021E-2</c:v>
                </c:pt>
                <c:pt idx="9">
                  <c:v>2.9136059572005948E-2</c:v>
                </c:pt>
                <c:pt idx="10">
                  <c:v>2.8439725189245424E-2</c:v>
                </c:pt>
                <c:pt idx="11">
                  <c:v>2.8481575446516888E-2</c:v>
                </c:pt>
                <c:pt idx="12">
                  <c:v>3.0108594349578348E-2</c:v>
                </c:pt>
                <c:pt idx="13">
                  <c:v>3.169054387055209E-2</c:v>
                </c:pt>
                <c:pt idx="14">
                  <c:v>3.1465934595702259E-2</c:v>
                </c:pt>
                <c:pt idx="15">
                  <c:v>3.1477667841337743E-2</c:v>
                </c:pt>
                <c:pt idx="16">
                  <c:v>3.1573121681829512E-2</c:v>
                </c:pt>
                <c:pt idx="17">
                  <c:v>3.1532924296196564E-2</c:v>
                </c:pt>
                <c:pt idx="18">
                  <c:v>3.0515660900336583E-2</c:v>
                </c:pt>
                <c:pt idx="19">
                  <c:v>3.0211789143868836E-2</c:v>
                </c:pt>
                <c:pt idx="20">
                  <c:v>2.8955614795748236E-2</c:v>
                </c:pt>
                <c:pt idx="21">
                  <c:v>3.2772131418724967E-2</c:v>
                </c:pt>
                <c:pt idx="22">
                  <c:v>3.3542665870490845E-2</c:v>
                </c:pt>
                <c:pt idx="23">
                  <c:v>3.3435184307609174E-2</c:v>
                </c:pt>
                <c:pt idx="24">
                  <c:v>3.268271460365052E-2</c:v>
                </c:pt>
                <c:pt idx="25">
                  <c:v>3.3870059534782497E-2</c:v>
                </c:pt>
                <c:pt idx="26">
                  <c:v>3.3073079926514877E-2</c:v>
                </c:pt>
                <c:pt idx="27">
                  <c:v>3.1808643842456727E-2</c:v>
                </c:pt>
                <c:pt idx="28">
                  <c:v>3.0502176751221188E-2</c:v>
                </c:pt>
                <c:pt idx="29">
                  <c:v>2.7906678470255915E-2</c:v>
                </c:pt>
                <c:pt idx="30">
                  <c:v>2.5033266393526828E-2</c:v>
                </c:pt>
                <c:pt idx="31">
                  <c:v>2.630903103630991E-2</c:v>
                </c:pt>
                <c:pt idx="32">
                  <c:v>2.8693045313762239E-2</c:v>
                </c:pt>
                <c:pt idx="33">
                  <c:v>3.2596808075387743E-2</c:v>
                </c:pt>
                <c:pt idx="34">
                  <c:v>3.3462836223474769E-2</c:v>
                </c:pt>
                <c:pt idx="35">
                  <c:v>3.1780988069129081E-2</c:v>
                </c:pt>
                <c:pt idx="36">
                  <c:v>3.2997078119396075E-2</c:v>
                </c:pt>
                <c:pt idx="37">
                  <c:v>3.4241810296995578E-2</c:v>
                </c:pt>
                <c:pt idx="38">
                  <c:v>3.5259393566231922E-2</c:v>
                </c:pt>
                <c:pt idx="39">
                  <c:v>3.2524924643797831E-2</c:v>
                </c:pt>
                <c:pt idx="40">
                  <c:v>2.8308242375685959E-2</c:v>
                </c:pt>
                <c:pt idx="41">
                  <c:v>2.54404048951909E-2</c:v>
                </c:pt>
                <c:pt idx="42">
                  <c:v>2.3287513921568817E-2</c:v>
                </c:pt>
                <c:pt idx="43">
                  <c:v>2.3365554652546534E-2</c:v>
                </c:pt>
                <c:pt idx="44">
                  <c:v>2.3054756675168077E-2</c:v>
                </c:pt>
                <c:pt idx="45">
                  <c:v>2.3566114628330095E-2</c:v>
                </c:pt>
                <c:pt idx="46">
                  <c:v>2.5888630394799238E-2</c:v>
                </c:pt>
                <c:pt idx="47">
                  <c:v>2.6265547596405793E-2</c:v>
                </c:pt>
                <c:pt idx="48">
                  <c:v>2.7412822111043234E-2</c:v>
                </c:pt>
                <c:pt idx="49">
                  <c:v>2.5962622488181153E-2</c:v>
                </c:pt>
                <c:pt idx="50">
                  <c:v>2.4525712064247307E-2</c:v>
                </c:pt>
                <c:pt idx="51">
                  <c:v>2.4473274634488791E-2</c:v>
                </c:pt>
                <c:pt idx="52">
                  <c:v>3.1101577984060602E-2</c:v>
                </c:pt>
                <c:pt idx="53">
                  <c:v>3.3390590546211449E-2</c:v>
                </c:pt>
                <c:pt idx="54">
                  <c:v>2.4773509299877497E-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40737801608579088"/>
          <c:min val="0.18705920295984374"/>
        </c:scaling>
        <c:delete val="0"/>
        <c:axPos val="b"/>
        <c:title>
          <c:tx>
            <c:rich>
              <a:bodyPr rot="0" spcFirstLastPara="1" vertOverflow="ellipsis" vert="horz" wrap="square" anchor="ctr" anchorCtr="1"/>
              <a:lstStyle/>
              <a:p>
                <a:pPr>
                  <a:defRPr sz="800" b="0">
                    <a:latin typeface="Nexa Bold"/>
                  </a:defRPr>
                </a:pPr>
                <a:r>
                  <a:rPr lang="en-US"/>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3084051742229012</c:v>
                </c:pt>
                <c:pt idx="1">
                  <c:v>0.31591786351078627</c:v>
                </c:pt>
                <c:pt idx="2">
                  <c:v>0.32058023334902946</c:v>
                </c:pt>
                <c:pt idx="3">
                  <c:v>0.31551466024025998</c:v>
                </c:pt>
                <c:pt idx="4">
                  <c:v>0.31248983133575575</c:v>
                </c:pt>
                <c:pt idx="5">
                  <c:v>0.31209899175068745</c:v>
                </c:pt>
                <c:pt idx="6">
                  <c:v>0.31243915630070307</c:v>
                </c:pt>
                <c:pt idx="7">
                  <c:v>0.3133619793471481</c:v>
                </c:pt>
                <c:pt idx="8">
                  <c:v>0.31671907756813417</c:v>
                </c:pt>
                <c:pt idx="9">
                  <c:v>0.31082322826247477</c:v>
                </c:pt>
                <c:pt idx="10">
                  <c:v>0.31047212859141043</c:v>
                </c:pt>
                <c:pt idx="11">
                  <c:v>0.30851195946449417</c:v>
                </c:pt>
                <c:pt idx="12">
                  <c:v>0.30743476600274672</c:v>
                </c:pt>
                <c:pt idx="13">
                  <c:v>0.30557876018361524</c:v>
                </c:pt>
                <c:pt idx="14">
                  <c:v>0.30608180521683359</c:v>
                </c:pt>
                <c:pt idx="15">
                  <c:v>0.30537959003209308</c:v>
                </c:pt>
                <c:pt idx="16">
                  <c:v>0.30479028449342177</c:v>
                </c:pt>
                <c:pt idx="17">
                  <c:v>0.30535697989231286</c:v>
                </c:pt>
                <c:pt idx="18">
                  <c:v>0.30758733419811496</c:v>
                </c:pt>
                <c:pt idx="19">
                  <c:v>0.30384356418742708</c:v>
                </c:pt>
                <c:pt idx="20">
                  <c:v>0.30255871389344829</c:v>
                </c:pt>
                <c:pt idx="21">
                  <c:v>0.30131492720175512</c:v>
                </c:pt>
                <c:pt idx="22">
                  <c:v>0.30402402402402401</c:v>
                </c:pt>
                <c:pt idx="23">
                  <c:v>0.3041818228723267</c:v>
                </c:pt>
                <c:pt idx="24">
                  <c:v>0.30380595989557657</c:v>
                </c:pt>
                <c:pt idx="25">
                  <c:v>0.30266464709715091</c:v>
                </c:pt>
                <c:pt idx="26">
                  <c:v>0.30198090992432275</c:v>
                </c:pt>
                <c:pt idx="27">
                  <c:v>0.30261018186645428</c:v>
                </c:pt>
                <c:pt idx="28">
                  <c:v>0.30379475941413642</c:v>
                </c:pt>
                <c:pt idx="29">
                  <c:v>0.30510575091808745</c:v>
                </c:pt>
                <c:pt idx="30">
                  <c:v>0.30547263681592041</c:v>
                </c:pt>
                <c:pt idx="31">
                  <c:v>0.30191808942530629</c:v>
                </c:pt>
                <c:pt idx="32">
                  <c:v>0.30004016835781272</c:v>
                </c:pt>
                <c:pt idx="33">
                  <c:v>0.30140260803244229</c:v>
                </c:pt>
                <c:pt idx="34">
                  <c:v>0.30315931183998879</c:v>
                </c:pt>
                <c:pt idx="35">
                  <c:v>0.30423707530585153</c:v>
                </c:pt>
                <c:pt idx="36">
                  <c:v>0.30339368848493503</c:v>
                </c:pt>
                <c:pt idx="37">
                  <c:v>0.30312142377964563</c:v>
                </c:pt>
                <c:pt idx="38">
                  <c:v>0.30421477922015827</c:v>
                </c:pt>
                <c:pt idx="39">
                  <c:v>0.30360700245050509</c:v>
                </c:pt>
                <c:pt idx="40">
                  <c:v>0.30482776067799466</c:v>
                </c:pt>
                <c:pt idx="41">
                  <c:v>0.30496561046396053</c:v>
                </c:pt>
                <c:pt idx="42">
                  <c:v>0.30474260101509459</c:v>
                </c:pt>
                <c:pt idx="43">
                  <c:v>0.30487658997567685</c:v>
                </c:pt>
                <c:pt idx="44">
                  <c:v>0.30417377406912238</c:v>
                </c:pt>
                <c:pt idx="45">
                  <c:v>0.30429474182711519</c:v>
                </c:pt>
                <c:pt idx="46">
                  <c:v>0.30416987037597953</c:v>
                </c:pt>
                <c:pt idx="47">
                  <c:v>0.30177142857142858</c:v>
                </c:pt>
                <c:pt idx="48">
                  <c:v>0.30034428178139644</c:v>
                </c:pt>
                <c:pt idx="49">
                  <c:v>0.30020553910468561</c:v>
                </c:pt>
                <c:pt idx="50">
                  <c:v>0.30020393921120919</c:v>
                </c:pt>
                <c:pt idx="51">
                  <c:v>0.30029572161037082</c:v>
                </c:pt>
                <c:pt idx="52">
                  <c:v>0.30085731375024921</c:v>
                </c:pt>
                <c:pt idx="53">
                  <c:v>0.30374794069192751</c:v>
                </c:pt>
                <c:pt idx="54">
                  <c:v>0.30475569923731716</c:v>
                </c:pt>
                <c:pt idx="55">
                  <c:v>0.30484411191281596</c:v>
                </c:pt>
                <c:pt idx="56">
                  <c:v>0.29666067320451317</c:v>
                </c:pt>
                <c:pt idx="57">
                  <c:v>0.25400835544515327</c:v>
                </c:pt>
                <c:pt idx="58">
                  <c:v>0.23382400369980466</c:v>
                </c:pt>
                <c:pt idx="59">
                  <c:v>0.23943026116791946</c:v>
                </c:pt>
                <c:pt idx="60">
                  <c:v>0.25369491863085675</c:v>
                </c:pt>
                <c:pt idx="61">
                  <c:v>0.26335839430757868</c:v>
                </c:pt>
                <c:pt idx="62">
                  <c:v>0.24811366501794199</c:v>
                </c:pt>
                <c:pt idx="63">
                  <c:v>0.25331883600138116</c:v>
                </c:pt>
                <c:pt idx="64">
                  <c:v>0.27606841827999473</c:v>
                </c:pt>
                <c:pt idx="65">
                  <c:v>0.28160478817918266</c:v>
                </c:pt>
                <c:pt idx="66">
                  <c:v>0.29229782021117312</c:v>
                </c:pt>
                <c:pt idx="67">
                  <c:v>0.30127414335954045</c:v>
                </c:pt>
                <c:pt idx="68">
                  <c:v>0.30305886879569066</c:v>
                </c:pt>
                <c:pt idx="69">
                  <c:v>0.30492991022208221</c:v>
                </c:pt>
                <c:pt idx="70">
                  <c:v>0.30628978911194849</c:v>
                </c:pt>
                <c:pt idx="71">
                  <c:v>0.30507690665654685</c:v>
                </c:pt>
                <c:pt idx="72">
                  <c:v>0.30607670596048481</c:v>
                </c:pt>
                <c:pt idx="73">
                  <c:v>0.3116373241246056</c:v>
                </c:pt>
                <c:pt idx="74">
                  <c:v>0.31424842998124136</c:v>
                </c:pt>
                <c:pt idx="75">
                  <c:v>0.31320176754871626</c:v>
                </c:pt>
                <c:pt idx="76">
                  <c:v>0.31380953870863448</c:v>
                </c:pt>
                <c:pt idx="77">
                  <c:v>0.32590348409435188</c:v>
                </c:pt>
                <c:pt idx="78">
                  <c:v>0.33061711871301291</c:v>
                </c:pt>
                <c:pt idx="79">
                  <c:v>0.33376024237416513</c:v>
                </c:pt>
                <c:pt idx="80">
                  <c:v>0.334863282523373</c:v>
                </c:pt>
                <c:pt idx="81">
                  <c:v>0.33732775797715603</c:v>
                </c:pt>
                <c:pt idx="82">
                  <c:v>0.3340239432262419</c:v>
                </c:pt>
                <c:pt idx="83">
                  <c:v>0.32813911724353323</c:v>
                </c:pt>
                <c:pt idx="84">
                  <c:v>0.32451377453380215</c:v>
                </c:pt>
                <c:pt idx="85">
                  <c:v>0.3242920313313794</c:v>
                </c:pt>
                <c:pt idx="86">
                  <c:v>0.32834757834757833</c:v>
                </c:pt>
                <c:pt idx="87">
                  <c:v>0.33024565689467972</c:v>
                </c:pt>
                <c:pt idx="88">
                  <c:v>0.33047076978575868</c:v>
                </c:pt>
                <c:pt idx="89">
                  <c:v>0.32960364974033468</c:v>
                </c:pt>
                <c:pt idx="90">
                  <c:v>0.32877782475231143</c:v>
                </c:pt>
                <c:pt idx="91">
                  <c:v>0.33265505668454848</c:v>
                </c:pt>
                <c:pt idx="92">
                  <c:v>0.33383080669232584</c:v>
                </c:pt>
                <c:pt idx="93">
                  <c:v>0.33445095599479496</c:v>
                </c:pt>
                <c:pt idx="94">
                  <c:v>0.33425385899470356</c:v>
                </c:pt>
                <c:pt idx="95">
                  <c:v>0.33302358553829059</c:v>
                </c:pt>
                <c:pt idx="96">
                  <c:v>0.3331230702831911</c:v>
                </c:pt>
                <c:pt idx="97">
                  <c:v>0.33248279672509923</c:v>
                </c:pt>
                <c:pt idx="98">
                  <c:v>0.33184443040565192</c:v>
                </c:pt>
                <c:pt idx="99">
                  <c:v>0.31234357273380736</c:v>
                </c:pt>
                <c:pt idx="100">
                  <c:v>0.30123106937136429</c:v>
                </c:pt>
                <c:pt idx="101">
                  <c:v>0.30056872662328632</c:v>
                </c:pt>
              </c:numCache>
            </c:numRef>
          </c:xVal>
          <c:yVal>
            <c:numRef>
              <c:f>Sheet1!$B$2:$B$103</c:f>
              <c:numCache>
                <c:formatCode>General</c:formatCode>
                <c:ptCount val="102"/>
                <c:pt idx="0">
                  <c:v>3.1549194168607006E-2</c:v>
                </c:pt>
                <c:pt idx="1">
                  <c:v>2.5925076493376501E-2</c:v>
                </c:pt>
                <c:pt idx="2">
                  <c:v>1.9457371147598559E-2</c:v>
                </c:pt>
                <c:pt idx="3">
                  <c:v>2.1005226955186754E-2</c:v>
                </c:pt>
                <c:pt idx="4">
                  <c:v>2.3683174888924508E-2</c:v>
                </c:pt>
                <c:pt idx="5">
                  <c:v>2.4814911692122233E-2</c:v>
                </c:pt>
                <c:pt idx="6">
                  <c:v>2.2966901329024649E-2</c:v>
                </c:pt>
                <c:pt idx="7">
                  <c:v>2.1693356757167159E-2</c:v>
                </c:pt>
                <c:pt idx="8">
                  <c:v>2.508474647577718E-2</c:v>
                </c:pt>
                <c:pt idx="9">
                  <c:v>3.2219360006132694E-2</c:v>
                </c:pt>
                <c:pt idx="10">
                  <c:v>3.3455366889535383E-2</c:v>
                </c:pt>
                <c:pt idx="11">
                  <c:v>3.0774205038558523E-2</c:v>
                </c:pt>
                <c:pt idx="12">
                  <c:v>3.166311843777065E-2</c:v>
                </c:pt>
                <c:pt idx="13">
                  <c:v>2.9573633835338665E-2</c:v>
                </c:pt>
                <c:pt idx="14">
                  <c:v>2.9438294749618857E-2</c:v>
                </c:pt>
                <c:pt idx="15">
                  <c:v>3.2326555355538883E-2</c:v>
                </c:pt>
                <c:pt idx="16">
                  <c:v>3.0454183212358377E-2</c:v>
                </c:pt>
                <c:pt idx="17">
                  <c:v>3.0177244147381318E-2</c:v>
                </c:pt>
                <c:pt idx="18">
                  <c:v>3.0949579617420526E-2</c:v>
                </c:pt>
                <c:pt idx="19">
                  <c:v>3.3044676701229417E-2</c:v>
                </c:pt>
                <c:pt idx="20">
                  <c:v>3.4502368865567047E-2</c:v>
                </c:pt>
                <c:pt idx="21">
                  <c:v>3.8171203781773647E-2</c:v>
                </c:pt>
                <c:pt idx="22">
                  <c:v>3.2633840746857157E-2</c:v>
                </c:pt>
                <c:pt idx="23">
                  <c:v>3.22851825867847E-2</c:v>
                </c:pt>
                <c:pt idx="24">
                  <c:v>3.4293774474369265E-2</c:v>
                </c:pt>
                <c:pt idx="25">
                  <c:v>3.3493331489235549E-2</c:v>
                </c:pt>
                <c:pt idx="26">
                  <c:v>3.2256296982208908E-2</c:v>
                </c:pt>
                <c:pt idx="27">
                  <c:v>3.256327154323236E-2</c:v>
                </c:pt>
                <c:pt idx="28">
                  <c:v>3.0215972855570965E-2</c:v>
                </c:pt>
                <c:pt idx="29">
                  <c:v>2.971323515475446E-2</c:v>
                </c:pt>
                <c:pt idx="30">
                  <c:v>2.9886044202056927E-2</c:v>
                </c:pt>
                <c:pt idx="31">
                  <c:v>3.0113049153545669E-2</c:v>
                </c:pt>
                <c:pt idx="32">
                  <c:v>3.0121682992946059E-2</c:v>
                </c:pt>
                <c:pt idx="33">
                  <c:v>2.8704102443482309E-2</c:v>
                </c:pt>
                <c:pt idx="34">
                  <c:v>3.0602403901330309E-2</c:v>
                </c:pt>
                <c:pt idx="35">
                  <c:v>3.1456536502498786E-2</c:v>
                </c:pt>
                <c:pt idx="36">
                  <c:v>3.1516667937295108E-2</c:v>
                </c:pt>
                <c:pt idx="37">
                  <c:v>3.3226585884057164E-2</c:v>
                </c:pt>
                <c:pt idx="38">
                  <c:v>3.3016326225624587E-2</c:v>
                </c:pt>
                <c:pt idx="39">
                  <c:v>3.0075909553288729E-2</c:v>
                </c:pt>
                <c:pt idx="40">
                  <c:v>3.0308227143147046E-2</c:v>
                </c:pt>
                <c:pt idx="41">
                  <c:v>3.1273537834975489E-2</c:v>
                </c:pt>
                <c:pt idx="42">
                  <c:v>3.0059016900147784E-2</c:v>
                </c:pt>
                <c:pt idx="43">
                  <c:v>3.0573863083611635E-2</c:v>
                </c:pt>
                <c:pt idx="44">
                  <c:v>3.254448153409624E-2</c:v>
                </c:pt>
                <c:pt idx="45">
                  <c:v>3.2420025270644671E-2</c:v>
                </c:pt>
                <c:pt idx="46">
                  <c:v>3.0841270586476857E-2</c:v>
                </c:pt>
                <c:pt idx="47">
                  <c:v>3.4545476528939606E-2</c:v>
                </c:pt>
                <c:pt idx="48">
                  <c:v>3.9378011399146942E-2</c:v>
                </c:pt>
                <c:pt idx="49">
                  <c:v>3.4585845792310457E-2</c:v>
                </c:pt>
                <c:pt idx="50">
                  <c:v>3.6889295123608744E-2</c:v>
                </c:pt>
                <c:pt idx="51">
                  <c:v>3.516974061970235E-2</c:v>
                </c:pt>
                <c:pt idx="52">
                  <c:v>3.3440411726256954E-2</c:v>
                </c:pt>
                <c:pt idx="53">
                  <c:v>3.0775515895011849E-2</c:v>
                </c:pt>
                <c:pt idx="54">
                  <c:v>2.856172806220978E-2</c:v>
                </c:pt>
                <c:pt idx="55">
                  <c:v>2.9260191711765828E-2</c:v>
                </c:pt>
                <c:pt idx="56">
                  <c:v>3.1178692703543048E-2</c:v>
                </c:pt>
                <c:pt idx="57">
                  <c:v>3.7031471681131703E-2</c:v>
                </c:pt>
                <c:pt idx="58">
                  <c:v>3.9909501581123753E-2</c:v>
                </c:pt>
                <c:pt idx="59">
                  <c:v>3.3090443177845791E-2</c:v>
                </c:pt>
                <c:pt idx="60">
                  <c:v>2.0429936026239697E-2</c:v>
                </c:pt>
                <c:pt idx="61">
                  <c:v>1.5942339180034886E-2</c:v>
                </c:pt>
                <c:pt idx="62">
                  <c:v>2.6561543645322632E-2</c:v>
                </c:pt>
                <c:pt idx="63">
                  <c:v>3.5068893654044385E-2</c:v>
                </c:pt>
                <c:pt idx="64">
                  <c:v>3.0967228847484717E-2</c:v>
                </c:pt>
                <c:pt idx="65">
                  <c:v>2.6027056162994167E-2</c:v>
                </c:pt>
                <c:pt idx="66">
                  <c:v>2.5871503741223587E-2</c:v>
                </c:pt>
                <c:pt idx="67">
                  <c:v>2.691260699372984E-2</c:v>
                </c:pt>
                <c:pt idx="68">
                  <c:v>2.5874418970458959E-2</c:v>
                </c:pt>
                <c:pt idx="69">
                  <c:v>2.3193315376484971E-2</c:v>
                </c:pt>
                <c:pt idx="70">
                  <c:v>2.2686657383630057E-2</c:v>
                </c:pt>
                <c:pt idx="71">
                  <c:v>2.6189284143623485E-2</c:v>
                </c:pt>
                <c:pt idx="72">
                  <c:v>2.7336338114147821E-2</c:v>
                </c:pt>
                <c:pt idx="73">
                  <c:v>2.7740990571672709E-2</c:v>
                </c:pt>
                <c:pt idx="74">
                  <c:v>2.8775273119844166E-2</c:v>
                </c:pt>
                <c:pt idx="75">
                  <c:v>2.8510329318482425E-2</c:v>
                </c:pt>
                <c:pt idx="76">
                  <c:v>2.7909474603405617E-2</c:v>
                </c:pt>
                <c:pt idx="77">
                  <c:v>2.354699792786898E-2</c:v>
                </c:pt>
                <c:pt idx="78">
                  <c:v>2.3516397046911525E-2</c:v>
                </c:pt>
                <c:pt idx="79">
                  <c:v>2.2115174941799768E-2</c:v>
                </c:pt>
                <c:pt idx="80">
                  <c:v>2.2268202762568419E-2</c:v>
                </c:pt>
                <c:pt idx="81">
                  <c:v>2.1244426266941792E-2</c:v>
                </c:pt>
                <c:pt idx="82">
                  <c:v>3.1177386289303839E-2</c:v>
                </c:pt>
                <c:pt idx="83">
                  <c:v>2.6306476866990773E-2</c:v>
                </c:pt>
                <c:pt idx="84">
                  <c:v>2.5524833007679375E-2</c:v>
                </c:pt>
                <c:pt idx="85">
                  <c:v>2.6871534411513368E-2</c:v>
                </c:pt>
                <c:pt idx="86">
                  <c:v>2.6338851413823878E-2</c:v>
                </c:pt>
                <c:pt idx="87">
                  <c:v>2.4648701089615546E-2</c:v>
                </c:pt>
                <c:pt idx="88">
                  <c:v>2.6238033764437702E-2</c:v>
                </c:pt>
                <c:pt idx="89">
                  <c:v>3.0191859532939729E-2</c:v>
                </c:pt>
                <c:pt idx="90">
                  <c:v>3.0716851696320817E-2</c:v>
                </c:pt>
                <c:pt idx="91">
                  <c:v>3.1790352756617284E-2</c:v>
                </c:pt>
                <c:pt idx="92">
                  <c:v>2.9789485452214992E-2</c:v>
                </c:pt>
                <c:pt idx="93">
                  <c:v>2.7419432969366012E-2</c:v>
                </c:pt>
                <c:pt idx="94">
                  <c:v>2.5375304588112154E-2</c:v>
                </c:pt>
                <c:pt idx="95">
                  <c:v>2.7271435244645044E-2</c:v>
                </c:pt>
                <c:pt idx="96">
                  <c:v>2.4300725205733124E-2</c:v>
                </c:pt>
                <c:pt idx="97">
                  <c:v>2.5953063658202231E-2</c:v>
                </c:pt>
                <c:pt idx="98">
                  <c:v>2.870484051773789E-2</c:v>
                </c:pt>
                <c:pt idx="99">
                  <c:v>3.0161179689259059E-2</c:v>
                </c:pt>
                <c:pt idx="100">
                  <c:v>3.7558407981539428E-2</c:v>
                </c:pt>
                <c:pt idx="101">
                  <c:v>3.5796970668813106E-2</c:v>
                </c:pt>
              </c:numCache>
            </c:numRef>
          </c:yVal>
          <c:smooth val="0"/>
          <c:extLst>
            <c:ext xmlns:c16="http://schemas.microsoft.com/office/drawing/2014/chart" uri="{C3380CC4-5D6E-409C-BE32-E72D297353CC}">
              <c16:uniqueId val="{00000000-F32D-48B7-BC20-E66FC6253BAD}"/>
            </c:ext>
          </c:extLst>
        </c:ser>
        <c:ser>
          <c:idx val="1"/>
          <c:order val="1"/>
          <c:tx>
            <c:strRef>
              <c:f>Sheet1!$B$10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6:$A$157</c:f>
              <c:numCache>
                <c:formatCode>General</c:formatCode>
                <c:ptCount val="52"/>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numCache>
            </c:numRef>
          </c:xVal>
          <c:yVal>
            <c:numRef>
              <c:f>Sheet1!$B$106:$B$157</c:f>
              <c:numCache>
                <c:formatCode>General</c:formatCode>
                <c:ptCount val="52"/>
                <c:pt idx="0">
                  <c:v>3.3379430772150658E-2</c:v>
                </c:pt>
                <c:pt idx="1">
                  <c:v>3.5297770608354727E-2</c:v>
                </c:pt>
                <c:pt idx="2">
                  <c:v>3.603152077608085E-2</c:v>
                </c:pt>
                <c:pt idx="3">
                  <c:v>3.0978674639028675E-2</c:v>
                </c:pt>
                <c:pt idx="4">
                  <c:v>2.8133515753956471E-2</c:v>
                </c:pt>
                <c:pt idx="5">
                  <c:v>2.7512069607189618E-2</c:v>
                </c:pt>
                <c:pt idx="6">
                  <c:v>2.7535908601076187E-2</c:v>
                </c:pt>
                <c:pt idx="7">
                  <c:v>2.7306049137985969E-2</c:v>
                </c:pt>
                <c:pt idx="8">
                  <c:v>2.6838607545871734E-2</c:v>
                </c:pt>
                <c:pt idx="9">
                  <c:v>2.8577136215520643E-2</c:v>
                </c:pt>
                <c:pt idx="10">
                  <c:v>2.9045708307140341E-2</c:v>
                </c:pt>
                <c:pt idx="11">
                  <c:v>3.0151694267354034E-2</c:v>
                </c:pt>
                <c:pt idx="12">
                  <c:v>3.1278274774940926E-2</c:v>
                </c:pt>
                <c:pt idx="13">
                  <c:v>3.2623144271831599E-2</c:v>
                </c:pt>
                <c:pt idx="14">
                  <c:v>3.2081452766552027E-2</c:v>
                </c:pt>
                <c:pt idx="15">
                  <c:v>2.8476513020004538E-2</c:v>
                </c:pt>
                <c:pt idx="16">
                  <c:v>2.8897929262062423E-2</c:v>
                </c:pt>
                <c:pt idx="17">
                  <c:v>2.8572345272906727E-2</c:v>
                </c:pt>
                <c:pt idx="18">
                  <c:v>2.7582157287634194E-2</c:v>
                </c:pt>
                <c:pt idx="19">
                  <c:v>2.6684207925807661E-2</c:v>
                </c:pt>
                <c:pt idx="20">
                  <c:v>2.5074098168638374E-2</c:v>
                </c:pt>
                <c:pt idx="21">
                  <c:v>3.7053775555914395E-2</c:v>
                </c:pt>
                <c:pt idx="22">
                  <c:v>4.1201839145334811E-2</c:v>
                </c:pt>
                <c:pt idx="23">
                  <c:v>3.952108516249337E-2</c:v>
                </c:pt>
                <c:pt idx="24">
                  <c:v>3.301132678213544E-2</c:v>
                </c:pt>
                <c:pt idx="25">
                  <c:v>3.4672282379825628E-2</c:v>
                </c:pt>
                <c:pt idx="26">
                  <c:v>3.6478521099227869E-2</c:v>
                </c:pt>
                <c:pt idx="27">
                  <c:v>3.1719960612283417E-2</c:v>
                </c:pt>
                <c:pt idx="28">
                  <c:v>2.9844699099281863E-2</c:v>
                </c:pt>
                <c:pt idx="29">
                  <c:v>2.8247037929351546E-2</c:v>
                </c:pt>
                <c:pt idx="30">
                  <c:v>2.3926861689124793E-2</c:v>
                </c:pt>
                <c:pt idx="31">
                  <c:v>2.0770671408149036E-2</c:v>
                </c:pt>
                <c:pt idx="32">
                  <c:v>2.3460558709885785E-2</c:v>
                </c:pt>
                <c:pt idx="33">
                  <c:v>3.0427962862070307E-2</c:v>
                </c:pt>
                <c:pt idx="34">
                  <c:v>3.1037706913624008E-2</c:v>
                </c:pt>
                <c:pt idx="35">
                  <c:v>2.928997264422914E-2</c:v>
                </c:pt>
                <c:pt idx="36">
                  <c:v>2.9697936908540855E-2</c:v>
                </c:pt>
                <c:pt idx="37">
                  <c:v>3.0248130900335804E-2</c:v>
                </c:pt>
                <c:pt idx="38">
                  <c:v>3.5070387750061743E-2</c:v>
                </c:pt>
                <c:pt idx="39">
                  <c:v>3.1208337770205517E-2</c:v>
                </c:pt>
                <c:pt idx="40">
                  <c:v>2.6826790166755026E-2</c:v>
                </c:pt>
                <c:pt idx="41">
                  <c:v>2.4203784771293646E-2</c:v>
                </c:pt>
                <c:pt idx="42">
                  <c:v>2.4098053977022377E-2</c:v>
                </c:pt>
                <c:pt idx="43">
                  <c:v>2.4523754132153155E-2</c:v>
                </c:pt>
                <c:pt idx="44">
                  <c:v>2.2379504666963371E-2</c:v>
                </c:pt>
                <c:pt idx="45">
                  <c:v>2.104065524243157E-2</c:v>
                </c:pt>
                <c:pt idx="46">
                  <c:v>2.2028240128902143E-2</c:v>
                </c:pt>
                <c:pt idx="47">
                  <c:v>2.3321641522021073E-2</c:v>
                </c:pt>
                <c:pt idx="48">
                  <c:v>2.5721900660138006E-2</c:v>
                </c:pt>
                <c:pt idx="49">
                  <c:v>2.4967370312040958E-2</c:v>
                </c:pt>
                <c:pt idx="50">
                  <c:v>2.6033359791458374E-2</c:v>
                </c:pt>
                <c:pt idx="51">
                  <c:v>2.5702227757022279E-2</c:v>
                </c:pt>
              </c:numCache>
            </c:numRef>
          </c:yVal>
          <c:smooth val="0"/>
          <c:extLst>
            <c:ext xmlns:c16="http://schemas.microsoft.com/office/drawing/2014/chart" uri="{C3380CC4-5D6E-409C-BE32-E72D297353CC}">
              <c16:uniqueId val="{00000002-F32D-48B7-BC20-E66FC6253BAD}"/>
            </c:ext>
          </c:extLst>
        </c:ser>
        <c:ser>
          <c:idx val="2"/>
          <c:order val="2"/>
          <c:tx>
            <c:strRef>
              <c:f>Sheet1!$B$159</c:f>
              <c:strCache>
                <c:ptCount val="1"/>
                <c:pt idx="0">
                  <c:v>Custom Linep3yQ</c:v>
                </c:pt>
              </c:strCache>
            </c:strRef>
          </c:tx>
          <c:spPr>
            <a:ln w="19050" cap="rnd">
              <a:solidFill>
                <a:srgbClr val="C00000"/>
              </a:solidFill>
              <a:prstDash val="sysDot"/>
              <a:round/>
            </a:ln>
            <a:effectLst/>
          </c:spPr>
          <c:marker>
            <c:symbol val="none"/>
          </c:marker>
          <c:xVal>
            <c:numRef>
              <c:f>Sheet1!$A$160:$A$161</c:f>
              <c:numCache>
                <c:formatCode>General</c:formatCode>
                <c:ptCount val="2"/>
                <c:pt idx="0">
                  <c:v>0</c:v>
                </c:pt>
                <c:pt idx="1">
                  <c:v>0.27575744047645689</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3-F32D-48B7-BC20-E66FC6253BAD}"/>
            </c:ext>
          </c:extLst>
        </c:ser>
        <c:ser>
          <c:idx val="3"/>
          <c:order val="3"/>
          <c:tx>
            <c:strRef>
              <c:f>Sheet1!$B$16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0.27575744047645689</c:v>
                </c:pt>
                <c:pt idx="1">
                  <c:v>0.27575744047645689</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8:$A$169</c:f>
              <c:numCache>
                <c:formatCode>General</c:formatCode>
                <c:ptCount val="2"/>
                <c:pt idx="0">
                  <c:v>0</c:v>
                </c:pt>
                <c:pt idx="1">
                  <c:v>0.28987004975079905</c:v>
                </c:pt>
              </c:numCache>
            </c:numRef>
          </c:xVal>
          <c:yVal>
            <c:numRef>
              <c:f>Sheet1!$B$168:$B$169</c:f>
              <c:numCache>
                <c:formatCode>General</c:formatCode>
                <c:ptCount val="2"/>
                <c:pt idx="0">
                  <c:v>3.1101577984060606E-2</c:v>
                </c:pt>
                <c:pt idx="1">
                  <c:v>3.1101577984060606E-2</c:v>
                </c:pt>
              </c:numCache>
            </c:numRef>
          </c:yVal>
          <c:smooth val="0"/>
          <c:extLst>
            <c:ext xmlns:c16="http://schemas.microsoft.com/office/drawing/2014/chart" uri="{C3380CC4-5D6E-409C-BE32-E72D297353CC}">
              <c16:uniqueId val="{0000000A-F32D-48B7-BC20-E66FC6253BAD}"/>
            </c:ext>
          </c:extLst>
        </c:ser>
        <c:ser>
          <c:idx val="5"/>
          <c:order val="5"/>
          <c:tx>
            <c:strRef>
              <c:f>Sheet1!$B$17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0.28987004975079905</c:v>
                </c:pt>
                <c:pt idx="1">
                  <c:v>0.28987004975079905</c:v>
                </c:pt>
              </c:numCache>
            </c:numRef>
          </c:xVal>
          <c:yVal>
            <c:numRef>
              <c:f>Sheet1!$B$172:$B$173</c:f>
              <c:numCache>
                <c:formatCode>General</c:formatCode>
                <c:ptCount val="2"/>
                <c:pt idx="0">
                  <c:v>3.1101577984060606E-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6:$A$177</c:f>
              <c:numCache>
                <c:formatCode>General</c:formatCode>
                <c:ptCount val="2"/>
                <c:pt idx="0">
                  <c:v>0</c:v>
                </c:pt>
                <c:pt idx="1">
                  <c:v>0.32888493428125432</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1-F32D-48B7-BC20-E66FC6253BAD}"/>
            </c:ext>
          </c:extLst>
        </c:ser>
        <c:ser>
          <c:idx val="7"/>
          <c:order val="7"/>
          <c:tx>
            <c:strRef>
              <c:f>Sheet1!$B$17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0:$A$181</c:f>
              <c:numCache>
                <c:formatCode>General</c:formatCode>
                <c:ptCount val="2"/>
                <c:pt idx="0">
                  <c:v>0.32888493428125432</c:v>
                </c:pt>
                <c:pt idx="1">
                  <c:v>0.32888493428125432</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4:$A$238</c:f>
              <c:numCache>
                <c:formatCode>General</c:formatCode>
                <c:ptCount val="55"/>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pt idx="52">
                  <c:v>0.28987004975079905</c:v>
                </c:pt>
                <c:pt idx="53">
                  <c:v>0.27575744047645689</c:v>
                </c:pt>
                <c:pt idx="54">
                  <c:v>0.32888493428125432</c:v>
                </c:pt>
              </c:numCache>
            </c:numRef>
          </c:xVal>
          <c:yVal>
            <c:numRef>
              <c:f>Sheet1!$B$184:$B$238</c:f>
              <c:numCache>
                <c:formatCode>General</c:formatCode>
                <c:ptCount val="55"/>
                <c:pt idx="0">
                  <c:v>2.9413873016704839E-2</c:v>
                </c:pt>
                <c:pt idx="1">
                  <c:v>2.9896344890080709E-2</c:v>
                </c:pt>
                <c:pt idx="2">
                  <c:v>3.0155656486461964E-2</c:v>
                </c:pt>
                <c:pt idx="3">
                  <c:v>2.7109900331363727E-2</c:v>
                </c:pt>
                <c:pt idx="4">
                  <c:v>2.4371775225560388E-2</c:v>
                </c:pt>
                <c:pt idx="5">
                  <c:v>2.4094268404047922E-2</c:v>
                </c:pt>
                <c:pt idx="6">
                  <c:v>2.4322183284519114E-2</c:v>
                </c:pt>
                <c:pt idx="7">
                  <c:v>2.5263903460272262E-2</c:v>
                </c:pt>
                <c:pt idx="8">
                  <c:v>2.7533717749061021E-2</c:v>
                </c:pt>
                <c:pt idx="9">
                  <c:v>2.9136059572005948E-2</c:v>
                </c:pt>
                <c:pt idx="10">
                  <c:v>2.8439725189245424E-2</c:v>
                </c:pt>
                <c:pt idx="11">
                  <c:v>2.8481575446516888E-2</c:v>
                </c:pt>
                <c:pt idx="12">
                  <c:v>3.0108594349578348E-2</c:v>
                </c:pt>
                <c:pt idx="13">
                  <c:v>3.169054387055209E-2</c:v>
                </c:pt>
                <c:pt idx="14">
                  <c:v>3.1465934595702259E-2</c:v>
                </c:pt>
                <c:pt idx="15">
                  <c:v>3.1477667841337743E-2</c:v>
                </c:pt>
                <c:pt idx="16">
                  <c:v>3.1573121681829512E-2</c:v>
                </c:pt>
                <c:pt idx="17">
                  <c:v>3.1532924296196564E-2</c:v>
                </c:pt>
                <c:pt idx="18">
                  <c:v>3.0515660900336583E-2</c:v>
                </c:pt>
                <c:pt idx="19">
                  <c:v>3.0211789143868836E-2</c:v>
                </c:pt>
                <c:pt idx="20">
                  <c:v>2.8955614795748236E-2</c:v>
                </c:pt>
                <c:pt idx="21">
                  <c:v>3.2772131418724967E-2</c:v>
                </c:pt>
                <c:pt idx="22">
                  <c:v>3.3542665870490845E-2</c:v>
                </c:pt>
                <c:pt idx="23">
                  <c:v>3.3435184307609174E-2</c:v>
                </c:pt>
                <c:pt idx="24">
                  <c:v>3.268271460365052E-2</c:v>
                </c:pt>
                <c:pt idx="25">
                  <c:v>3.3870059534782497E-2</c:v>
                </c:pt>
                <c:pt idx="26">
                  <c:v>3.3073079926514877E-2</c:v>
                </c:pt>
                <c:pt idx="27">
                  <c:v>3.1808643842456727E-2</c:v>
                </c:pt>
                <c:pt idx="28">
                  <c:v>3.0502176751221188E-2</c:v>
                </c:pt>
                <c:pt idx="29">
                  <c:v>2.7906678470255915E-2</c:v>
                </c:pt>
                <c:pt idx="30">
                  <c:v>2.5033266393526828E-2</c:v>
                </c:pt>
                <c:pt idx="31">
                  <c:v>2.630903103630991E-2</c:v>
                </c:pt>
                <c:pt idx="32">
                  <c:v>2.8693045313762239E-2</c:v>
                </c:pt>
                <c:pt idx="33">
                  <c:v>3.2596808075387743E-2</c:v>
                </c:pt>
                <c:pt idx="34">
                  <c:v>3.3462836223474769E-2</c:v>
                </c:pt>
                <c:pt idx="35">
                  <c:v>3.1780988069129081E-2</c:v>
                </c:pt>
                <c:pt idx="36">
                  <c:v>3.2997078119396075E-2</c:v>
                </c:pt>
                <c:pt idx="37">
                  <c:v>3.4241810296995578E-2</c:v>
                </c:pt>
                <c:pt idx="38">
                  <c:v>3.5259393566231922E-2</c:v>
                </c:pt>
                <c:pt idx="39">
                  <c:v>3.2524924643797831E-2</c:v>
                </c:pt>
                <c:pt idx="40">
                  <c:v>2.8308242375685959E-2</c:v>
                </c:pt>
                <c:pt idx="41">
                  <c:v>2.54404048951909E-2</c:v>
                </c:pt>
                <c:pt idx="42">
                  <c:v>2.3287513921568817E-2</c:v>
                </c:pt>
                <c:pt idx="43">
                  <c:v>2.3365554652546534E-2</c:v>
                </c:pt>
                <c:pt idx="44">
                  <c:v>2.3054756675168077E-2</c:v>
                </c:pt>
                <c:pt idx="45">
                  <c:v>2.3566114628330095E-2</c:v>
                </c:pt>
                <c:pt idx="46">
                  <c:v>2.5888630394799238E-2</c:v>
                </c:pt>
                <c:pt idx="47">
                  <c:v>2.6265547596405793E-2</c:v>
                </c:pt>
                <c:pt idx="48">
                  <c:v>2.7412822111043234E-2</c:v>
                </c:pt>
                <c:pt idx="49">
                  <c:v>2.5962622488181153E-2</c:v>
                </c:pt>
                <c:pt idx="50">
                  <c:v>2.4525712064247307E-2</c:v>
                </c:pt>
                <c:pt idx="51">
                  <c:v>2.4473274634488791E-2</c:v>
                </c:pt>
                <c:pt idx="52">
                  <c:v>3.1101577984060602E-2</c:v>
                </c:pt>
                <c:pt idx="53">
                  <c:v>3.3390590546211449E-2</c:v>
                </c:pt>
                <c:pt idx="54">
                  <c:v>2.4773509299877497E-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40737801608579088"/>
          <c:min val="0.18705920295984374"/>
        </c:scaling>
        <c:delete val="0"/>
        <c:axPos val="b"/>
        <c:title>
          <c:tx>
            <c:rich>
              <a:bodyPr rot="0" spcFirstLastPara="1" vertOverflow="ellipsis" vert="horz" wrap="square" anchor="ctr" anchorCtr="1"/>
              <a:lstStyle/>
              <a:p>
                <a:pPr>
                  <a:defRPr sz="800" b="0">
                    <a:latin typeface="Nexa Bold"/>
                  </a:defRPr>
                </a:pPr>
                <a:r>
                  <a:rPr lang="en-US"/>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1291069944164441</c:v>
                </c:pt>
                <c:pt idx="1">
                  <c:v>0.13485892486555889</c:v>
                </c:pt>
                <c:pt idx="2">
                  <c:v>0.13361697278764331</c:v>
                </c:pt>
                <c:pt idx="3">
                  <c:v>0.13181455947245191</c:v>
                </c:pt>
                <c:pt idx="4">
                  <c:v>0.13079849733141291</c:v>
                </c:pt>
                <c:pt idx="5">
                  <c:v>0.12786527339341361</c:v>
                </c:pt>
                <c:pt idx="6">
                  <c:v>0.13389772495720559</c:v>
                </c:pt>
                <c:pt idx="7">
                  <c:v>0.1359519354250221</c:v>
                </c:pt>
                <c:pt idx="8">
                  <c:v>0.13408395448492219</c:v>
                </c:pt>
                <c:pt idx="9">
                  <c:v>0.1272173036352085</c:v>
                </c:pt>
                <c:pt idx="10">
                  <c:v>0.12580154817273331</c:v>
                </c:pt>
                <c:pt idx="11">
                  <c:v>0.1247833670603628</c:v>
                </c:pt>
                <c:pt idx="12">
                  <c:v>0.12616612542700109</c:v>
                </c:pt>
                <c:pt idx="13">
                  <c:v>0.13426073846412021</c:v>
                </c:pt>
                <c:pt idx="14">
                  <c:v>0.13040345544745011</c:v>
                </c:pt>
                <c:pt idx="15">
                  <c:v>0.12568196098787579</c:v>
                </c:pt>
                <c:pt idx="16">
                  <c:v>0.1284543866213313</c:v>
                </c:pt>
                <c:pt idx="17">
                  <c:v>0.13252000199740169</c:v>
                </c:pt>
                <c:pt idx="18">
                  <c:v>0.12612196270786419</c:v>
                </c:pt>
                <c:pt idx="19">
                  <c:v>0.13496886950214251</c:v>
                </c:pt>
                <c:pt idx="20">
                  <c:v>0.13064933940560819</c:v>
                </c:pt>
                <c:pt idx="21">
                  <c:v>0.12635635491031241</c:v>
                </c:pt>
                <c:pt idx="22">
                  <c:v>0.12863609693980929</c:v>
                </c:pt>
                <c:pt idx="23">
                  <c:v>0.13116494310893009</c:v>
                </c:pt>
                <c:pt idx="24">
                  <c:v>0.1278058186678292</c:v>
                </c:pt>
                <c:pt idx="25">
                  <c:v>0.1235932293079324</c:v>
                </c:pt>
                <c:pt idx="26">
                  <c:v>0.12290934252239009</c:v>
                </c:pt>
                <c:pt idx="27">
                  <c:v>0.12109503765009599</c:v>
                </c:pt>
                <c:pt idx="28">
                  <c:v>0.12207135397276341</c:v>
                </c:pt>
                <c:pt idx="29">
                  <c:v>0.1263122981136704</c:v>
                </c:pt>
                <c:pt idx="30">
                  <c:v>0.1263263635992006</c:v>
                </c:pt>
                <c:pt idx="31">
                  <c:v>0.12476889875077329</c:v>
                </c:pt>
                <c:pt idx="32">
                  <c:v>0.12674353123399981</c:v>
                </c:pt>
                <c:pt idx="33">
                  <c:v>0.12588695742723971</c:v>
                </c:pt>
                <c:pt idx="34">
                  <c:v>0.12390000002667199</c:v>
                </c:pt>
                <c:pt idx="35">
                  <c:v>0.12440850519118039</c:v>
                </c:pt>
                <c:pt idx="36">
                  <c:v>0.12336288941275771</c:v>
                </c:pt>
                <c:pt idx="37">
                  <c:v>0.1236579395008299</c:v>
                </c:pt>
                <c:pt idx="38">
                  <c:v>0.1244360084590832</c:v>
                </c:pt>
                <c:pt idx="39">
                  <c:v>0.12224083915887329</c:v>
                </c:pt>
                <c:pt idx="40">
                  <c:v>0.1219327444047168</c:v>
                </c:pt>
                <c:pt idx="41">
                  <c:v>0.1250560323566518</c:v>
                </c:pt>
                <c:pt idx="42">
                  <c:v>0.12745512740440279</c:v>
                </c:pt>
                <c:pt idx="43">
                  <c:v>0.1211984894858895</c:v>
                </c:pt>
                <c:pt idx="44">
                  <c:v>0.1258670226690102</c:v>
                </c:pt>
                <c:pt idx="45">
                  <c:v>0.1272339848348821</c:v>
                </c:pt>
                <c:pt idx="46">
                  <c:v>0.13490346412193621</c:v>
                </c:pt>
                <c:pt idx="47">
                  <c:v>0.1232399985423943</c:v>
                </c:pt>
                <c:pt idx="48">
                  <c:v>0.12311641114157899</c:v>
                </c:pt>
                <c:pt idx="49">
                  <c:v>0.1234350759255986</c:v>
                </c:pt>
                <c:pt idx="50">
                  <c:v>0.12419744604278141</c:v>
                </c:pt>
                <c:pt idx="51">
                  <c:v>0.13145508336915421</c:v>
                </c:pt>
                <c:pt idx="52">
                  <c:v>0.13109930113357529</c:v>
                </c:pt>
                <c:pt idx="53">
                  <c:v>0.13568928560863899</c:v>
                </c:pt>
                <c:pt idx="54">
                  <c:v>0.1285210371531505</c:v>
                </c:pt>
                <c:pt idx="55">
                  <c:v>0.1300753516373136</c:v>
                </c:pt>
                <c:pt idx="56">
                  <c:v>0.12489749950473671</c:v>
                </c:pt>
                <c:pt idx="57">
                  <c:v>0.10266521645136149</c:v>
                </c:pt>
                <c:pt idx="58">
                  <c:v>9.4621929093130358E-2</c:v>
                </c:pt>
                <c:pt idx="59">
                  <c:v>9.8212612965823731E-2</c:v>
                </c:pt>
                <c:pt idx="60">
                  <c:v>0.1102654339127445</c:v>
                </c:pt>
                <c:pt idx="61">
                  <c:v>0.1086326326560431</c:v>
                </c:pt>
                <c:pt idx="62">
                  <c:v>0.10273100071317991</c:v>
                </c:pt>
                <c:pt idx="63">
                  <c:v>0.1056131313298932</c:v>
                </c:pt>
                <c:pt idx="64">
                  <c:v>0.116037952360732</c:v>
                </c:pt>
                <c:pt idx="65">
                  <c:v>0.13065683342069531</c:v>
                </c:pt>
                <c:pt idx="66">
                  <c:v>0.132712182958446</c:v>
                </c:pt>
                <c:pt idx="67">
                  <c:v>0.12498087731066</c:v>
                </c:pt>
                <c:pt idx="68">
                  <c:v>0.1318623648264734</c:v>
                </c:pt>
                <c:pt idx="69">
                  <c:v>0.13405085209231629</c:v>
                </c:pt>
                <c:pt idx="70">
                  <c:v>0.12663942767242409</c:v>
                </c:pt>
                <c:pt idx="71">
                  <c:v>0.13715997078444109</c:v>
                </c:pt>
                <c:pt idx="72">
                  <c:v>0.1312699287114284</c:v>
                </c:pt>
                <c:pt idx="73">
                  <c:v>0.1290474255800157</c:v>
                </c:pt>
                <c:pt idx="74">
                  <c:v>0.12976627424972709</c:v>
                </c:pt>
                <c:pt idx="75">
                  <c:v>0.12686829869724861</c:v>
                </c:pt>
                <c:pt idx="76">
                  <c:v>0.1253623579280761</c:v>
                </c:pt>
                <c:pt idx="77">
                  <c:v>0.12968156222074531</c:v>
                </c:pt>
                <c:pt idx="78">
                  <c:v>0.12750329032649099</c:v>
                </c:pt>
                <c:pt idx="79">
                  <c:v>0.12461050546445129</c:v>
                </c:pt>
                <c:pt idx="80">
                  <c:v>0.12900335189603049</c:v>
                </c:pt>
                <c:pt idx="81">
                  <c:v>0.12741746962889991</c:v>
                </c:pt>
                <c:pt idx="82">
                  <c:v>0.1227246355993528</c:v>
                </c:pt>
                <c:pt idx="83">
                  <c:v>0.12325497363003669</c:v>
                </c:pt>
                <c:pt idx="84">
                  <c:v>0.1237777050026681</c:v>
                </c:pt>
                <c:pt idx="85">
                  <c:v>0.1227618684932686</c:v>
                </c:pt>
                <c:pt idx="86">
                  <c:v>0.12625273778634091</c:v>
                </c:pt>
                <c:pt idx="87">
                  <c:v>0.12848401925218161</c:v>
                </c:pt>
                <c:pt idx="88">
                  <c:v>0.12808991008793849</c:v>
                </c:pt>
                <c:pt idx="89">
                  <c:v>0.12669599383578639</c:v>
                </c:pt>
                <c:pt idx="90">
                  <c:v>0.128457244567205</c:v>
                </c:pt>
                <c:pt idx="91">
                  <c:v>0.1287495738807907</c:v>
                </c:pt>
                <c:pt idx="92">
                  <c:v>0.12753778198649329</c:v>
                </c:pt>
                <c:pt idx="93">
                  <c:v>0.12858384689357691</c:v>
                </c:pt>
                <c:pt idx="94">
                  <c:v>0.13053873342212541</c:v>
                </c:pt>
                <c:pt idx="95">
                  <c:v>0.1283681251237693</c:v>
                </c:pt>
                <c:pt idx="96">
                  <c:v>0.12712219330013799</c:v>
                </c:pt>
                <c:pt idx="97">
                  <c:v>0.12537888942730019</c:v>
                </c:pt>
                <c:pt idx="98">
                  <c:v>0.12745921704595151</c:v>
                </c:pt>
                <c:pt idx="99">
                  <c:v>0.1212266665697815</c:v>
                </c:pt>
                <c:pt idx="100">
                  <c:v>0.1141728668578047</c:v>
                </c:pt>
                <c:pt idx="101">
                  <c:v>0.115957494325048</c:v>
                </c:pt>
              </c:numCache>
            </c:numRef>
          </c:xVal>
          <c:yVal>
            <c:numRef>
              <c:f>Sheet1!$B$2:$B$103</c:f>
              <c:numCache>
                <c:formatCode>General</c:formatCode>
                <c:ptCount val="102"/>
                <c:pt idx="0">
                  <c:v>3.1549194168607013E-2</c:v>
                </c:pt>
                <c:pt idx="1">
                  <c:v>2.5925076493376501E-2</c:v>
                </c:pt>
                <c:pt idx="2">
                  <c:v>1.9457371147598559E-2</c:v>
                </c:pt>
                <c:pt idx="3">
                  <c:v>2.1005226955186751E-2</c:v>
                </c:pt>
                <c:pt idx="4">
                  <c:v>2.3683174888924512E-2</c:v>
                </c:pt>
                <c:pt idx="5">
                  <c:v>2.481491169212223E-2</c:v>
                </c:pt>
                <c:pt idx="6">
                  <c:v>2.2966901329024649E-2</c:v>
                </c:pt>
                <c:pt idx="7">
                  <c:v>2.1693356757167159E-2</c:v>
                </c:pt>
                <c:pt idx="8">
                  <c:v>2.508474647577718E-2</c:v>
                </c:pt>
                <c:pt idx="9">
                  <c:v>3.2219360006132687E-2</c:v>
                </c:pt>
                <c:pt idx="10">
                  <c:v>3.3455366889535383E-2</c:v>
                </c:pt>
                <c:pt idx="11">
                  <c:v>3.077420503855852E-2</c:v>
                </c:pt>
                <c:pt idx="12">
                  <c:v>3.166311843777065E-2</c:v>
                </c:pt>
                <c:pt idx="13">
                  <c:v>2.9573633835338661E-2</c:v>
                </c:pt>
                <c:pt idx="14">
                  <c:v>2.943829474961886E-2</c:v>
                </c:pt>
                <c:pt idx="15">
                  <c:v>3.2326555355538883E-2</c:v>
                </c:pt>
                <c:pt idx="16">
                  <c:v>3.045418321235838E-2</c:v>
                </c:pt>
                <c:pt idx="17">
                  <c:v>3.0177244147381321E-2</c:v>
                </c:pt>
                <c:pt idx="18">
                  <c:v>3.0949579617420529E-2</c:v>
                </c:pt>
                <c:pt idx="19">
                  <c:v>3.3044676701229417E-2</c:v>
                </c:pt>
                <c:pt idx="20">
                  <c:v>3.4502368865567047E-2</c:v>
                </c:pt>
                <c:pt idx="21">
                  <c:v>3.8171203781773647E-2</c:v>
                </c:pt>
                <c:pt idx="22">
                  <c:v>3.2633840746857157E-2</c:v>
                </c:pt>
                <c:pt idx="23">
                  <c:v>3.22851825867847E-2</c:v>
                </c:pt>
                <c:pt idx="24">
                  <c:v>3.4293774474369272E-2</c:v>
                </c:pt>
                <c:pt idx="25">
                  <c:v>3.3493331489235549E-2</c:v>
                </c:pt>
                <c:pt idx="26">
                  <c:v>3.2256296982208908E-2</c:v>
                </c:pt>
                <c:pt idx="27">
                  <c:v>3.256327154323236E-2</c:v>
                </c:pt>
                <c:pt idx="28">
                  <c:v>3.0215972855570969E-2</c:v>
                </c:pt>
                <c:pt idx="29">
                  <c:v>2.971323515475446E-2</c:v>
                </c:pt>
                <c:pt idx="30">
                  <c:v>2.9886044202056931E-2</c:v>
                </c:pt>
                <c:pt idx="31">
                  <c:v>3.0113049153545669E-2</c:v>
                </c:pt>
                <c:pt idx="32">
                  <c:v>3.0121682992946059E-2</c:v>
                </c:pt>
                <c:pt idx="33">
                  <c:v>2.8704102443482309E-2</c:v>
                </c:pt>
                <c:pt idx="34">
                  <c:v>3.0602403901330309E-2</c:v>
                </c:pt>
                <c:pt idx="35">
                  <c:v>3.1456536502498793E-2</c:v>
                </c:pt>
                <c:pt idx="36">
                  <c:v>3.1516667937295108E-2</c:v>
                </c:pt>
                <c:pt idx="37">
                  <c:v>3.3226585884057157E-2</c:v>
                </c:pt>
                <c:pt idx="38">
                  <c:v>3.3016326225624587E-2</c:v>
                </c:pt>
                <c:pt idx="39">
                  <c:v>3.0075909553288729E-2</c:v>
                </c:pt>
                <c:pt idx="40">
                  <c:v>3.030822714314705E-2</c:v>
                </c:pt>
                <c:pt idx="41">
                  <c:v>3.1273537834975489E-2</c:v>
                </c:pt>
                <c:pt idx="42">
                  <c:v>3.005901690014778E-2</c:v>
                </c:pt>
                <c:pt idx="43">
                  <c:v>3.0573863083611631E-2</c:v>
                </c:pt>
                <c:pt idx="44">
                  <c:v>3.254448153409624E-2</c:v>
                </c:pt>
                <c:pt idx="45">
                  <c:v>3.2420025270644671E-2</c:v>
                </c:pt>
                <c:pt idx="46">
                  <c:v>3.0841270586476861E-2</c:v>
                </c:pt>
                <c:pt idx="47">
                  <c:v>3.4545476528939613E-2</c:v>
                </c:pt>
                <c:pt idx="48">
                  <c:v>3.9378011399146942E-2</c:v>
                </c:pt>
                <c:pt idx="49">
                  <c:v>3.4585845792310457E-2</c:v>
                </c:pt>
                <c:pt idx="50">
                  <c:v>3.6889295123608737E-2</c:v>
                </c:pt>
                <c:pt idx="51">
                  <c:v>3.516974061970235E-2</c:v>
                </c:pt>
                <c:pt idx="52">
                  <c:v>3.3440411726256947E-2</c:v>
                </c:pt>
                <c:pt idx="53">
                  <c:v>3.0775515895011849E-2</c:v>
                </c:pt>
                <c:pt idx="54">
                  <c:v>2.856172806220978E-2</c:v>
                </c:pt>
                <c:pt idx="55">
                  <c:v>2.9260191711765832E-2</c:v>
                </c:pt>
                <c:pt idx="56">
                  <c:v>3.1178692703543051E-2</c:v>
                </c:pt>
                <c:pt idx="57">
                  <c:v>3.7031471681131703E-2</c:v>
                </c:pt>
                <c:pt idx="58">
                  <c:v>3.9909501581123753E-2</c:v>
                </c:pt>
                <c:pt idx="59">
                  <c:v>3.3090443177845791E-2</c:v>
                </c:pt>
                <c:pt idx="60">
                  <c:v>2.0429936026239701E-2</c:v>
                </c:pt>
                <c:pt idx="61">
                  <c:v>1.594233918003489E-2</c:v>
                </c:pt>
                <c:pt idx="62">
                  <c:v>2.6561543645322629E-2</c:v>
                </c:pt>
                <c:pt idx="63">
                  <c:v>3.5068893654044378E-2</c:v>
                </c:pt>
                <c:pt idx="64">
                  <c:v>3.0967228847484721E-2</c:v>
                </c:pt>
                <c:pt idx="65">
                  <c:v>2.602705616299417E-2</c:v>
                </c:pt>
                <c:pt idx="66">
                  <c:v>2.587150374122359E-2</c:v>
                </c:pt>
                <c:pt idx="67">
                  <c:v>2.691260699372984E-2</c:v>
                </c:pt>
                <c:pt idx="68">
                  <c:v>2.5874418970458959E-2</c:v>
                </c:pt>
                <c:pt idx="69">
                  <c:v>2.3193315376484971E-2</c:v>
                </c:pt>
                <c:pt idx="70">
                  <c:v>2.2686657383630061E-2</c:v>
                </c:pt>
                <c:pt idx="71">
                  <c:v>2.6189284143623481E-2</c:v>
                </c:pt>
                <c:pt idx="72">
                  <c:v>2.7336338114147821E-2</c:v>
                </c:pt>
                <c:pt idx="73">
                  <c:v>2.7740990571672709E-2</c:v>
                </c:pt>
                <c:pt idx="74">
                  <c:v>2.877527311984417E-2</c:v>
                </c:pt>
                <c:pt idx="75">
                  <c:v>2.8510329318482429E-2</c:v>
                </c:pt>
                <c:pt idx="76">
                  <c:v>2.7909474603405621E-2</c:v>
                </c:pt>
                <c:pt idx="77">
                  <c:v>2.354699792786898E-2</c:v>
                </c:pt>
                <c:pt idx="78">
                  <c:v>2.3516397046911521E-2</c:v>
                </c:pt>
                <c:pt idx="79">
                  <c:v>2.2115174941799771E-2</c:v>
                </c:pt>
                <c:pt idx="80">
                  <c:v>2.2268202762568419E-2</c:v>
                </c:pt>
                <c:pt idx="81">
                  <c:v>2.1244426266941788E-2</c:v>
                </c:pt>
                <c:pt idx="82">
                  <c:v>3.1177386289303839E-2</c:v>
                </c:pt>
                <c:pt idx="83">
                  <c:v>2.630647686699077E-2</c:v>
                </c:pt>
                <c:pt idx="84">
                  <c:v>2.5524833007679371E-2</c:v>
                </c:pt>
                <c:pt idx="85">
                  <c:v>2.6871534411513371E-2</c:v>
                </c:pt>
                <c:pt idx="86">
                  <c:v>2.6338851413823881E-2</c:v>
                </c:pt>
                <c:pt idx="87">
                  <c:v>2.464870108961555E-2</c:v>
                </c:pt>
                <c:pt idx="88">
                  <c:v>2.6238033764437702E-2</c:v>
                </c:pt>
                <c:pt idx="89">
                  <c:v>3.0191859532939729E-2</c:v>
                </c:pt>
                <c:pt idx="90">
                  <c:v>3.071685169632082E-2</c:v>
                </c:pt>
                <c:pt idx="91">
                  <c:v>3.1790352756617277E-2</c:v>
                </c:pt>
                <c:pt idx="92">
                  <c:v>2.9789485452214989E-2</c:v>
                </c:pt>
                <c:pt idx="93">
                  <c:v>2.7419432969366012E-2</c:v>
                </c:pt>
                <c:pt idx="94">
                  <c:v>2.5375304588112151E-2</c:v>
                </c:pt>
                <c:pt idx="95">
                  <c:v>2.727143524464504E-2</c:v>
                </c:pt>
                <c:pt idx="96">
                  <c:v>2.430072520573312E-2</c:v>
                </c:pt>
                <c:pt idx="97">
                  <c:v>2.5953063658202231E-2</c:v>
                </c:pt>
                <c:pt idx="98">
                  <c:v>2.870484051773789E-2</c:v>
                </c:pt>
                <c:pt idx="99">
                  <c:v>3.0161179689259059E-2</c:v>
                </c:pt>
                <c:pt idx="100">
                  <c:v>3.7558407981539428E-2</c:v>
                </c:pt>
                <c:pt idx="101">
                  <c:v>3.5796970668813113E-2</c:v>
                </c:pt>
              </c:numCache>
            </c:numRef>
          </c:yVal>
          <c:smooth val="0"/>
          <c:extLst>
            <c:ext xmlns:c16="http://schemas.microsoft.com/office/drawing/2014/chart" uri="{C3380CC4-5D6E-409C-BE32-E72D297353CC}">
              <c16:uniqueId val="{00000000-096C-4121-9522-6AB7243CCAAE}"/>
            </c:ext>
          </c:extLst>
        </c:ser>
        <c:ser>
          <c:idx val="1"/>
          <c:order val="1"/>
          <c:tx>
            <c:strRef>
              <c:f>Sheet1!$B$10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6:$A$157</c:f>
              <c:numCache>
                <c:formatCode>General</c:formatCode>
                <c:ptCount val="52"/>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numCache>
            </c:numRef>
          </c:xVal>
          <c:yVal>
            <c:numRef>
              <c:f>Sheet1!$B$106:$B$157</c:f>
              <c:numCache>
                <c:formatCode>General</c:formatCode>
                <c:ptCount val="52"/>
                <c:pt idx="0">
                  <c:v>3.3379430772150658E-2</c:v>
                </c:pt>
                <c:pt idx="1">
                  <c:v>3.5297770608354727E-2</c:v>
                </c:pt>
                <c:pt idx="2">
                  <c:v>3.603152077608085E-2</c:v>
                </c:pt>
                <c:pt idx="3">
                  <c:v>3.0978674639028671E-2</c:v>
                </c:pt>
                <c:pt idx="4">
                  <c:v>2.8133515753956471E-2</c:v>
                </c:pt>
                <c:pt idx="5">
                  <c:v>2.7512069607189622E-2</c:v>
                </c:pt>
                <c:pt idx="6">
                  <c:v>2.753590860107619E-2</c:v>
                </c:pt>
                <c:pt idx="7">
                  <c:v>2.7306049137985969E-2</c:v>
                </c:pt>
                <c:pt idx="8">
                  <c:v>2.683860754587173E-2</c:v>
                </c:pt>
                <c:pt idx="9">
                  <c:v>2.8577136215520639E-2</c:v>
                </c:pt>
                <c:pt idx="10">
                  <c:v>2.9045708307140341E-2</c:v>
                </c:pt>
                <c:pt idx="11">
                  <c:v>3.0151694267354031E-2</c:v>
                </c:pt>
                <c:pt idx="12">
                  <c:v>3.1278274774940933E-2</c:v>
                </c:pt>
                <c:pt idx="13">
                  <c:v>3.2623144271831599E-2</c:v>
                </c:pt>
                <c:pt idx="14">
                  <c:v>3.2081452766552027E-2</c:v>
                </c:pt>
                <c:pt idx="15">
                  <c:v>2.8476513020004542E-2</c:v>
                </c:pt>
                <c:pt idx="16">
                  <c:v>2.889792926206242E-2</c:v>
                </c:pt>
                <c:pt idx="17">
                  <c:v>2.8572345272906731E-2</c:v>
                </c:pt>
                <c:pt idx="18">
                  <c:v>2.758215728763419E-2</c:v>
                </c:pt>
                <c:pt idx="19">
                  <c:v>2.6684207925807661E-2</c:v>
                </c:pt>
                <c:pt idx="20">
                  <c:v>2.507409816863837E-2</c:v>
                </c:pt>
                <c:pt idx="21">
                  <c:v>3.7053775555914388E-2</c:v>
                </c:pt>
                <c:pt idx="22">
                  <c:v>4.1201839145334811E-2</c:v>
                </c:pt>
                <c:pt idx="23">
                  <c:v>3.952108516249337E-2</c:v>
                </c:pt>
                <c:pt idx="24">
                  <c:v>3.301132678213544E-2</c:v>
                </c:pt>
                <c:pt idx="25">
                  <c:v>3.4672282379825628E-2</c:v>
                </c:pt>
                <c:pt idx="26">
                  <c:v>3.6478521099227869E-2</c:v>
                </c:pt>
                <c:pt idx="27">
                  <c:v>3.1719960612283417E-2</c:v>
                </c:pt>
                <c:pt idx="28">
                  <c:v>2.9844699099281859E-2</c:v>
                </c:pt>
                <c:pt idx="29">
                  <c:v>2.824703792935155E-2</c:v>
                </c:pt>
                <c:pt idx="30">
                  <c:v>2.3926861689124789E-2</c:v>
                </c:pt>
                <c:pt idx="31">
                  <c:v>2.077067140814904E-2</c:v>
                </c:pt>
                <c:pt idx="32">
                  <c:v>2.3460558709885782E-2</c:v>
                </c:pt>
                <c:pt idx="33">
                  <c:v>3.042796286207031E-2</c:v>
                </c:pt>
                <c:pt idx="34">
                  <c:v>3.1037706913624011E-2</c:v>
                </c:pt>
                <c:pt idx="35">
                  <c:v>2.928997264422914E-2</c:v>
                </c:pt>
                <c:pt idx="36">
                  <c:v>2.9697936908540851E-2</c:v>
                </c:pt>
                <c:pt idx="37">
                  <c:v>3.0248130900335801E-2</c:v>
                </c:pt>
                <c:pt idx="38">
                  <c:v>3.5070387750061743E-2</c:v>
                </c:pt>
                <c:pt idx="39">
                  <c:v>3.120833777020552E-2</c:v>
                </c:pt>
                <c:pt idx="40">
                  <c:v>2.682679016675503E-2</c:v>
                </c:pt>
                <c:pt idx="41">
                  <c:v>2.4203784771293649E-2</c:v>
                </c:pt>
                <c:pt idx="42">
                  <c:v>2.4098053977022381E-2</c:v>
                </c:pt>
                <c:pt idx="43">
                  <c:v>2.4523754132153151E-2</c:v>
                </c:pt>
                <c:pt idx="44">
                  <c:v>2.2379504666963371E-2</c:v>
                </c:pt>
                <c:pt idx="45">
                  <c:v>2.104065524243157E-2</c:v>
                </c:pt>
                <c:pt idx="46">
                  <c:v>2.202824012890214E-2</c:v>
                </c:pt>
                <c:pt idx="47">
                  <c:v>2.3321641522021069E-2</c:v>
                </c:pt>
                <c:pt idx="48">
                  <c:v>2.5721900660138009E-2</c:v>
                </c:pt>
                <c:pt idx="49">
                  <c:v>2.4967370312040962E-2</c:v>
                </c:pt>
                <c:pt idx="50">
                  <c:v>2.603335979145837E-2</c:v>
                </c:pt>
                <c:pt idx="51">
                  <c:v>2.5702227757022279E-2</c:v>
                </c:pt>
              </c:numCache>
            </c:numRef>
          </c:yVal>
          <c:smooth val="0"/>
          <c:extLst>
            <c:ext xmlns:c16="http://schemas.microsoft.com/office/drawing/2014/chart" uri="{C3380CC4-5D6E-409C-BE32-E72D297353CC}">
              <c16:uniqueId val="{00000002-096C-4121-9522-6AB7243CCAAE}"/>
            </c:ext>
          </c:extLst>
        </c:ser>
        <c:ser>
          <c:idx val="2"/>
          <c:order val="2"/>
          <c:tx>
            <c:strRef>
              <c:f>Sheet1!$B$15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0:$A$161</c:f>
              <c:numCache>
                <c:formatCode>General</c:formatCode>
                <c:ptCount val="2"/>
                <c:pt idx="0">
                  <c:v>0</c:v>
                </c:pt>
                <c:pt idx="1">
                  <c:v>0.1108820277239114</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5-096C-4121-9522-6AB7243CCAAE}"/>
            </c:ext>
          </c:extLst>
        </c:ser>
        <c:ser>
          <c:idx val="3"/>
          <c:order val="3"/>
          <c:tx>
            <c:strRef>
              <c:f>Sheet1!$B$16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0.1108820277239114</c:v>
                </c:pt>
                <c:pt idx="1">
                  <c:v>0.1108820277239114</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8:$A$169</c:f>
              <c:numCache>
                <c:formatCode>General</c:formatCode>
                <c:ptCount val="2"/>
                <c:pt idx="0">
                  <c:v>0</c:v>
                </c:pt>
                <c:pt idx="1">
                  <c:v>0.11732114474802791</c:v>
                </c:pt>
              </c:numCache>
            </c:numRef>
          </c:xVal>
          <c:yVal>
            <c:numRef>
              <c:f>Sheet1!$B$168:$B$169</c:f>
              <c:numCache>
                <c:formatCode>General</c:formatCode>
                <c:ptCount val="2"/>
                <c:pt idx="0">
                  <c:v>3.1101577984060609E-2</c:v>
                </c:pt>
                <c:pt idx="1">
                  <c:v>3.1101577984060609E-2</c:v>
                </c:pt>
              </c:numCache>
            </c:numRef>
          </c:yVal>
          <c:smooth val="0"/>
          <c:extLst>
            <c:ext xmlns:c16="http://schemas.microsoft.com/office/drawing/2014/chart" uri="{C3380CC4-5D6E-409C-BE32-E72D297353CC}">
              <c16:uniqueId val="{0000000D-096C-4121-9522-6AB7243CCAAE}"/>
            </c:ext>
          </c:extLst>
        </c:ser>
        <c:ser>
          <c:idx val="5"/>
          <c:order val="5"/>
          <c:tx>
            <c:strRef>
              <c:f>Sheet1!$B$17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0.11732114474802791</c:v>
                </c:pt>
                <c:pt idx="1">
                  <c:v>0.11732114474802791</c:v>
                </c:pt>
              </c:numCache>
            </c:numRef>
          </c:xVal>
          <c:yVal>
            <c:numRef>
              <c:f>Sheet1!$B$172:$B$173</c:f>
              <c:numCache>
                <c:formatCode>General</c:formatCode>
                <c:ptCount val="2"/>
                <c:pt idx="0">
                  <c:v>3.1101577984060609E-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6:$A$177</c:f>
              <c:numCache>
                <c:formatCode>General</c:formatCode>
                <c:ptCount val="2"/>
                <c:pt idx="0">
                  <c:v>0</c:v>
                </c:pt>
                <c:pt idx="1">
                  <c:v>0.13512234665834599</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5-096C-4121-9522-6AB7243CCAAE}"/>
            </c:ext>
          </c:extLst>
        </c:ser>
        <c:ser>
          <c:idx val="7"/>
          <c:order val="7"/>
          <c:tx>
            <c:strRef>
              <c:f>Sheet1!$B$17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0:$A$181</c:f>
              <c:numCache>
                <c:formatCode>General</c:formatCode>
                <c:ptCount val="2"/>
                <c:pt idx="0">
                  <c:v>0.13512234665834599</c:v>
                </c:pt>
                <c:pt idx="1">
                  <c:v>0.13512234665834599</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4:$A$238</c:f>
              <c:numCache>
                <c:formatCode>General</c:formatCode>
                <c:ptCount val="55"/>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pt idx="52">
                  <c:v>0.11732114474802791</c:v>
                </c:pt>
                <c:pt idx="53">
                  <c:v>0.1108820277239114</c:v>
                </c:pt>
                <c:pt idx="54">
                  <c:v>0.13512234665834599</c:v>
                </c:pt>
              </c:numCache>
            </c:numRef>
          </c:xVal>
          <c:yVal>
            <c:numRef>
              <c:f>Sheet1!$B$184:$B$238</c:f>
              <c:numCache>
                <c:formatCode>General</c:formatCode>
                <c:ptCount val="55"/>
                <c:pt idx="0">
                  <c:v>3.1620668745252142E-2</c:v>
                </c:pt>
                <c:pt idx="1">
                  <c:v>3.1654790245678951E-2</c:v>
                </c:pt>
                <c:pt idx="2">
                  <c:v>3.2783325344754151E-2</c:v>
                </c:pt>
                <c:pt idx="3">
                  <c:v>3.022688607526958E-2</c:v>
                </c:pt>
                <c:pt idx="4">
                  <c:v>2.8540776744242852E-2</c:v>
                </c:pt>
                <c:pt idx="5">
                  <c:v>2.8198639317480349E-2</c:v>
                </c:pt>
                <c:pt idx="6">
                  <c:v>2.8149354774764782E-2</c:v>
                </c:pt>
                <c:pt idx="7">
                  <c:v>2.8199004366077019E-2</c:v>
                </c:pt>
                <c:pt idx="8">
                  <c:v>3.0157282303857849E-2</c:v>
                </c:pt>
                <c:pt idx="9">
                  <c:v>2.9717490317624731E-2</c:v>
                </c:pt>
                <c:pt idx="10">
                  <c:v>2.880162617160174E-2</c:v>
                </c:pt>
                <c:pt idx="11">
                  <c:v>3.0799476543192809E-2</c:v>
                </c:pt>
                <c:pt idx="12">
                  <c:v>2.8080121278043681E-2</c:v>
                </c:pt>
                <c:pt idx="13">
                  <c:v>2.8247092051713919E-2</c:v>
                </c:pt>
                <c:pt idx="14">
                  <c:v>2.639540124703324E-2</c:v>
                </c:pt>
                <c:pt idx="15">
                  <c:v>1.9220157910636009E-2</c:v>
                </c:pt>
                <c:pt idx="16">
                  <c:v>2.9292926757015069E-2</c:v>
                </c:pt>
                <c:pt idx="17">
                  <c:v>2.9541107656935999E-2</c:v>
                </c:pt>
                <c:pt idx="18">
                  <c:v>3.1154431279754719E-2</c:v>
                </c:pt>
                <c:pt idx="19">
                  <c:v>2.9461129531890291E-2</c:v>
                </c:pt>
                <c:pt idx="20">
                  <c:v>3.0313783713891131E-2</c:v>
                </c:pt>
                <c:pt idx="21">
                  <c:v>3.3508822667282862E-2</c:v>
                </c:pt>
                <c:pt idx="22">
                  <c:v>3.4739165058279807E-2</c:v>
                </c:pt>
                <c:pt idx="23">
                  <c:v>3.3561500120319547E-2</c:v>
                </c:pt>
                <c:pt idx="24">
                  <c:v>3.0961282548418428E-2</c:v>
                </c:pt>
                <c:pt idx="25">
                  <c:v>3.325613118609181E-2</c:v>
                </c:pt>
                <c:pt idx="26">
                  <c:v>3.230935798656305E-2</c:v>
                </c:pt>
                <c:pt idx="27">
                  <c:v>3.0186042242885399E-2</c:v>
                </c:pt>
                <c:pt idx="28">
                  <c:v>2.9826699740302571E-2</c:v>
                </c:pt>
                <c:pt idx="29">
                  <c:v>2.8461825588360749E-2</c:v>
                </c:pt>
                <c:pt idx="30">
                  <c:v>2.6667445839888119E-2</c:v>
                </c:pt>
                <c:pt idx="31">
                  <c:v>2.9333797528733729E-2</c:v>
                </c:pt>
                <c:pt idx="32">
                  <c:v>2.8469462201818171E-2</c:v>
                </c:pt>
                <c:pt idx="33">
                  <c:v>3.1278574864500211E-2</c:v>
                </c:pt>
                <c:pt idx="34">
                  <c:v>3.362517184260494E-2</c:v>
                </c:pt>
                <c:pt idx="35">
                  <c:v>3.1259339751075838E-2</c:v>
                </c:pt>
                <c:pt idx="36">
                  <c:v>3.2466678789921898E-2</c:v>
                </c:pt>
                <c:pt idx="37">
                  <c:v>3.336561461501103E-2</c:v>
                </c:pt>
                <c:pt idx="38">
                  <c:v>3.1897061212580187E-2</c:v>
                </c:pt>
                <c:pt idx="39">
                  <c:v>3.0591232179052279E-2</c:v>
                </c:pt>
                <c:pt idx="40">
                  <c:v>2.6490890509876141E-2</c:v>
                </c:pt>
                <c:pt idx="41">
                  <c:v>2.5005655171483909E-2</c:v>
                </c:pt>
                <c:pt idx="42">
                  <c:v>2.471524594195228E-2</c:v>
                </c:pt>
                <c:pt idx="43">
                  <c:v>2.5740688254943609E-2</c:v>
                </c:pt>
                <c:pt idx="44">
                  <c:v>2.534241769031121E-2</c:v>
                </c:pt>
                <c:pt idx="45">
                  <c:v>2.5785004878787769E-2</c:v>
                </c:pt>
                <c:pt idx="46">
                  <c:v>2.6712805427711591E-2</c:v>
                </c:pt>
                <c:pt idx="47">
                  <c:v>2.6016063432124481E-2</c:v>
                </c:pt>
                <c:pt idx="48">
                  <c:v>2.645901837190287E-2</c:v>
                </c:pt>
                <c:pt idx="49">
                  <c:v>2.253097533810856E-2</c:v>
                </c:pt>
                <c:pt idx="50">
                  <c:v>2.3407974477709061E-2</c:v>
                </c:pt>
                <c:pt idx="51">
                  <c:v>2.5267129597052979E-2</c:v>
                </c:pt>
                <c:pt idx="52">
                  <c:v>3.1101577984060599E-2</c:v>
                </c:pt>
                <c:pt idx="53">
                  <c:v>3.3390590546211449E-2</c:v>
                </c:pt>
                <c:pt idx="54">
                  <c:v>2.47735092998775E-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18089307194123574"/>
          <c:min val="7.5697543274504286E-2"/>
        </c:scaling>
        <c:delete val="0"/>
        <c:axPos val="b"/>
        <c:title>
          <c:tx>
            <c:rich>
              <a:bodyPr rot="0" spcFirstLastPara="1" vertOverflow="ellipsis" vert="horz" wrap="square" anchor="ctr" anchorCtr="1"/>
              <a:lstStyle/>
              <a:p>
                <a:pPr>
                  <a:defRPr sz="800" b="0">
                    <a:solidFill>
                      <a:srgbClr val="575555"/>
                    </a:solidFill>
                    <a:latin typeface="Nexa Bold"/>
                  </a:defRPr>
                </a:pPr>
                <a:r>
                  <a:rPr lang="en-US"/>
                  <a:t>Price Ix vs. Gillette Fusion5</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3084051742229012</c:v>
                </c:pt>
                <c:pt idx="1">
                  <c:v>0.31591786351078627</c:v>
                </c:pt>
                <c:pt idx="2">
                  <c:v>0.32058023334902946</c:v>
                </c:pt>
                <c:pt idx="3">
                  <c:v>0.31551466024025998</c:v>
                </c:pt>
                <c:pt idx="4">
                  <c:v>0.31248983133575575</c:v>
                </c:pt>
                <c:pt idx="5">
                  <c:v>0.31209899175068745</c:v>
                </c:pt>
                <c:pt idx="6">
                  <c:v>0.31243915630070307</c:v>
                </c:pt>
                <c:pt idx="7">
                  <c:v>0.3133619793471481</c:v>
                </c:pt>
                <c:pt idx="8">
                  <c:v>0.31671907756813417</c:v>
                </c:pt>
                <c:pt idx="9">
                  <c:v>0.31082322826247477</c:v>
                </c:pt>
                <c:pt idx="10">
                  <c:v>0.31047212859141043</c:v>
                </c:pt>
                <c:pt idx="11">
                  <c:v>0.30851195946449417</c:v>
                </c:pt>
                <c:pt idx="12">
                  <c:v>0.30743476600274672</c:v>
                </c:pt>
                <c:pt idx="13">
                  <c:v>0.30557876018361524</c:v>
                </c:pt>
                <c:pt idx="14">
                  <c:v>0.30608180521683359</c:v>
                </c:pt>
                <c:pt idx="15">
                  <c:v>0.30537959003209308</c:v>
                </c:pt>
                <c:pt idx="16">
                  <c:v>0.30479028449342177</c:v>
                </c:pt>
                <c:pt idx="17">
                  <c:v>0.30535697989231286</c:v>
                </c:pt>
                <c:pt idx="18">
                  <c:v>0.30758733419811496</c:v>
                </c:pt>
                <c:pt idx="19">
                  <c:v>0.30384356418742708</c:v>
                </c:pt>
                <c:pt idx="20">
                  <c:v>0.30255871389344829</c:v>
                </c:pt>
                <c:pt idx="21">
                  <c:v>0.30131492720175512</c:v>
                </c:pt>
                <c:pt idx="22">
                  <c:v>0.30402402402402401</c:v>
                </c:pt>
                <c:pt idx="23">
                  <c:v>0.3041818228723267</c:v>
                </c:pt>
                <c:pt idx="24">
                  <c:v>0.30380595989557657</c:v>
                </c:pt>
                <c:pt idx="25">
                  <c:v>0.30266464709715091</c:v>
                </c:pt>
                <c:pt idx="26">
                  <c:v>0.30198090992432275</c:v>
                </c:pt>
                <c:pt idx="27">
                  <c:v>0.30261018186645428</c:v>
                </c:pt>
                <c:pt idx="28">
                  <c:v>0.30379475941413642</c:v>
                </c:pt>
                <c:pt idx="29">
                  <c:v>0.30510575091808745</c:v>
                </c:pt>
                <c:pt idx="30">
                  <c:v>0.30547263681592041</c:v>
                </c:pt>
                <c:pt idx="31">
                  <c:v>0.30191808942530629</c:v>
                </c:pt>
                <c:pt idx="32">
                  <c:v>0.30004016835781272</c:v>
                </c:pt>
                <c:pt idx="33">
                  <c:v>0.30140260803244229</c:v>
                </c:pt>
                <c:pt idx="34">
                  <c:v>0.30315931183998879</c:v>
                </c:pt>
                <c:pt idx="35">
                  <c:v>0.30423707530585153</c:v>
                </c:pt>
                <c:pt idx="36">
                  <c:v>0.30339368848493503</c:v>
                </c:pt>
                <c:pt idx="37">
                  <c:v>0.30312142377964563</c:v>
                </c:pt>
                <c:pt idx="38">
                  <c:v>0.30421477922015827</c:v>
                </c:pt>
                <c:pt idx="39">
                  <c:v>0.30360700245050509</c:v>
                </c:pt>
                <c:pt idx="40">
                  <c:v>0.30482776067799466</c:v>
                </c:pt>
                <c:pt idx="41">
                  <c:v>0.30496561046396053</c:v>
                </c:pt>
                <c:pt idx="42">
                  <c:v>0.30474260101509459</c:v>
                </c:pt>
                <c:pt idx="43">
                  <c:v>0.30487658997567685</c:v>
                </c:pt>
                <c:pt idx="44">
                  <c:v>0.30417377406912238</c:v>
                </c:pt>
                <c:pt idx="45">
                  <c:v>0.30429474182711519</c:v>
                </c:pt>
                <c:pt idx="46">
                  <c:v>0.30416987037597953</c:v>
                </c:pt>
                <c:pt idx="47">
                  <c:v>0.30177142857142858</c:v>
                </c:pt>
                <c:pt idx="48">
                  <c:v>0.30034428178139644</c:v>
                </c:pt>
                <c:pt idx="49">
                  <c:v>0.30020553910468561</c:v>
                </c:pt>
                <c:pt idx="50">
                  <c:v>0.30020393921120919</c:v>
                </c:pt>
                <c:pt idx="51">
                  <c:v>0.30029572161037082</c:v>
                </c:pt>
                <c:pt idx="52">
                  <c:v>0.30085731375024921</c:v>
                </c:pt>
                <c:pt idx="53">
                  <c:v>0.30374794069192751</c:v>
                </c:pt>
                <c:pt idx="54">
                  <c:v>0.30475569923731716</c:v>
                </c:pt>
                <c:pt idx="55">
                  <c:v>0.30484411191281596</c:v>
                </c:pt>
                <c:pt idx="56">
                  <c:v>0.29666067320451317</c:v>
                </c:pt>
                <c:pt idx="57">
                  <c:v>0.25400835544515327</c:v>
                </c:pt>
                <c:pt idx="58">
                  <c:v>0.23382400369980466</c:v>
                </c:pt>
                <c:pt idx="59">
                  <c:v>0.23943026116791946</c:v>
                </c:pt>
                <c:pt idx="60">
                  <c:v>0.25369491863085675</c:v>
                </c:pt>
                <c:pt idx="61">
                  <c:v>0.26335839430757868</c:v>
                </c:pt>
                <c:pt idx="62">
                  <c:v>0.24811366501794199</c:v>
                </c:pt>
                <c:pt idx="63">
                  <c:v>0.25331883600138116</c:v>
                </c:pt>
                <c:pt idx="64">
                  <c:v>0.27606841827999473</c:v>
                </c:pt>
                <c:pt idx="65">
                  <c:v>0.28160478817918266</c:v>
                </c:pt>
                <c:pt idx="66">
                  <c:v>0.29229782021117312</c:v>
                </c:pt>
                <c:pt idx="67">
                  <c:v>0.30127414335954045</c:v>
                </c:pt>
                <c:pt idx="68">
                  <c:v>0.30305886879569066</c:v>
                </c:pt>
                <c:pt idx="69">
                  <c:v>0.30492991022208221</c:v>
                </c:pt>
                <c:pt idx="70">
                  <c:v>0.30628978911194849</c:v>
                </c:pt>
                <c:pt idx="71">
                  <c:v>0.30507690665654685</c:v>
                </c:pt>
                <c:pt idx="72">
                  <c:v>0.30607670596048481</c:v>
                </c:pt>
                <c:pt idx="73">
                  <c:v>0.3116373241246056</c:v>
                </c:pt>
                <c:pt idx="74">
                  <c:v>0.31424842998124136</c:v>
                </c:pt>
                <c:pt idx="75">
                  <c:v>0.31320176754871626</c:v>
                </c:pt>
                <c:pt idx="76">
                  <c:v>0.31380953870863448</c:v>
                </c:pt>
                <c:pt idx="77">
                  <c:v>0.32590348409435188</c:v>
                </c:pt>
                <c:pt idx="78">
                  <c:v>0.33061711871301291</c:v>
                </c:pt>
                <c:pt idx="79">
                  <c:v>0.33376024237416513</c:v>
                </c:pt>
                <c:pt idx="80">
                  <c:v>0.334863282523373</c:v>
                </c:pt>
                <c:pt idx="81">
                  <c:v>0.33732775797715603</c:v>
                </c:pt>
                <c:pt idx="82">
                  <c:v>0.3340239432262419</c:v>
                </c:pt>
                <c:pt idx="83">
                  <c:v>0.32813911724353323</c:v>
                </c:pt>
                <c:pt idx="84">
                  <c:v>0.32451377453380215</c:v>
                </c:pt>
                <c:pt idx="85">
                  <c:v>0.3242920313313794</c:v>
                </c:pt>
                <c:pt idx="86">
                  <c:v>0.32834757834757833</c:v>
                </c:pt>
                <c:pt idx="87">
                  <c:v>0.33024565689467972</c:v>
                </c:pt>
                <c:pt idx="88">
                  <c:v>0.33047076978575868</c:v>
                </c:pt>
                <c:pt idx="89">
                  <c:v>0.32960364974033468</c:v>
                </c:pt>
                <c:pt idx="90">
                  <c:v>0.32877782475231143</c:v>
                </c:pt>
                <c:pt idx="91">
                  <c:v>0.33265505668454848</c:v>
                </c:pt>
                <c:pt idx="92">
                  <c:v>0.33383080669232584</c:v>
                </c:pt>
                <c:pt idx="93">
                  <c:v>0.33445095599479496</c:v>
                </c:pt>
                <c:pt idx="94">
                  <c:v>0.33425385899470356</c:v>
                </c:pt>
                <c:pt idx="95">
                  <c:v>0.33302358553829059</c:v>
                </c:pt>
                <c:pt idx="96">
                  <c:v>0.3331230702831911</c:v>
                </c:pt>
                <c:pt idx="97">
                  <c:v>0.33248279672509923</c:v>
                </c:pt>
                <c:pt idx="98">
                  <c:v>0.33184443040565192</c:v>
                </c:pt>
                <c:pt idx="99">
                  <c:v>0.31234357273380736</c:v>
                </c:pt>
                <c:pt idx="100">
                  <c:v>0.30123106937136429</c:v>
                </c:pt>
                <c:pt idx="101">
                  <c:v>0.30056872662328632</c:v>
                </c:pt>
              </c:numCache>
            </c:numRef>
          </c:xVal>
          <c:yVal>
            <c:numRef>
              <c:f>Sheet1!$B$2:$B$103</c:f>
              <c:numCache>
                <c:formatCode>General</c:formatCode>
                <c:ptCount val="102"/>
                <c:pt idx="0">
                  <c:v>3.1549194168607006E-2</c:v>
                </c:pt>
                <c:pt idx="1">
                  <c:v>2.5925076493376501E-2</c:v>
                </c:pt>
                <c:pt idx="2">
                  <c:v>1.9457371147598559E-2</c:v>
                </c:pt>
                <c:pt idx="3">
                  <c:v>2.1005226955186754E-2</c:v>
                </c:pt>
                <c:pt idx="4">
                  <c:v>2.3683174888924508E-2</c:v>
                </c:pt>
                <c:pt idx="5">
                  <c:v>2.4814911692122233E-2</c:v>
                </c:pt>
                <c:pt idx="6">
                  <c:v>2.2966901329024649E-2</c:v>
                </c:pt>
                <c:pt idx="7">
                  <c:v>2.1693356757167159E-2</c:v>
                </c:pt>
                <c:pt idx="8">
                  <c:v>2.508474647577718E-2</c:v>
                </c:pt>
                <c:pt idx="9">
                  <c:v>3.2219360006132694E-2</c:v>
                </c:pt>
                <c:pt idx="10">
                  <c:v>3.3455366889535383E-2</c:v>
                </c:pt>
                <c:pt idx="11">
                  <c:v>3.0774205038558523E-2</c:v>
                </c:pt>
                <c:pt idx="12">
                  <c:v>3.166311843777065E-2</c:v>
                </c:pt>
                <c:pt idx="13">
                  <c:v>2.9573633835338665E-2</c:v>
                </c:pt>
                <c:pt idx="14">
                  <c:v>2.9438294749618857E-2</c:v>
                </c:pt>
                <c:pt idx="15">
                  <c:v>3.2326555355538883E-2</c:v>
                </c:pt>
                <c:pt idx="16">
                  <c:v>3.0454183212358377E-2</c:v>
                </c:pt>
                <c:pt idx="17">
                  <c:v>3.0177244147381318E-2</c:v>
                </c:pt>
                <c:pt idx="18">
                  <c:v>3.0949579617420526E-2</c:v>
                </c:pt>
                <c:pt idx="19">
                  <c:v>3.3044676701229417E-2</c:v>
                </c:pt>
                <c:pt idx="20">
                  <c:v>3.4502368865567047E-2</c:v>
                </c:pt>
                <c:pt idx="21">
                  <c:v>3.8171203781773647E-2</c:v>
                </c:pt>
                <c:pt idx="22">
                  <c:v>3.2633840746857157E-2</c:v>
                </c:pt>
                <c:pt idx="23">
                  <c:v>3.22851825867847E-2</c:v>
                </c:pt>
                <c:pt idx="24">
                  <c:v>3.4293774474369265E-2</c:v>
                </c:pt>
                <c:pt idx="25">
                  <c:v>3.3493331489235549E-2</c:v>
                </c:pt>
                <c:pt idx="26">
                  <c:v>3.2256296982208908E-2</c:v>
                </c:pt>
                <c:pt idx="27">
                  <c:v>3.256327154323236E-2</c:v>
                </c:pt>
                <c:pt idx="28">
                  <c:v>3.0215972855570965E-2</c:v>
                </c:pt>
                <c:pt idx="29">
                  <c:v>2.971323515475446E-2</c:v>
                </c:pt>
                <c:pt idx="30">
                  <c:v>2.9886044202056927E-2</c:v>
                </c:pt>
                <c:pt idx="31">
                  <c:v>3.0113049153545669E-2</c:v>
                </c:pt>
                <c:pt idx="32">
                  <c:v>3.0121682992946059E-2</c:v>
                </c:pt>
                <c:pt idx="33">
                  <c:v>2.8704102443482309E-2</c:v>
                </c:pt>
                <c:pt idx="34">
                  <c:v>3.0602403901330309E-2</c:v>
                </c:pt>
                <c:pt idx="35">
                  <c:v>3.1456536502498786E-2</c:v>
                </c:pt>
                <c:pt idx="36">
                  <c:v>3.1516667937295108E-2</c:v>
                </c:pt>
                <c:pt idx="37">
                  <c:v>3.3226585884057164E-2</c:v>
                </c:pt>
                <c:pt idx="38">
                  <c:v>3.3016326225624587E-2</c:v>
                </c:pt>
                <c:pt idx="39">
                  <c:v>3.0075909553288729E-2</c:v>
                </c:pt>
                <c:pt idx="40">
                  <c:v>3.0308227143147046E-2</c:v>
                </c:pt>
                <c:pt idx="41">
                  <c:v>3.1273537834975489E-2</c:v>
                </c:pt>
                <c:pt idx="42">
                  <c:v>3.0059016900147784E-2</c:v>
                </c:pt>
                <c:pt idx="43">
                  <c:v>3.0573863083611635E-2</c:v>
                </c:pt>
                <c:pt idx="44">
                  <c:v>3.254448153409624E-2</c:v>
                </c:pt>
                <c:pt idx="45">
                  <c:v>3.2420025270644671E-2</c:v>
                </c:pt>
                <c:pt idx="46">
                  <c:v>3.0841270586476857E-2</c:v>
                </c:pt>
                <c:pt idx="47">
                  <c:v>3.4545476528939606E-2</c:v>
                </c:pt>
                <c:pt idx="48">
                  <c:v>3.9378011399146942E-2</c:v>
                </c:pt>
                <c:pt idx="49">
                  <c:v>3.4585845792310457E-2</c:v>
                </c:pt>
                <c:pt idx="50">
                  <c:v>3.6889295123608744E-2</c:v>
                </c:pt>
                <c:pt idx="51">
                  <c:v>3.516974061970235E-2</c:v>
                </c:pt>
                <c:pt idx="52">
                  <c:v>3.3440411726256954E-2</c:v>
                </c:pt>
                <c:pt idx="53">
                  <c:v>3.0775515895011849E-2</c:v>
                </c:pt>
                <c:pt idx="54">
                  <c:v>2.856172806220978E-2</c:v>
                </c:pt>
                <c:pt idx="55">
                  <c:v>2.9260191711765828E-2</c:v>
                </c:pt>
                <c:pt idx="56">
                  <c:v>3.1178692703543048E-2</c:v>
                </c:pt>
                <c:pt idx="57">
                  <c:v>3.7031471681131703E-2</c:v>
                </c:pt>
                <c:pt idx="58">
                  <c:v>3.9909501581123753E-2</c:v>
                </c:pt>
                <c:pt idx="59">
                  <c:v>3.3090443177845791E-2</c:v>
                </c:pt>
                <c:pt idx="60">
                  <c:v>2.0429936026239697E-2</c:v>
                </c:pt>
                <c:pt idx="61">
                  <c:v>1.5942339180034886E-2</c:v>
                </c:pt>
                <c:pt idx="62">
                  <c:v>2.6561543645322632E-2</c:v>
                </c:pt>
                <c:pt idx="63">
                  <c:v>3.5068893654044385E-2</c:v>
                </c:pt>
                <c:pt idx="64">
                  <c:v>3.0967228847484717E-2</c:v>
                </c:pt>
                <c:pt idx="65">
                  <c:v>2.6027056162994167E-2</c:v>
                </c:pt>
                <c:pt idx="66">
                  <c:v>2.5871503741223587E-2</c:v>
                </c:pt>
                <c:pt idx="67">
                  <c:v>2.691260699372984E-2</c:v>
                </c:pt>
                <c:pt idx="68">
                  <c:v>2.5874418970458959E-2</c:v>
                </c:pt>
                <c:pt idx="69">
                  <c:v>2.3193315376484971E-2</c:v>
                </c:pt>
                <c:pt idx="70">
                  <c:v>2.2686657383630057E-2</c:v>
                </c:pt>
                <c:pt idx="71">
                  <c:v>2.6189284143623485E-2</c:v>
                </c:pt>
                <c:pt idx="72">
                  <c:v>2.7336338114147821E-2</c:v>
                </c:pt>
                <c:pt idx="73">
                  <c:v>2.7740990571672709E-2</c:v>
                </c:pt>
                <c:pt idx="74">
                  <c:v>2.8775273119844166E-2</c:v>
                </c:pt>
                <c:pt idx="75">
                  <c:v>2.8510329318482425E-2</c:v>
                </c:pt>
                <c:pt idx="76">
                  <c:v>2.7909474603405617E-2</c:v>
                </c:pt>
                <c:pt idx="77">
                  <c:v>2.354699792786898E-2</c:v>
                </c:pt>
                <c:pt idx="78">
                  <c:v>2.3516397046911525E-2</c:v>
                </c:pt>
                <c:pt idx="79">
                  <c:v>2.2115174941799768E-2</c:v>
                </c:pt>
                <c:pt idx="80">
                  <c:v>2.2268202762568419E-2</c:v>
                </c:pt>
                <c:pt idx="81">
                  <c:v>2.1244426266941792E-2</c:v>
                </c:pt>
                <c:pt idx="82">
                  <c:v>3.1177386289303839E-2</c:v>
                </c:pt>
                <c:pt idx="83">
                  <c:v>2.6306476866990773E-2</c:v>
                </c:pt>
                <c:pt idx="84">
                  <c:v>2.5524833007679375E-2</c:v>
                </c:pt>
                <c:pt idx="85">
                  <c:v>2.6871534411513368E-2</c:v>
                </c:pt>
                <c:pt idx="86">
                  <c:v>2.6338851413823878E-2</c:v>
                </c:pt>
                <c:pt idx="87">
                  <c:v>2.4648701089615546E-2</c:v>
                </c:pt>
                <c:pt idx="88">
                  <c:v>2.6238033764437702E-2</c:v>
                </c:pt>
                <c:pt idx="89">
                  <c:v>3.0191859532939729E-2</c:v>
                </c:pt>
                <c:pt idx="90">
                  <c:v>3.0716851696320817E-2</c:v>
                </c:pt>
                <c:pt idx="91">
                  <c:v>3.1790352756617284E-2</c:v>
                </c:pt>
                <c:pt idx="92">
                  <c:v>2.9789485452214992E-2</c:v>
                </c:pt>
                <c:pt idx="93">
                  <c:v>2.7419432969366012E-2</c:v>
                </c:pt>
                <c:pt idx="94">
                  <c:v>2.5375304588112154E-2</c:v>
                </c:pt>
                <c:pt idx="95">
                  <c:v>2.7271435244645044E-2</c:v>
                </c:pt>
                <c:pt idx="96">
                  <c:v>2.4300725205733124E-2</c:v>
                </c:pt>
                <c:pt idx="97">
                  <c:v>2.5953063658202231E-2</c:v>
                </c:pt>
                <c:pt idx="98">
                  <c:v>2.870484051773789E-2</c:v>
                </c:pt>
                <c:pt idx="99">
                  <c:v>3.0161179689259059E-2</c:v>
                </c:pt>
                <c:pt idx="100">
                  <c:v>3.7558407981539428E-2</c:v>
                </c:pt>
                <c:pt idx="101">
                  <c:v>3.5796970668813106E-2</c:v>
                </c:pt>
              </c:numCache>
            </c:numRef>
          </c:yVal>
          <c:smooth val="0"/>
          <c:extLst>
            <c:ext xmlns:c16="http://schemas.microsoft.com/office/drawing/2014/chart" uri="{C3380CC4-5D6E-409C-BE32-E72D297353CC}">
              <c16:uniqueId val="{00000000-F32D-48B7-BC20-E66FC6253BAD}"/>
            </c:ext>
          </c:extLst>
        </c:ser>
        <c:ser>
          <c:idx val="1"/>
          <c:order val="1"/>
          <c:tx>
            <c:strRef>
              <c:f>Sheet1!$B$10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6:$A$157</c:f>
              <c:numCache>
                <c:formatCode>General</c:formatCode>
                <c:ptCount val="52"/>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numCache>
            </c:numRef>
          </c:xVal>
          <c:yVal>
            <c:numRef>
              <c:f>Sheet1!$B$106:$B$157</c:f>
              <c:numCache>
                <c:formatCode>General</c:formatCode>
                <c:ptCount val="52"/>
                <c:pt idx="0">
                  <c:v>3.3379430772150658E-2</c:v>
                </c:pt>
                <c:pt idx="1">
                  <c:v>3.5297770608354727E-2</c:v>
                </c:pt>
                <c:pt idx="2">
                  <c:v>3.603152077608085E-2</c:v>
                </c:pt>
                <c:pt idx="3">
                  <c:v>3.0978674639028675E-2</c:v>
                </c:pt>
                <c:pt idx="4">
                  <c:v>2.8133515753956471E-2</c:v>
                </c:pt>
                <c:pt idx="5">
                  <c:v>2.7512069607189618E-2</c:v>
                </c:pt>
                <c:pt idx="6">
                  <c:v>2.7535908601076187E-2</c:v>
                </c:pt>
                <c:pt idx="7">
                  <c:v>2.7306049137985969E-2</c:v>
                </c:pt>
                <c:pt idx="8">
                  <c:v>2.6838607545871734E-2</c:v>
                </c:pt>
                <c:pt idx="9">
                  <c:v>2.8577136215520643E-2</c:v>
                </c:pt>
                <c:pt idx="10">
                  <c:v>2.9045708307140341E-2</c:v>
                </c:pt>
                <c:pt idx="11">
                  <c:v>3.0151694267354034E-2</c:v>
                </c:pt>
                <c:pt idx="12">
                  <c:v>3.1278274774940926E-2</c:v>
                </c:pt>
                <c:pt idx="13">
                  <c:v>3.2623144271831599E-2</c:v>
                </c:pt>
                <c:pt idx="14">
                  <c:v>3.2081452766552027E-2</c:v>
                </c:pt>
                <c:pt idx="15">
                  <c:v>2.8476513020004538E-2</c:v>
                </c:pt>
                <c:pt idx="16">
                  <c:v>2.8897929262062423E-2</c:v>
                </c:pt>
                <c:pt idx="17">
                  <c:v>2.8572345272906727E-2</c:v>
                </c:pt>
                <c:pt idx="18">
                  <c:v>2.7582157287634194E-2</c:v>
                </c:pt>
                <c:pt idx="19">
                  <c:v>2.6684207925807661E-2</c:v>
                </c:pt>
                <c:pt idx="20">
                  <c:v>2.5074098168638374E-2</c:v>
                </c:pt>
                <c:pt idx="21">
                  <c:v>3.7053775555914395E-2</c:v>
                </c:pt>
                <c:pt idx="22">
                  <c:v>4.1201839145334811E-2</c:v>
                </c:pt>
                <c:pt idx="23">
                  <c:v>3.952108516249337E-2</c:v>
                </c:pt>
                <c:pt idx="24">
                  <c:v>3.301132678213544E-2</c:v>
                </c:pt>
                <c:pt idx="25">
                  <c:v>3.4672282379825628E-2</c:v>
                </c:pt>
                <c:pt idx="26">
                  <c:v>3.6478521099227869E-2</c:v>
                </c:pt>
                <c:pt idx="27">
                  <c:v>3.1719960612283417E-2</c:v>
                </c:pt>
                <c:pt idx="28">
                  <c:v>2.9844699099281863E-2</c:v>
                </c:pt>
                <c:pt idx="29">
                  <c:v>2.8247037929351546E-2</c:v>
                </c:pt>
                <c:pt idx="30">
                  <c:v>2.3926861689124793E-2</c:v>
                </c:pt>
                <c:pt idx="31">
                  <c:v>2.0770671408149036E-2</c:v>
                </c:pt>
                <c:pt idx="32">
                  <c:v>2.3460558709885785E-2</c:v>
                </c:pt>
                <c:pt idx="33">
                  <c:v>3.0427962862070307E-2</c:v>
                </c:pt>
                <c:pt idx="34">
                  <c:v>3.1037706913624008E-2</c:v>
                </c:pt>
                <c:pt idx="35">
                  <c:v>2.928997264422914E-2</c:v>
                </c:pt>
                <c:pt idx="36">
                  <c:v>2.9697936908540855E-2</c:v>
                </c:pt>
                <c:pt idx="37">
                  <c:v>3.0248130900335804E-2</c:v>
                </c:pt>
                <c:pt idx="38">
                  <c:v>3.5070387750061743E-2</c:v>
                </c:pt>
                <c:pt idx="39">
                  <c:v>3.1208337770205517E-2</c:v>
                </c:pt>
                <c:pt idx="40">
                  <c:v>2.6826790166755026E-2</c:v>
                </c:pt>
                <c:pt idx="41">
                  <c:v>2.4203784771293646E-2</c:v>
                </c:pt>
                <c:pt idx="42">
                  <c:v>2.4098053977022377E-2</c:v>
                </c:pt>
                <c:pt idx="43">
                  <c:v>2.4523754132153155E-2</c:v>
                </c:pt>
                <c:pt idx="44">
                  <c:v>2.2379504666963371E-2</c:v>
                </c:pt>
                <c:pt idx="45">
                  <c:v>2.104065524243157E-2</c:v>
                </c:pt>
                <c:pt idx="46">
                  <c:v>2.2028240128902143E-2</c:v>
                </c:pt>
                <c:pt idx="47">
                  <c:v>2.3321641522021073E-2</c:v>
                </c:pt>
                <c:pt idx="48">
                  <c:v>2.5721900660138006E-2</c:v>
                </c:pt>
                <c:pt idx="49">
                  <c:v>2.4967370312040958E-2</c:v>
                </c:pt>
                <c:pt idx="50">
                  <c:v>2.6033359791458374E-2</c:v>
                </c:pt>
                <c:pt idx="51">
                  <c:v>2.5702227757022279E-2</c:v>
                </c:pt>
              </c:numCache>
            </c:numRef>
          </c:yVal>
          <c:smooth val="0"/>
          <c:extLst>
            <c:ext xmlns:c16="http://schemas.microsoft.com/office/drawing/2014/chart" uri="{C3380CC4-5D6E-409C-BE32-E72D297353CC}">
              <c16:uniqueId val="{00000002-F32D-48B7-BC20-E66FC6253BAD}"/>
            </c:ext>
          </c:extLst>
        </c:ser>
        <c:ser>
          <c:idx val="2"/>
          <c:order val="2"/>
          <c:tx>
            <c:strRef>
              <c:f>Sheet1!$B$159</c:f>
              <c:strCache>
                <c:ptCount val="1"/>
                <c:pt idx="0">
                  <c:v>Custom Linep3yQ</c:v>
                </c:pt>
              </c:strCache>
            </c:strRef>
          </c:tx>
          <c:spPr>
            <a:ln w="19050" cap="rnd">
              <a:solidFill>
                <a:srgbClr val="C00000"/>
              </a:solidFill>
              <a:prstDash val="sysDot"/>
              <a:round/>
            </a:ln>
            <a:effectLst/>
          </c:spPr>
          <c:marker>
            <c:symbol val="none"/>
          </c:marker>
          <c:xVal>
            <c:numRef>
              <c:f>Sheet1!$A$160:$A$161</c:f>
              <c:numCache>
                <c:formatCode>General</c:formatCode>
                <c:ptCount val="2"/>
                <c:pt idx="0">
                  <c:v>0</c:v>
                </c:pt>
                <c:pt idx="1">
                  <c:v>0.27575744047645689</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3-F32D-48B7-BC20-E66FC6253BAD}"/>
            </c:ext>
          </c:extLst>
        </c:ser>
        <c:ser>
          <c:idx val="3"/>
          <c:order val="3"/>
          <c:tx>
            <c:strRef>
              <c:f>Sheet1!$B$16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0.27575744047645689</c:v>
                </c:pt>
                <c:pt idx="1">
                  <c:v>0.27575744047645689</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8:$A$169</c:f>
              <c:numCache>
                <c:formatCode>General</c:formatCode>
                <c:ptCount val="2"/>
                <c:pt idx="0">
                  <c:v>0</c:v>
                </c:pt>
                <c:pt idx="1">
                  <c:v>0.28987004975079905</c:v>
                </c:pt>
              </c:numCache>
            </c:numRef>
          </c:xVal>
          <c:yVal>
            <c:numRef>
              <c:f>Sheet1!$B$168:$B$169</c:f>
              <c:numCache>
                <c:formatCode>General</c:formatCode>
                <c:ptCount val="2"/>
                <c:pt idx="0">
                  <c:v>3.1101577984060606E-2</c:v>
                </c:pt>
                <c:pt idx="1">
                  <c:v>3.1101577984060606E-2</c:v>
                </c:pt>
              </c:numCache>
            </c:numRef>
          </c:yVal>
          <c:smooth val="0"/>
          <c:extLst>
            <c:ext xmlns:c16="http://schemas.microsoft.com/office/drawing/2014/chart" uri="{C3380CC4-5D6E-409C-BE32-E72D297353CC}">
              <c16:uniqueId val="{0000000A-F32D-48B7-BC20-E66FC6253BAD}"/>
            </c:ext>
          </c:extLst>
        </c:ser>
        <c:ser>
          <c:idx val="5"/>
          <c:order val="5"/>
          <c:tx>
            <c:strRef>
              <c:f>Sheet1!$B$17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0.28987004975079905</c:v>
                </c:pt>
                <c:pt idx="1">
                  <c:v>0.28987004975079905</c:v>
                </c:pt>
              </c:numCache>
            </c:numRef>
          </c:xVal>
          <c:yVal>
            <c:numRef>
              <c:f>Sheet1!$B$172:$B$173</c:f>
              <c:numCache>
                <c:formatCode>General</c:formatCode>
                <c:ptCount val="2"/>
                <c:pt idx="0">
                  <c:v>3.1101577984060606E-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6:$A$177</c:f>
              <c:numCache>
                <c:formatCode>General</c:formatCode>
                <c:ptCount val="2"/>
                <c:pt idx="0">
                  <c:v>0</c:v>
                </c:pt>
                <c:pt idx="1">
                  <c:v>0.32888493428125432</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1-F32D-48B7-BC20-E66FC6253BAD}"/>
            </c:ext>
          </c:extLst>
        </c:ser>
        <c:ser>
          <c:idx val="7"/>
          <c:order val="7"/>
          <c:tx>
            <c:strRef>
              <c:f>Sheet1!$B$17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0:$A$181</c:f>
              <c:numCache>
                <c:formatCode>General</c:formatCode>
                <c:ptCount val="2"/>
                <c:pt idx="0">
                  <c:v>0.32888493428125432</c:v>
                </c:pt>
                <c:pt idx="1">
                  <c:v>0.32888493428125432</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4:$A$238</c:f>
              <c:numCache>
                <c:formatCode>General</c:formatCode>
                <c:ptCount val="55"/>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pt idx="52">
                  <c:v>0.28987004975079905</c:v>
                </c:pt>
                <c:pt idx="53">
                  <c:v>0.27575744047645689</c:v>
                </c:pt>
                <c:pt idx="54">
                  <c:v>0.32888493428125432</c:v>
                </c:pt>
              </c:numCache>
            </c:numRef>
          </c:xVal>
          <c:yVal>
            <c:numRef>
              <c:f>Sheet1!$B$184:$B$238</c:f>
              <c:numCache>
                <c:formatCode>General</c:formatCode>
                <c:ptCount val="55"/>
                <c:pt idx="0">
                  <c:v>2.9413873016704839E-2</c:v>
                </c:pt>
                <c:pt idx="1">
                  <c:v>2.9896344890080709E-2</c:v>
                </c:pt>
                <c:pt idx="2">
                  <c:v>3.0155656486461964E-2</c:v>
                </c:pt>
                <c:pt idx="3">
                  <c:v>2.7109900331363727E-2</c:v>
                </c:pt>
                <c:pt idx="4">
                  <c:v>2.4371775225560388E-2</c:v>
                </c:pt>
                <c:pt idx="5">
                  <c:v>2.4094268404047922E-2</c:v>
                </c:pt>
                <c:pt idx="6">
                  <c:v>2.4322183284519114E-2</c:v>
                </c:pt>
                <c:pt idx="7">
                  <c:v>2.5263903460272262E-2</c:v>
                </c:pt>
                <c:pt idx="8">
                  <c:v>2.7533717749061021E-2</c:v>
                </c:pt>
                <c:pt idx="9">
                  <c:v>2.9136059572005948E-2</c:v>
                </c:pt>
                <c:pt idx="10">
                  <c:v>2.8439725189245424E-2</c:v>
                </c:pt>
                <c:pt idx="11">
                  <c:v>2.8481575446516888E-2</c:v>
                </c:pt>
                <c:pt idx="12">
                  <c:v>3.0108594349578348E-2</c:v>
                </c:pt>
                <c:pt idx="13">
                  <c:v>3.169054387055209E-2</c:v>
                </c:pt>
                <c:pt idx="14">
                  <c:v>3.1465934595702259E-2</c:v>
                </c:pt>
                <c:pt idx="15">
                  <c:v>3.1477667841337743E-2</c:v>
                </c:pt>
                <c:pt idx="16">
                  <c:v>3.1573121681829512E-2</c:v>
                </c:pt>
                <c:pt idx="17">
                  <c:v>3.1532924296196564E-2</c:v>
                </c:pt>
                <c:pt idx="18">
                  <c:v>3.0515660900336583E-2</c:v>
                </c:pt>
                <c:pt idx="19">
                  <c:v>3.0211789143868836E-2</c:v>
                </c:pt>
                <c:pt idx="20">
                  <c:v>2.8955614795748236E-2</c:v>
                </c:pt>
                <c:pt idx="21">
                  <c:v>3.2772131418724967E-2</c:v>
                </c:pt>
                <c:pt idx="22">
                  <c:v>3.3542665870490845E-2</c:v>
                </c:pt>
                <c:pt idx="23">
                  <c:v>3.3435184307609174E-2</c:v>
                </c:pt>
                <c:pt idx="24">
                  <c:v>3.268271460365052E-2</c:v>
                </c:pt>
                <c:pt idx="25">
                  <c:v>3.3870059534782497E-2</c:v>
                </c:pt>
                <c:pt idx="26">
                  <c:v>3.3073079926514877E-2</c:v>
                </c:pt>
                <c:pt idx="27">
                  <c:v>3.1808643842456727E-2</c:v>
                </c:pt>
                <c:pt idx="28">
                  <c:v>3.0502176751221188E-2</c:v>
                </c:pt>
                <c:pt idx="29">
                  <c:v>2.7906678470255915E-2</c:v>
                </c:pt>
                <c:pt idx="30">
                  <c:v>2.5033266393526828E-2</c:v>
                </c:pt>
                <c:pt idx="31">
                  <c:v>2.630903103630991E-2</c:v>
                </c:pt>
                <c:pt idx="32">
                  <c:v>2.8693045313762239E-2</c:v>
                </c:pt>
                <c:pt idx="33">
                  <c:v>3.2596808075387743E-2</c:v>
                </c:pt>
                <c:pt idx="34">
                  <c:v>3.3462836223474769E-2</c:v>
                </c:pt>
                <c:pt idx="35">
                  <c:v>3.1780988069129081E-2</c:v>
                </c:pt>
                <c:pt idx="36">
                  <c:v>3.2997078119396075E-2</c:v>
                </c:pt>
                <c:pt idx="37">
                  <c:v>3.4241810296995578E-2</c:v>
                </c:pt>
                <c:pt idx="38">
                  <c:v>3.5259393566231922E-2</c:v>
                </c:pt>
                <c:pt idx="39">
                  <c:v>3.2524924643797831E-2</c:v>
                </c:pt>
                <c:pt idx="40">
                  <c:v>2.8308242375685959E-2</c:v>
                </c:pt>
                <c:pt idx="41">
                  <c:v>2.54404048951909E-2</c:v>
                </c:pt>
                <c:pt idx="42">
                  <c:v>2.3287513921568817E-2</c:v>
                </c:pt>
                <c:pt idx="43">
                  <c:v>2.3365554652546534E-2</c:v>
                </c:pt>
                <c:pt idx="44">
                  <c:v>2.3054756675168077E-2</c:v>
                </c:pt>
                <c:pt idx="45">
                  <c:v>2.3566114628330095E-2</c:v>
                </c:pt>
                <c:pt idx="46">
                  <c:v>2.5888630394799238E-2</c:v>
                </c:pt>
                <c:pt idx="47">
                  <c:v>2.6265547596405793E-2</c:v>
                </c:pt>
                <c:pt idx="48">
                  <c:v>2.7412822111043234E-2</c:v>
                </c:pt>
                <c:pt idx="49">
                  <c:v>2.5962622488181153E-2</c:v>
                </c:pt>
                <c:pt idx="50">
                  <c:v>2.4525712064247307E-2</c:v>
                </c:pt>
                <c:pt idx="51">
                  <c:v>2.4473274634488791E-2</c:v>
                </c:pt>
                <c:pt idx="52">
                  <c:v>3.1101577984060602E-2</c:v>
                </c:pt>
                <c:pt idx="53">
                  <c:v>3.3390590546211449E-2</c:v>
                </c:pt>
                <c:pt idx="54">
                  <c:v>2.4773509299877497E-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40737801608579088"/>
          <c:min val="0.18705920295984374"/>
        </c:scaling>
        <c:delete val="0"/>
        <c:axPos val="b"/>
        <c:title>
          <c:tx>
            <c:rich>
              <a:bodyPr rot="0" spcFirstLastPara="1" vertOverflow="ellipsis" vert="horz" wrap="square" anchor="ctr" anchorCtr="1"/>
              <a:lstStyle/>
              <a:p>
                <a:pPr>
                  <a:defRPr sz="800" b="0">
                    <a:latin typeface="Nexa Bold"/>
                  </a:defRPr>
                </a:pPr>
                <a:r>
                  <a:rPr lang="en-US"/>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1291069944164441</c:v>
                </c:pt>
                <c:pt idx="1">
                  <c:v>0.13485892486555889</c:v>
                </c:pt>
                <c:pt idx="2">
                  <c:v>0.13361697278764331</c:v>
                </c:pt>
                <c:pt idx="3">
                  <c:v>0.13181455947245191</c:v>
                </c:pt>
                <c:pt idx="4">
                  <c:v>0.13079849733141291</c:v>
                </c:pt>
                <c:pt idx="5">
                  <c:v>0.12786527339341361</c:v>
                </c:pt>
                <c:pt idx="6">
                  <c:v>0.13389772495720559</c:v>
                </c:pt>
                <c:pt idx="7">
                  <c:v>0.1359519354250221</c:v>
                </c:pt>
                <c:pt idx="8">
                  <c:v>0.13408395448492219</c:v>
                </c:pt>
                <c:pt idx="9">
                  <c:v>0.1272173036352085</c:v>
                </c:pt>
                <c:pt idx="10">
                  <c:v>0.12580154817273331</c:v>
                </c:pt>
                <c:pt idx="11">
                  <c:v>0.1247833670603628</c:v>
                </c:pt>
                <c:pt idx="12">
                  <c:v>0.12616612542700109</c:v>
                </c:pt>
                <c:pt idx="13">
                  <c:v>0.13426073846412021</c:v>
                </c:pt>
                <c:pt idx="14">
                  <c:v>0.13040345544745011</c:v>
                </c:pt>
                <c:pt idx="15">
                  <c:v>0.12568196098787579</c:v>
                </c:pt>
                <c:pt idx="16">
                  <c:v>0.1284543866213313</c:v>
                </c:pt>
                <c:pt idx="17">
                  <c:v>0.13252000199740169</c:v>
                </c:pt>
                <c:pt idx="18">
                  <c:v>0.12612196270786419</c:v>
                </c:pt>
                <c:pt idx="19">
                  <c:v>0.13496886950214251</c:v>
                </c:pt>
                <c:pt idx="20">
                  <c:v>0.13064933940560819</c:v>
                </c:pt>
                <c:pt idx="21">
                  <c:v>0.12635635491031241</c:v>
                </c:pt>
                <c:pt idx="22">
                  <c:v>0.12863609693980929</c:v>
                </c:pt>
                <c:pt idx="23">
                  <c:v>0.13116494310893009</c:v>
                </c:pt>
                <c:pt idx="24">
                  <c:v>0.1278058186678292</c:v>
                </c:pt>
                <c:pt idx="25">
                  <c:v>0.1235932293079324</c:v>
                </c:pt>
                <c:pt idx="26">
                  <c:v>0.12290934252239009</c:v>
                </c:pt>
                <c:pt idx="27">
                  <c:v>0.12109503765009599</c:v>
                </c:pt>
                <c:pt idx="28">
                  <c:v>0.12207135397276341</c:v>
                </c:pt>
                <c:pt idx="29">
                  <c:v>0.1263122981136704</c:v>
                </c:pt>
                <c:pt idx="30">
                  <c:v>0.1263263635992006</c:v>
                </c:pt>
                <c:pt idx="31">
                  <c:v>0.12476889875077329</c:v>
                </c:pt>
                <c:pt idx="32">
                  <c:v>0.12674353123399981</c:v>
                </c:pt>
                <c:pt idx="33">
                  <c:v>0.12588695742723971</c:v>
                </c:pt>
                <c:pt idx="34">
                  <c:v>0.12390000002667199</c:v>
                </c:pt>
                <c:pt idx="35">
                  <c:v>0.12440850519118039</c:v>
                </c:pt>
                <c:pt idx="36">
                  <c:v>0.12336288941275771</c:v>
                </c:pt>
                <c:pt idx="37">
                  <c:v>0.1236579395008299</c:v>
                </c:pt>
                <c:pt idx="38">
                  <c:v>0.1244360084590832</c:v>
                </c:pt>
                <c:pt idx="39">
                  <c:v>0.12224083915887329</c:v>
                </c:pt>
                <c:pt idx="40">
                  <c:v>0.1219327444047168</c:v>
                </c:pt>
                <c:pt idx="41">
                  <c:v>0.1250560323566518</c:v>
                </c:pt>
                <c:pt idx="42">
                  <c:v>0.12745512740440279</c:v>
                </c:pt>
                <c:pt idx="43">
                  <c:v>0.1211984894858895</c:v>
                </c:pt>
                <c:pt idx="44">
                  <c:v>0.1258670226690102</c:v>
                </c:pt>
                <c:pt idx="45">
                  <c:v>0.1272339848348821</c:v>
                </c:pt>
                <c:pt idx="46">
                  <c:v>0.13490346412193621</c:v>
                </c:pt>
                <c:pt idx="47">
                  <c:v>0.1232399985423943</c:v>
                </c:pt>
                <c:pt idx="48">
                  <c:v>0.12311641114157899</c:v>
                </c:pt>
                <c:pt idx="49">
                  <c:v>0.1234350759255986</c:v>
                </c:pt>
                <c:pt idx="50">
                  <c:v>0.12419744604278141</c:v>
                </c:pt>
                <c:pt idx="51">
                  <c:v>0.13145508336915421</c:v>
                </c:pt>
                <c:pt idx="52">
                  <c:v>0.13109930113357529</c:v>
                </c:pt>
                <c:pt idx="53">
                  <c:v>0.13568928560863899</c:v>
                </c:pt>
                <c:pt idx="54">
                  <c:v>0.1285210371531505</c:v>
                </c:pt>
                <c:pt idx="55">
                  <c:v>0.1300753516373136</c:v>
                </c:pt>
                <c:pt idx="56">
                  <c:v>0.12489749950473671</c:v>
                </c:pt>
                <c:pt idx="57">
                  <c:v>0.10266521645136149</c:v>
                </c:pt>
                <c:pt idx="58">
                  <c:v>9.4621929093130358E-2</c:v>
                </c:pt>
                <c:pt idx="59">
                  <c:v>9.8212612965823731E-2</c:v>
                </c:pt>
                <c:pt idx="60">
                  <c:v>0.1102654339127445</c:v>
                </c:pt>
                <c:pt idx="61">
                  <c:v>0.1086326326560431</c:v>
                </c:pt>
                <c:pt idx="62">
                  <c:v>0.10273100071317991</c:v>
                </c:pt>
                <c:pt idx="63">
                  <c:v>0.1056131313298932</c:v>
                </c:pt>
                <c:pt idx="64">
                  <c:v>0.116037952360732</c:v>
                </c:pt>
                <c:pt idx="65">
                  <c:v>0.13065683342069531</c:v>
                </c:pt>
                <c:pt idx="66">
                  <c:v>0.132712182958446</c:v>
                </c:pt>
                <c:pt idx="67">
                  <c:v>0.12498087731066</c:v>
                </c:pt>
                <c:pt idx="68">
                  <c:v>0.1318623648264734</c:v>
                </c:pt>
                <c:pt idx="69">
                  <c:v>0.13405085209231629</c:v>
                </c:pt>
                <c:pt idx="70">
                  <c:v>0.12663942767242409</c:v>
                </c:pt>
                <c:pt idx="71">
                  <c:v>0.13715997078444109</c:v>
                </c:pt>
                <c:pt idx="72">
                  <c:v>0.1312699287114284</c:v>
                </c:pt>
                <c:pt idx="73">
                  <c:v>0.1290474255800157</c:v>
                </c:pt>
                <c:pt idx="74">
                  <c:v>0.12976627424972709</c:v>
                </c:pt>
                <c:pt idx="75">
                  <c:v>0.12686829869724861</c:v>
                </c:pt>
                <c:pt idx="76">
                  <c:v>0.1253623579280761</c:v>
                </c:pt>
                <c:pt idx="77">
                  <c:v>0.12968156222074531</c:v>
                </c:pt>
                <c:pt idx="78">
                  <c:v>0.12750329032649099</c:v>
                </c:pt>
                <c:pt idx="79">
                  <c:v>0.12461050546445129</c:v>
                </c:pt>
                <c:pt idx="80">
                  <c:v>0.12900335189603049</c:v>
                </c:pt>
                <c:pt idx="81">
                  <c:v>0.12741746962889991</c:v>
                </c:pt>
                <c:pt idx="82">
                  <c:v>0.1227246355993528</c:v>
                </c:pt>
                <c:pt idx="83">
                  <c:v>0.12325497363003669</c:v>
                </c:pt>
                <c:pt idx="84">
                  <c:v>0.1237777050026681</c:v>
                </c:pt>
                <c:pt idx="85">
                  <c:v>0.1227618684932686</c:v>
                </c:pt>
                <c:pt idx="86">
                  <c:v>0.12625273778634091</c:v>
                </c:pt>
                <c:pt idx="87">
                  <c:v>0.12848401925218161</c:v>
                </c:pt>
                <c:pt idx="88">
                  <c:v>0.12808991008793849</c:v>
                </c:pt>
                <c:pt idx="89">
                  <c:v>0.12669599383578639</c:v>
                </c:pt>
                <c:pt idx="90">
                  <c:v>0.128457244567205</c:v>
                </c:pt>
                <c:pt idx="91">
                  <c:v>0.1287495738807907</c:v>
                </c:pt>
                <c:pt idx="92">
                  <c:v>0.12753778198649329</c:v>
                </c:pt>
                <c:pt idx="93">
                  <c:v>0.12858384689357691</c:v>
                </c:pt>
                <c:pt idx="94">
                  <c:v>0.13053873342212541</c:v>
                </c:pt>
                <c:pt idx="95">
                  <c:v>0.1283681251237693</c:v>
                </c:pt>
                <c:pt idx="96">
                  <c:v>0.12712219330013799</c:v>
                </c:pt>
                <c:pt idx="97">
                  <c:v>0.12537888942730019</c:v>
                </c:pt>
                <c:pt idx="98">
                  <c:v>0.12745921704595151</c:v>
                </c:pt>
                <c:pt idx="99">
                  <c:v>0.1212266665697815</c:v>
                </c:pt>
                <c:pt idx="100">
                  <c:v>0.1141728668578047</c:v>
                </c:pt>
                <c:pt idx="101">
                  <c:v>0.115957494325048</c:v>
                </c:pt>
              </c:numCache>
            </c:numRef>
          </c:xVal>
          <c:yVal>
            <c:numRef>
              <c:f>Sheet1!$B$2:$B$103</c:f>
              <c:numCache>
                <c:formatCode>General</c:formatCode>
                <c:ptCount val="102"/>
                <c:pt idx="0">
                  <c:v>3.1549194168607013E-2</c:v>
                </c:pt>
                <c:pt idx="1">
                  <c:v>2.5925076493376501E-2</c:v>
                </c:pt>
                <c:pt idx="2">
                  <c:v>1.9457371147598559E-2</c:v>
                </c:pt>
                <c:pt idx="3">
                  <c:v>2.1005226955186751E-2</c:v>
                </c:pt>
                <c:pt idx="4">
                  <c:v>2.3683174888924512E-2</c:v>
                </c:pt>
                <c:pt idx="5">
                  <c:v>2.481491169212223E-2</c:v>
                </c:pt>
                <c:pt idx="6">
                  <c:v>2.2966901329024649E-2</c:v>
                </c:pt>
                <c:pt idx="7">
                  <c:v>2.1693356757167159E-2</c:v>
                </c:pt>
                <c:pt idx="8">
                  <c:v>2.508474647577718E-2</c:v>
                </c:pt>
                <c:pt idx="9">
                  <c:v>3.2219360006132687E-2</c:v>
                </c:pt>
                <c:pt idx="10">
                  <c:v>3.3455366889535383E-2</c:v>
                </c:pt>
                <c:pt idx="11">
                  <c:v>3.077420503855852E-2</c:v>
                </c:pt>
                <c:pt idx="12">
                  <c:v>3.166311843777065E-2</c:v>
                </c:pt>
                <c:pt idx="13">
                  <c:v>2.9573633835338661E-2</c:v>
                </c:pt>
                <c:pt idx="14">
                  <c:v>2.943829474961886E-2</c:v>
                </c:pt>
                <c:pt idx="15">
                  <c:v>3.2326555355538883E-2</c:v>
                </c:pt>
                <c:pt idx="16">
                  <c:v>3.045418321235838E-2</c:v>
                </c:pt>
                <c:pt idx="17">
                  <c:v>3.0177244147381321E-2</c:v>
                </c:pt>
                <c:pt idx="18">
                  <c:v>3.0949579617420529E-2</c:v>
                </c:pt>
                <c:pt idx="19">
                  <c:v>3.3044676701229417E-2</c:v>
                </c:pt>
                <c:pt idx="20">
                  <c:v>3.4502368865567047E-2</c:v>
                </c:pt>
                <c:pt idx="21">
                  <c:v>3.8171203781773647E-2</c:v>
                </c:pt>
                <c:pt idx="22">
                  <c:v>3.2633840746857157E-2</c:v>
                </c:pt>
                <c:pt idx="23">
                  <c:v>3.22851825867847E-2</c:v>
                </c:pt>
                <c:pt idx="24">
                  <c:v>3.4293774474369272E-2</c:v>
                </c:pt>
                <c:pt idx="25">
                  <c:v>3.3493331489235549E-2</c:v>
                </c:pt>
                <c:pt idx="26">
                  <c:v>3.2256296982208908E-2</c:v>
                </c:pt>
                <c:pt idx="27">
                  <c:v>3.256327154323236E-2</c:v>
                </c:pt>
                <c:pt idx="28">
                  <c:v>3.0215972855570969E-2</c:v>
                </c:pt>
                <c:pt idx="29">
                  <c:v>2.971323515475446E-2</c:v>
                </c:pt>
                <c:pt idx="30">
                  <c:v>2.9886044202056931E-2</c:v>
                </c:pt>
                <c:pt idx="31">
                  <c:v>3.0113049153545669E-2</c:v>
                </c:pt>
                <c:pt idx="32">
                  <c:v>3.0121682992946059E-2</c:v>
                </c:pt>
                <c:pt idx="33">
                  <c:v>2.8704102443482309E-2</c:v>
                </c:pt>
                <c:pt idx="34">
                  <c:v>3.0602403901330309E-2</c:v>
                </c:pt>
                <c:pt idx="35">
                  <c:v>3.1456536502498793E-2</c:v>
                </c:pt>
                <c:pt idx="36">
                  <c:v>3.1516667937295108E-2</c:v>
                </c:pt>
                <c:pt idx="37">
                  <c:v>3.3226585884057157E-2</c:v>
                </c:pt>
                <c:pt idx="38">
                  <c:v>3.3016326225624587E-2</c:v>
                </c:pt>
                <c:pt idx="39">
                  <c:v>3.0075909553288729E-2</c:v>
                </c:pt>
                <c:pt idx="40">
                  <c:v>3.030822714314705E-2</c:v>
                </c:pt>
                <c:pt idx="41">
                  <c:v>3.1273537834975489E-2</c:v>
                </c:pt>
                <c:pt idx="42">
                  <c:v>3.005901690014778E-2</c:v>
                </c:pt>
                <c:pt idx="43">
                  <c:v>3.0573863083611631E-2</c:v>
                </c:pt>
                <c:pt idx="44">
                  <c:v>3.254448153409624E-2</c:v>
                </c:pt>
                <c:pt idx="45">
                  <c:v>3.2420025270644671E-2</c:v>
                </c:pt>
                <c:pt idx="46">
                  <c:v>3.0841270586476861E-2</c:v>
                </c:pt>
                <c:pt idx="47">
                  <c:v>3.4545476528939613E-2</c:v>
                </c:pt>
                <c:pt idx="48">
                  <c:v>3.9378011399146942E-2</c:v>
                </c:pt>
                <c:pt idx="49">
                  <c:v>3.4585845792310457E-2</c:v>
                </c:pt>
                <c:pt idx="50">
                  <c:v>3.6889295123608737E-2</c:v>
                </c:pt>
                <c:pt idx="51">
                  <c:v>3.516974061970235E-2</c:v>
                </c:pt>
                <c:pt idx="52">
                  <c:v>3.3440411726256947E-2</c:v>
                </c:pt>
                <c:pt idx="53">
                  <c:v>3.0775515895011849E-2</c:v>
                </c:pt>
                <c:pt idx="54">
                  <c:v>2.856172806220978E-2</c:v>
                </c:pt>
                <c:pt idx="55">
                  <c:v>2.9260191711765832E-2</c:v>
                </c:pt>
                <c:pt idx="56">
                  <c:v>3.1178692703543051E-2</c:v>
                </c:pt>
                <c:pt idx="57">
                  <c:v>3.7031471681131703E-2</c:v>
                </c:pt>
                <c:pt idx="58">
                  <c:v>3.9909501581123753E-2</c:v>
                </c:pt>
                <c:pt idx="59">
                  <c:v>3.3090443177845791E-2</c:v>
                </c:pt>
                <c:pt idx="60">
                  <c:v>2.0429936026239701E-2</c:v>
                </c:pt>
                <c:pt idx="61">
                  <c:v>1.594233918003489E-2</c:v>
                </c:pt>
                <c:pt idx="62">
                  <c:v>2.6561543645322629E-2</c:v>
                </c:pt>
                <c:pt idx="63">
                  <c:v>3.5068893654044378E-2</c:v>
                </c:pt>
                <c:pt idx="64">
                  <c:v>3.0967228847484721E-2</c:v>
                </c:pt>
                <c:pt idx="65">
                  <c:v>2.602705616299417E-2</c:v>
                </c:pt>
                <c:pt idx="66">
                  <c:v>2.587150374122359E-2</c:v>
                </c:pt>
                <c:pt idx="67">
                  <c:v>2.691260699372984E-2</c:v>
                </c:pt>
                <c:pt idx="68">
                  <c:v>2.5874418970458959E-2</c:v>
                </c:pt>
                <c:pt idx="69">
                  <c:v>2.3193315376484971E-2</c:v>
                </c:pt>
                <c:pt idx="70">
                  <c:v>2.2686657383630061E-2</c:v>
                </c:pt>
                <c:pt idx="71">
                  <c:v>2.6189284143623481E-2</c:v>
                </c:pt>
                <c:pt idx="72">
                  <c:v>2.7336338114147821E-2</c:v>
                </c:pt>
                <c:pt idx="73">
                  <c:v>2.7740990571672709E-2</c:v>
                </c:pt>
                <c:pt idx="74">
                  <c:v>2.877527311984417E-2</c:v>
                </c:pt>
                <c:pt idx="75">
                  <c:v>2.8510329318482429E-2</c:v>
                </c:pt>
                <c:pt idx="76">
                  <c:v>2.7909474603405621E-2</c:v>
                </c:pt>
                <c:pt idx="77">
                  <c:v>2.354699792786898E-2</c:v>
                </c:pt>
                <c:pt idx="78">
                  <c:v>2.3516397046911521E-2</c:v>
                </c:pt>
                <c:pt idx="79">
                  <c:v>2.2115174941799771E-2</c:v>
                </c:pt>
                <c:pt idx="80">
                  <c:v>2.2268202762568419E-2</c:v>
                </c:pt>
                <c:pt idx="81">
                  <c:v>2.1244426266941788E-2</c:v>
                </c:pt>
                <c:pt idx="82">
                  <c:v>3.1177386289303839E-2</c:v>
                </c:pt>
                <c:pt idx="83">
                  <c:v>2.630647686699077E-2</c:v>
                </c:pt>
                <c:pt idx="84">
                  <c:v>2.5524833007679371E-2</c:v>
                </c:pt>
                <c:pt idx="85">
                  <c:v>2.6871534411513371E-2</c:v>
                </c:pt>
                <c:pt idx="86">
                  <c:v>2.6338851413823881E-2</c:v>
                </c:pt>
                <c:pt idx="87">
                  <c:v>2.464870108961555E-2</c:v>
                </c:pt>
                <c:pt idx="88">
                  <c:v>2.6238033764437702E-2</c:v>
                </c:pt>
                <c:pt idx="89">
                  <c:v>3.0191859532939729E-2</c:v>
                </c:pt>
                <c:pt idx="90">
                  <c:v>3.071685169632082E-2</c:v>
                </c:pt>
                <c:pt idx="91">
                  <c:v>3.1790352756617277E-2</c:v>
                </c:pt>
                <c:pt idx="92">
                  <c:v>2.9789485452214989E-2</c:v>
                </c:pt>
                <c:pt idx="93">
                  <c:v>2.7419432969366012E-2</c:v>
                </c:pt>
                <c:pt idx="94">
                  <c:v>2.5375304588112151E-2</c:v>
                </c:pt>
                <c:pt idx="95">
                  <c:v>2.727143524464504E-2</c:v>
                </c:pt>
                <c:pt idx="96">
                  <c:v>2.430072520573312E-2</c:v>
                </c:pt>
                <c:pt idx="97">
                  <c:v>2.5953063658202231E-2</c:v>
                </c:pt>
                <c:pt idx="98">
                  <c:v>2.870484051773789E-2</c:v>
                </c:pt>
                <c:pt idx="99">
                  <c:v>3.0161179689259059E-2</c:v>
                </c:pt>
                <c:pt idx="100">
                  <c:v>3.7558407981539428E-2</c:v>
                </c:pt>
                <c:pt idx="101">
                  <c:v>3.5796970668813113E-2</c:v>
                </c:pt>
              </c:numCache>
            </c:numRef>
          </c:yVal>
          <c:smooth val="0"/>
          <c:extLst>
            <c:ext xmlns:c16="http://schemas.microsoft.com/office/drawing/2014/chart" uri="{C3380CC4-5D6E-409C-BE32-E72D297353CC}">
              <c16:uniqueId val="{00000000-096C-4121-9522-6AB7243CCAAE}"/>
            </c:ext>
          </c:extLst>
        </c:ser>
        <c:ser>
          <c:idx val="1"/>
          <c:order val="1"/>
          <c:tx>
            <c:strRef>
              <c:f>Sheet1!$B$10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6:$A$157</c:f>
              <c:numCache>
                <c:formatCode>General</c:formatCode>
                <c:ptCount val="52"/>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numCache>
            </c:numRef>
          </c:xVal>
          <c:yVal>
            <c:numRef>
              <c:f>Sheet1!$B$106:$B$157</c:f>
              <c:numCache>
                <c:formatCode>General</c:formatCode>
                <c:ptCount val="52"/>
                <c:pt idx="0">
                  <c:v>3.3379430772150658E-2</c:v>
                </c:pt>
                <c:pt idx="1">
                  <c:v>3.5297770608354727E-2</c:v>
                </c:pt>
                <c:pt idx="2">
                  <c:v>3.603152077608085E-2</c:v>
                </c:pt>
                <c:pt idx="3">
                  <c:v>3.0978674639028671E-2</c:v>
                </c:pt>
                <c:pt idx="4">
                  <c:v>2.8133515753956471E-2</c:v>
                </c:pt>
                <c:pt idx="5">
                  <c:v>2.7512069607189622E-2</c:v>
                </c:pt>
                <c:pt idx="6">
                  <c:v>2.753590860107619E-2</c:v>
                </c:pt>
                <c:pt idx="7">
                  <c:v>2.7306049137985969E-2</c:v>
                </c:pt>
                <c:pt idx="8">
                  <c:v>2.683860754587173E-2</c:v>
                </c:pt>
                <c:pt idx="9">
                  <c:v>2.8577136215520639E-2</c:v>
                </c:pt>
                <c:pt idx="10">
                  <c:v>2.9045708307140341E-2</c:v>
                </c:pt>
                <c:pt idx="11">
                  <c:v>3.0151694267354031E-2</c:v>
                </c:pt>
                <c:pt idx="12">
                  <c:v>3.1278274774940933E-2</c:v>
                </c:pt>
                <c:pt idx="13">
                  <c:v>3.2623144271831599E-2</c:v>
                </c:pt>
                <c:pt idx="14">
                  <c:v>3.2081452766552027E-2</c:v>
                </c:pt>
                <c:pt idx="15">
                  <c:v>2.8476513020004542E-2</c:v>
                </c:pt>
                <c:pt idx="16">
                  <c:v>2.889792926206242E-2</c:v>
                </c:pt>
                <c:pt idx="17">
                  <c:v>2.8572345272906731E-2</c:v>
                </c:pt>
                <c:pt idx="18">
                  <c:v>2.758215728763419E-2</c:v>
                </c:pt>
                <c:pt idx="19">
                  <c:v>2.6684207925807661E-2</c:v>
                </c:pt>
                <c:pt idx="20">
                  <c:v>2.507409816863837E-2</c:v>
                </c:pt>
                <c:pt idx="21">
                  <c:v>3.7053775555914388E-2</c:v>
                </c:pt>
                <c:pt idx="22">
                  <c:v>4.1201839145334811E-2</c:v>
                </c:pt>
                <c:pt idx="23">
                  <c:v>3.952108516249337E-2</c:v>
                </c:pt>
                <c:pt idx="24">
                  <c:v>3.301132678213544E-2</c:v>
                </c:pt>
                <c:pt idx="25">
                  <c:v>3.4672282379825628E-2</c:v>
                </c:pt>
                <c:pt idx="26">
                  <c:v>3.6478521099227869E-2</c:v>
                </c:pt>
                <c:pt idx="27">
                  <c:v>3.1719960612283417E-2</c:v>
                </c:pt>
                <c:pt idx="28">
                  <c:v>2.9844699099281859E-2</c:v>
                </c:pt>
                <c:pt idx="29">
                  <c:v>2.824703792935155E-2</c:v>
                </c:pt>
                <c:pt idx="30">
                  <c:v>2.3926861689124789E-2</c:v>
                </c:pt>
                <c:pt idx="31">
                  <c:v>2.077067140814904E-2</c:v>
                </c:pt>
                <c:pt idx="32">
                  <c:v>2.3460558709885782E-2</c:v>
                </c:pt>
                <c:pt idx="33">
                  <c:v>3.042796286207031E-2</c:v>
                </c:pt>
                <c:pt idx="34">
                  <c:v>3.1037706913624011E-2</c:v>
                </c:pt>
                <c:pt idx="35">
                  <c:v>2.928997264422914E-2</c:v>
                </c:pt>
                <c:pt idx="36">
                  <c:v>2.9697936908540851E-2</c:v>
                </c:pt>
                <c:pt idx="37">
                  <c:v>3.0248130900335801E-2</c:v>
                </c:pt>
                <c:pt idx="38">
                  <c:v>3.5070387750061743E-2</c:v>
                </c:pt>
                <c:pt idx="39">
                  <c:v>3.120833777020552E-2</c:v>
                </c:pt>
                <c:pt idx="40">
                  <c:v>2.682679016675503E-2</c:v>
                </c:pt>
                <c:pt idx="41">
                  <c:v>2.4203784771293649E-2</c:v>
                </c:pt>
                <c:pt idx="42">
                  <c:v>2.4098053977022381E-2</c:v>
                </c:pt>
                <c:pt idx="43">
                  <c:v>2.4523754132153151E-2</c:v>
                </c:pt>
                <c:pt idx="44">
                  <c:v>2.2379504666963371E-2</c:v>
                </c:pt>
                <c:pt idx="45">
                  <c:v>2.104065524243157E-2</c:v>
                </c:pt>
                <c:pt idx="46">
                  <c:v>2.202824012890214E-2</c:v>
                </c:pt>
                <c:pt idx="47">
                  <c:v>2.3321641522021069E-2</c:v>
                </c:pt>
                <c:pt idx="48">
                  <c:v>2.5721900660138009E-2</c:v>
                </c:pt>
                <c:pt idx="49">
                  <c:v>2.4967370312040962E-2</c:v>
                </c:pt>
                <c:pt idx="50">
                  <c:v>2.603335979145837E-2</c:v>
                </c:pt>
                <c:pt idx="51">
                  <c:v>2.5702227757022279E-2</c:v>
                </c:pt>
              </c:numCache>
            </c:numRef>
          </c:yVal>
          <c:smooth val="0"/>
          <c:extLst>
            <c:ext xmlns:c16="http://schemas.microsoft.com/office/drawing/2014/chart" uri="{C3380CC4-5D6E-409C-BE32-E72D297353CC}">
              <c16:uniqueId val="{00000002-096C-4121-9522-6AB7243CCAAE}"/>
            </c:ext>
          </c:extLst>
        </c:ser>
        <c:ser>
          <c:idx val="2"/>
          <c:order val="2"/>
          <c:tx>
            <c:strRef>
              <c:f>Sheet1!$B$15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0:$A$161</c:f>
              <c:numCache>
                <c:formatCode>General</c:formatCode>
                <c:ptCount val="2"/>
                <c:pt idx="0">
                  <c:v>0</c:v>
                </c:pt>
                <c:pt idx="1">
                  <c:v>0.1108820277239114</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5-096C-4121-9522-6AB7243CCAAE}"/>
            </c:ext>
          </c:extLst>
        </c:ser>
        <c:ser>
          <c:idx val="3"/>
          <c:order val="3"/>
          <c:tx>
            <c:strRef>
              <c:f>Sheet1!$B$16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0.1108820277239114</c:v>
                </c:pt>
                <c:pt idx="1">
                  <c:v>0.1108820277239114</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8:$A$169</c:f>
              <c:numCache>
                <c:formatCode>General</c:formatCode>
                <c:ptCount val="2"/>
                <c:pt idx="0">
                  <c:v>0</c:v>
                </c:pt>
                <c:pt idx="1">
                  <c:v>0.11732114474802791</c:v>
                </c:pt>
              </c:numCache>
            </c:numRef>
          </c:xVal>
          <c:yVal>
            <c:numRef>
              <c:f>Sheet1!$B$168:$B$169</c:f>
              <c:numCache>
                <c:formatCode>General</c:formatCode>
                <c:ptCount val="2"/>
                <c:pt idx="0">
                  <c:v>3.1101577984060609E-2</c:v>
                </c:pt>
                <c:pt idx="1">
                  <c:v>3.1101577984060609E-2</c:v>
                </c:pt>
              </c:numCache>
            </c:numRef>
          </c:yVal>
          <c:smooth val="0"/>
          <c:extLst>
            <c:ext xmlns:c16="http://schemas.microsoft.com/office/drawing/2014/chart" uri="{C3380CC4-5D6E-409C-BE32-E72D297353CC}">
              <c16:uniqueId val="{0000000D-096C-4121-9522-6AB7243CCAAE}"/>
            </c:ext>
          </c:extLst>
        </c:ser>
        <c:ser>
          <c:idx val="5"/>
          <c:order val="5"/>
          <c:tx>
            <c:strRef>
              <c:f>Sheet1!$B$17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0.11732114474802791</c:v>
                </c:pt>
                <c:pt idx="1">
                  <c:v>0.11732114474802791</c:v>
                </c:pt>
              </c:numCache>
            </c:numRef>
          </c:xVal>
          <c:yVal>
            <c:numRef>
              <c:f>Sheet1!$B$172:$B$173</c:f>
              <c:numCache>
                <c:formatCode>General</c:formatCode>
                <c:ptCount val="2"/>
                <c:pt idx="0">
                  <c:v>3.1101577984060609E-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6:$A$177</c:f>
              <c:numCache>
                <c:formatCode>General</c:formatCode>
                <c:ptCount val="2"/>
                <c:pt idx="0">
                  <c:v>0</c:v>
                </c:pt>
                <c:pt idx="1">
                  <c:v>0.13512234665834599</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5-096C-4121-9522-6AB7243CCAAE}"/>
            </c:ext>
          </c:extLst>
        </c:ser>
        <c:ser>
          <c:idx val="7"/>
          <c:order val="7"/>
          <c:tx>
            <c:strRef>
              <c:f>Sheet1!$B$17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0:$A$181</c:f>
              <c:numCache>
                <c:formatCode>General</c:formatCode>
                <c:ptCount val="2"/>
                <c:pt idx="0">
                  <c:v>0.13512234665834599</c:v>
                </c:pt>
                <c:pt idx="1">
                  <c:v>0.13512234665834599</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4:$A$238</c:f>
              <c:numCache>
                <c:formatCode>General</c:formatCode>
                <c:ptCount val="55"/>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pt idx="52">
                  <c:v>0.11732114474802791</c:v>
                </c:pt>
                <c:pt idx="53">
                  <c:v>0.1108820277239114</c:v>
                </c:pt>
                <c:pt idx="54">
                  <c:v>0.13512234665834599</c:v>
                </c:pt>
              </c:numCache>
            </c:numRef>
          </c:xVal>
          <c:yVal>
            <c:numRef>
              <c:f>Sheet1!$B$184:$B$238</c:f>
              <c:numCache>
                <c:formatCode>General</c:formatCode>
                <c:ptCount val="55"/>
                <c:pt idx="0">
                  <c:v>3.1620668745252142E-2</c:v>
                </c:pt>
                <c:pt idx="1">
                  <c:v>3.1654790245678951E-2</c:v>
                </c:pt>
                <c:pt idx="2">
                  <c:v>3.2783325344754151E-2</c:v>
                </c:pt>
                <c:pt idx="3">
                  <c:v>3.022688607526958E-2</c:v>
                </c:pt>
                <c:pt idx="4">
                  <c:v>2.8540776744242852E-2</c:v>
                </c:pt>
                <c:pt idx="5">
                  <c:v>2.8198639317480349E-2</c:v>
                </c:pt>
                <c:pt idx="6">
                  <c:v>2.8149354774764782E-2</c:v>
                </c:pt>
                <c:pt idx="7">
                  <c:v>2.8199004366077019E-2</c:v>
                </c:pt>
                <c:pt idx="8">
                  <c:v>3.0157282303857849E-2</c:v>
                </c:pt>
                <c:pt idx="9">
                  <c:v>2.9717490317624731E-2</c:v>
                </c:pt>
                <c:pt idx="10">
                  <c:v>2.880162617160174E-2</c:v>
                </c:pt>
                <c:pt idx="11">
                  <c:v>3.0799476543192809E-2</c:v>
                </c:pt>
                <c:pt idx="12">
                  <c:v>2.8080121278043681E-2</c:v>
                </c:pt>
                <c:pt idx="13">
                  <c:v>2.8247092051713919E-2</c:v>
                </c:pt>
                <c:pt idx="14">
                  <c:v>2.639540124703324E-2</c:v>
                </c:pt>
                <c:pt idx="15">
                  <c:v>1.9220157910636009E-2</c:v>
                </c:pt>
                <c:pt idx="16">
                  <c:v>2.9292926757015069E-2</c:v>
                </c:pt>
                <c:pt idx="17">
                  <c:v>2.9541107656935999E-2</c:v>
                </c:pt>
                <c:pt idx="18">
                  <c:v>3.1154431279754719E-2</c:v>
                </c:pt>
                <c:pt idx="19">
                  <c:v>2.9461129531890291E-2</c:v>
                </c:pt>
                <c:pt idx="20">
                  <c:v>3.0313783713891131E-2</c:v>
                </c:pt>
                <c:pt idx="21">
                  <c:v>3.3508822667282862E-2</c:v>
                </c:pt>
                <c:pt idx="22">
                  <c:v>3.4739165058279807E-2</c:v>
                </c:pt>
                <c:pt idx="23">
                  <c:v>3.3561500120319547E-2</c:v>
                </c:pt>
                <c:pt idx="24">
                  <c:v>3.0961282548418428E-2</c:v>
                </c:pt>
                <c:pt idx="25">
                  <c:v>3.325613118609181E-2</c:v>
                </c:pt>
                <c:pt idx="26">
                  <c:v>3.230935798656305E-2</c:v>
                </c:pt>
                <c:pt idx="27">
                  <c:v>3.0186042242885399E-2</c:v>
                </c:pt>
                <c:pt idx="28">
                  <c:v>2.9826699740302571E-2</c:v>
                </c:pt>
                <c:pt idx="29">
                  <c:v>2.8461825588360749E-2</c:v>
                </c:pt>
                <c:pt idx="30">
                  <c:v>2.6667445839888119E-2</c:v>
                </c:pt>
                <c:pt idx="31">
                  <c:v>2.9333797528733729E-2</c:v>
                </c:pt>
                <c:pt idx="32">
                  <c:v>2.8469462201818171E-2</c:v>
                </c:pt>
                <c:pt idx="33">
                  <c:v>3.1278574864500211E-2</c:v>
                </c:pt>
                <c:pt idx="34">
                  <c:v>3.362517184260494E-2</c:v>
                </c:pt>
                <c:pt idx="35">
                  <c:v>3.1259339751075838E-2</c:v>
                </c:pt>
                <c:pt idx="36">
                  <c:v>3.2466678789921898E-2</c:v>
                </c:pt>
                <c:pt idx="37">
                  <c:v>3.336561461501103E-2</c:v>
                </c:pt>
                <c:pt idx="38">
                  <c:v>3.1897061212580187E-2</c:v>
                </c:pt>
                <c:pt idx="39">
                  <c:v>3.0591232179052279E-2</c:v>
                </c:pt>
                <c:pt idx="40">
                  <c:v>2.6490890509876141E-2</c:v>
                </c:pt>
                <c:pt idx="41">
                  <c:v>2.5005655171483909E-2</c:v>
                </c:pt>
                <c:pt idx="42">
                  <c:v>2.471524594195228E-2</c:v>
                </c:pt>
                <c:pt idx="43">
                  <c:v>2.5740688254943609E-2</c:v>
                </c:pt>
                <c:pt idx="44">
                  <c:v>2.534241769031121E-2</c:v>
                </c:pt>
                <c:pt idx="45">
                  <c:v>2.5785004878787769E-2</c:v>
                </c:pt>
                <c:pt idx="46">
                  <c:v>2.6712805427711591E-2</c:v>
                </c:pt>
                <c:pt idx="47">
                  <c:v>2.6016063432124481E-2</c:v>
                </c:pt>
                <c:pt idx="48">
                  <c:v>2.645901837190287E-2</c:v>
                </c:pt>
                <c:pt idx="49">
                  <c:v>2.253097533810856E-2</c:v>
                </c:pt>
                <c:pt idx="50">
                  <c:v>2.3407974477709061E-2</c:v>
                </c:pt>
                <c:pt idx="51">
                  <c:v>2.5267129597052979E-2</c:v>
                </c:pt>
                <c:pt idx="52">
                  <c:v>3.1101577984060599E-2</c:v>
                </c:pt>
                <c:pt idx="53">
                  <c:v>3.3390590546211449E-2</c:v>
                </c:pt>
                <c:pt idx="54">
                  <c:v>2.47735092998775E-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18089307194123574"/>
          <c:min val="7.5697543274504286E-2"/>
        </c:scaling>
        <c:delete val="0"/>
        <c:axPos val="b"/>
        <c:title>
          <c:tx>
            <c:rich>
              <a:bodyPr rot="0" spcFirstLastPara="1" vertOverflow="ellipsis" vert="horz" wrap="square" anchor="ctr" anchorCtr="1"/>
              <a:lstStyle/>
              <a:p>
                <a:pPr>
                  <a:defRPr sz="800" b="0">
                    <a:solidFill>
                      <a:srgbClr val="575555"/>
                    </a:solidFill>
                    <a:latin typeface="Nexa Bold"/>
                  </a:defRPr>
                </a:pPr>
                <a:r>
                  <a:rPr lang="en-US"/>
                  <a:t>Price Ix vs. Gillette Fusion5</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3084051742229012</c:v>
                </c:pt>
                <c:pt idx="1">
                  <c:v>0.31591786351078627</c:v>
                </c:pt>
                <c:pt idx="2">
                  <c:v>0.32058023334902946</c:v>
                </c:pt>
                <c:pt idx="3">
                  <c:v>0.31551466024025998</c:v>
                </c:pt>
                <c:pt idx="4">
                  <c:v>0.31248983133575575</c:v>
                </c:pt>
                <c:pt idx="5">
                  <c:v>0.31209899175068745</c:v>
                </c:pt>
                <c:pt idx="6">
                  <c:v>0.31243915630070307</c:v>
                </c:pt>
                <c:pt idx="7">
                  <c:v>0.3133619793471481</c:v>
                </c:pt>
                <c:pt idx="8">
                  <c:v>0.31671907756813417</c:v>
                </c:pt>
                <c:pt idx="9">
                  <c:v>0.31082322826247477</c:v>
                </c:pt>
                <c:pt idx="10">
                  <c:v>0.31047212859141043</c:v>
                </c:pt>
                <c:pt idx="11">
                  <c:v>0.30851195946449417</c:v>
                </c:pt>
                <c:pt idx="12">
                  <c:v>0.30743476600274672</c:v>
                </c:pt>
                <c:pt idx="13">
                  <c:v>0.30557876018361524</c:v>
                </c:pt>
                <c:pt idx="14">
                  <c:v>0.30608180521683359</c:v>
                </c:pt>
                <c:pt idx="15">
                  <c:v>0.30537959003209308</c:v>
                </c:pt>
                <c:pt idx="16">
                  <c:v>0.30479028449342177</c:v>
                </c:pt>
                <c:pt idx="17">
                  <c:v>0.30535697989231286</c:v>
                </c:pt>
                <c:pt idx="18">
                  <c:v>0.30758733419811496</c:v>
                </c:pt>
                <c:pt idx="19">
                  <c:v>0.30384356418742708</c:v>
                </c:pt>
                <c:pt idx="20">
                  <c:v>0.30255871389344829</c:v>
                </c:pt>
                <c:pt idx="21">
                  <c:v>0.30131492720175512</c:v>
                </c:pt>
                <c:pt idx="22">
                  <c:v>0.30402402402402401</c:v>
                </c:pt>
                <c:pt idx="23">
                  <c:v>0.3041818228723267</c:v>
                </c:pt>
                <c:pt idx="24">
                  <c:v>0.30380595989557657</c:v>
                </c:pt>
                <c:pt idx="25">
                  <c:v>0.30266464709715091</c:v>
                </c:pt>
                <c:pt idx="26">
                  <c:v>0.30198090992432275</c:v>
                </c:pt>
                <c:pt idx="27">
                  <c:v>0.30261018186645428</c:v>
                </c:pt>
                <c:pt idx="28">
                  <c:v>0.30379475941413642</c:v>
                </c:pt>
                <c:pt idx="29">
                  <c:v>0.30510575091808745</c:v>
                </c:pt>
                <c:pt idx="30">
                  <c:v>0.30547263681592041</c:v>
                </c:pt>
                <c:pt idx="31">
                  <c:v>0.30191808942530629</c:v>
                </c:pt>
                <c:pt idx="32">
                  <c:v>0.30004016835781272</c:v>
                </c:pt>
                <c:pt idx="33">
                  <c:v>0.30140260803244229</c:v>
                </c:pt>
                <c:pt idx="34">
                  <c:v>0.30315931183998879</c:v>
                </c:pt>
                <c:pt idx="35">
                  <c:v>0.30423707530585153</c:v>
                </c:pt>
                <c:pt idx="36">
                  <c:v>0.30339368848493503</c:v>
                </c:pt>
                <c:pt idx="37">
                  <c:v>0.30312142377964563</c:v>
                </c:pt>
                <c:pt idx="38">
                  <c:v>0.30421477922015827</c:v>
                </c:pt>
                <c:pt idx="39">
                  <c:v>0.30360700245050509</c:v>
                </c:pt>
                <c:pt idx="40">
                  <c:v>0.30482776067799466</c:v>
                </c:pt>
                <c:pt idx="41">
                  <c:v>0.30496561046396053</c:v>
                </c:pt>
                <c:pt idx="42">
                  <c:v>0.30474260101509459</c:v>
                </c:pt>
                <c:pt idx="43">
                  <c:v>0.30487658997567685</c:v>
                </c:pt>
                <c:pt idx="44">
                  <c:v>0.30417377406912238</c:v>
                </c:pt>
                <c:pt idx="45">
                  <c:v>0.30429474182711519</c:v>
                </c:pt>
                <c:pt idx="46">
                  <c:v>0.30416987037597953</c:v>
                </c:pt>
                <c:pt idx="47">
                  <c:v>0.30177142857142858</c:v>
                </c:pt>
                <c:pt idx="48">
                  <c:v>0.30034428178139644</c:v>
                </c:pt>
                <c:pt idx="49">
                  <c:v>0.30020553910468561</c:v>
                </c:pt>
                <c:pt idx="50">
                  <c:v>0.30020393921120919</c:v>
                </c:pt>
                <c:pt idx="51">
                  <c:v>0.30029572161037082</c:v>
                </c:pt>
                <c:pt idx="52">
                  <c:v>0.30085731375024921</c:v>
                </c:pt>
                <c:pt idx="53">
                  <c:v>0.30374794069192751</c:v>
                </c:pt>
                <c:pt idx="54">
                  <c:v>0.30475569923731716</c:v>
                </c:pt>
                <c:pt idx="55">
                  <c:v>0.30484411191281596</c:v>
                </c:pt>
                <c:pt idx="56">
                  <c:v>0.29666067320451317</c:v>
                </c:pt>
                <c:pt idx="57">
                  <c:v>0.25400835544515327</c:v>
                </c:pt>
                <c:pt idx="58">
                  <c:v>0.23382400369980466</c:v>
                </c:pt>
                <c:pt idx="59">
                  <c:v>0.23943026116791946</c:v>
                </c:pt>
                <c:pt idx="60">
                  <c:v>0.25369491863085675</c:v>
                </c:pt>
                <c:pt idx="61">
                  <c:v>0.26335839430757868</c:v>
                </c:pt>
                <c:pt idx="62">
                  <c:v>0.24811366501794199</c:v>
                </c:pt>
                <c:pt idx="63">
                  <c:v>0.25331883600138116</c:v>
                </c:pt>
                <c:pt idx="64">
                  <c:v>0.27606841827999473</c:v>
                </c:pt>
                <c:pt idx="65">
                  <c:v>0.28160478817918266</c:v>
                </c:pt>
                <c:pt idx="66">
                  <c:v>0.29229782021117312</c:v>
                </c:pt>
                <c:pt idx="67">
                  <c:v>0.30127414335954045</c:v>
                </c:pt>
                <c:pt idx="68">
                  <c:v>0.30305886879569066</c:v>
                </c:pt>
                <c:pt idx="69">
                  <c:v>0.30492991022208221</c:v>
                </c:pt>
                <c:pt idx="70">
                  <c:v>0.30628978911194849</c:v>
                </c:pt>
                <c:pt idx="71">
                  <c:v>0.30507690665654685</c:v>
                </c:pt>
                <c:pt idx="72">
                  <c:v>0.30607670596048481</c:v>
                </c:pt>
                <c:pt idx="73">
                  <c:v>0.3116373241246056</c:v>
                </c:pt>
                <c:pt idx="74">
                  <c:v>0.31424842998124136</c:v>
                </c:pt>
                <c:pt idx="75">
                  <c:v>0.31320176754871626</c:v>
                </c:pt>
                <c:pt idx="76">
                  <c:v>0.31380953870863448</c:v>
                </c:pt>
                <c:pt idx="77">
                  <c:v>0.32590348409435188</c:v>
                </c:pt>
                <c:pt idx="78">
                  <c:v>0.33061711871301291</c:v>
                </c:pt>
                <c:pt idx="79">
                  <c:v>0.33376024237416513</c:v>
                </c:pt>
                <c:pt idx="80">
                  <c:v>0.334863282523373</c:v>
                </c:pt>
                <c:pt idx="81">
                  <c:v>0.33732775797715603</c:v>
                </c:pt>
                <c:pt idx="82">
                  <c:v>0.3340239432262419</c:v>
                </c:pt>
                <c:pt idx="83">
                  <c:v>0.32813911724353323</c:v>
                </c:pt>
                <c:pt idx="84">
                  <c:v>0.32451377453380215</c:v>
                </c:pt>
                <c:pt idx="85">
                  <c:v>0.3242920313313794</c:v>
                </c:pt>
                <c:pt idx="86">
                  <c:v>0.32834757834757833</c:v>
                </c:pt>
                <c:pt idx="87">
                  <c:v>0.33024565689467972</c:v>
                </c:pt>
                <c:pt idx="88">
                  <c:v>0.33047076978575868</c:v>
                </c:pt>
                <c:pt idx="89">
                  <c:v>0.32960364974033468</c:v>
                </c:pt>
                <c:pt idx="90">
                  <c:v>0.32877782475231143</c:v>
                </c:pt>
                <c:pt idx="91">
                  <c:v>0.33265505668454848</c:v>
                </c:pt>
                <c:pt idx="92">
                  <c:v>0.33383080669232584</c:v>
                </c:pt>
                <c:pt idx="93">
                  <c:v>0.33445095599479496</c:v>
                </c:pt>
                <c:pt idx="94">
                  <c:v>0.33425385899470356</c:v>
                </c:pt>
                <c:pt idx="95">
                  <c:v>0.33302358553829059</c:v>
                </c:pt>
                <c:pt idx="96">
                  <c:v>0.3331230702831911</c:v>
                </c:pt>
                <c:pt idx="97">
                  <c:v>0.33248279672509923</c:v>
                </c:pt>
                <c:pt idx="98">
                  <c:v>0.33184443040565192</c:v>
                </c:pt>
                <c:pt idx="99">
                  <c:v>0.31234357273380736</c:v>
                </c:pt>
                <c:pt idx="100">
                  <c:v>0.30123106937136429</c:v>
                </c:pt>
                <c:pt idx="101">
                  <c:v>0.30056872662328632</c:v>
                </c:pt>
              </c:numCache>
            </c:numRef>
          </c:xVal>
          <c:yVal>
            <c:numRef>
              <c:f>Sheet1!$B$2:$B$103</c:f>
              <c:numCache>
                <c:formatCode>General</c:formatCode>
                <c:ptCount val="102"/>
                <c:pt idx="0">
                  <c:v>3.1549194168607006E-2</c:v>
                </c:pt>
                <c:pt idx="1">
                  <c:v>2.5925076493376501E-2</c:v>
                </c:pt>
                <c:pt idx="2">
                  <c:v>1.9457371147598559E-2</c:v>
                </c:pt>
                <c:pt idx="3">
                  <c:v>2.1005226955186754E-2</c:v>
                </c:pt>
                <c:pt idx="4">
                  <c:v>2.3683174888924508E-2</c:v>
                </c:pt>
                <c:pt idx="5">
                  <c:v>2.4814911692122233E-2</c:v>
                </c:pt>
                <c:pt idx="6">
                  <c:v>2.2966901329024649E-2</c:v>
                </c:pt>
                <c:pt idx="7">
                  <c:v>2.1693356757167159E-2</c:v>
                </c:pt>
                <c:pt idx="8">
                  <c:v>2.508474647577718E-2</c:v>
                </c:pt>
                <c:pt idx="9">
                  <c:v>3.2219360006132694E-2</c:v>
                </c:pt>
                <c:pt idx="10">
                  <c:v>3.3455366889535383E-2</c:v>
                </c:pt>
                <c:pt idx="11">
                  <c:v>3.0774205038558523E-2</c:v>
                </c:pt>
                <c:pt idx="12">
                  <c:v>3.166311843777065E-2</c:v>
                </c:pt>
                <c:pt idx="13">
                  <c:v>2.9573633835338665E-2</c:v>
                </c:pt>
                <c:pt idx="14">
                  <c:v>2.9438294749618857E-2</c:v>
                </c:pt>
                <c:pt idx="15">
                  <c:v>3.2326555355538883E-2</c:v>
                </c:pt>
                <c:pt idx="16">
                  <c:v>3.0454183212358377E-2</c:v>
                </c:pt>
                <c:pt idx="17">
                  <c:v>3.0177244147381318E-2</c:v>
                </c:pt>
                <c:pt idx="18">
                  <c:v>3.0949579617420526E-2</c:v>
                </c:pt>
                <c:pt idx="19">
                  <c:v>3.3044676701229417E-2</c:v>
                </c:pt>
                <c:pt idx="20">
                  <c:v>3.4502368865567047E-2</c:v>
                </c:pt>
                <c:pt idx="21">
                  <c:v>3.8171203781773647E-2</c:v>
                </c:pt>
                <c:pt idx="22">
                  <c:v>3.2633840746857157E-2</c:v>
                </c:pt>
                <c:pt idx="23">
                  <c:v>3.22851825867847E-2</c:v>
                </c:pt>
                <c:pt idx="24">
                  <c:v>3.4293774474369265E-2</c:v>
                </c:pt>
                <c:pt idx="25">
                  <c:v>3.3493331489235549E-2</c:v>
                </c:pt>
                <c:pt idx="26">
                  <c:v>3.2256296982208908E-2</c:v>
                </c:pt>
                <c:pt idx="27">
                  <c:v>3.256327154323236E-2</c:v>
                </c:pt>
                <c:pt idx="28">
                  <c:v>3.0215972855570965E-2</c:v>
                </c:pt>
                <c:pt idx="29">
                  <c:v>2.971323515475446E-2</c:v>
                </c:pt>
                <c:pt idx="30">
                  <c:v>2.9886044202056927E-2</c:v>
                </c:pt>
                <c:pt idx="31">
                  <c:v>3.0113049153545669E-2</c:v>
                </c:pt>
                <c:pt idx="32">
                  <c:v>3.0121682992946059E-2</c:v>
                </c:pt>
                <c:pt idx="33">
                  <c:v>2.8704102443482309E-2</c:v>
                </c:pt>
                <c:pt idx="34">
                  <c:v>3.0602403901330309E-2</c:v>
                </c:pt>
                <c:pt idx="35">
                  <c:v>3.1456536502498786E-2</c:v>
                </c:pt>
                <c:pt idx="36">
                  <c:v>3.1516667937295108E-2</c:v>
                </c:pt>
                <c:pt idx="37">
                  <c:v>3.3226585884057164E-2</c:v>
                </c:pt>
                <c:pt idx="38">
                  <c:v>3.3016326225624587E-2</c:v>
                </c:pt>
                <c:pt idx="39">
                  <c:v>3.0075909553288729E-2</c:v>
                </c:pt>
                <c:pt idx="40">
                  <c:v>3.0308227143147046E-2</c:v>
                </c:pt>
                <c:pt idx="41">
                  <c:v>3.1273537834975489E-2</c:v>
                </c:pt>
                <c:pt idx="42">
                  <c:v>3.0059016900147784E-2</c:v>
                </c:pt>
                <c:pt idx="43">
                  <c:v>3.0573863083611635E-2</c:v>
                </c:pt>
                <c:pt idx="44">
                  <c:v>3.254448153409624E-2</c:v>
                </c:pt>
                <c:pt idx="45">
                  <c:v>3.2420025270644671E-2</c:v>
                </c:pt>
                <c:pt idx="46">
                  <c:v>3.0841270586476857E-2</c:v>
                </c:pt>
                <c:pt idx="47">
                  <c:v>3.4545476528939606E-2</c:v>
                </c:pt>
                <c:pt idx="48">
                  <c:v>3.9378011399146942E-2</c:v>
                </c:pt>
                <c:pt idx="49">
                  <c:v>3.4585845792310457E-2</c:v>
                </c:pt>
                <c:pt idx="50">
                  <c:v>3.6889295123608744E-2</c:v>
                </c:pt>
                <c:pt idx="51">
                  <c:v>3.516974061970235E-2</c:v>
                </c:pt>
                <c:pt idx="52">
                  <c:v>3.3440411726256954E-2</c:v>
                </c:pt>
                <c:pt idx="53">
                  <c:v>3.0775515895011849E-2</c:v>
                </c:pt>
                <c:pt idx="54">
                  <c:v>2.856172806220978E-2</c:v>
                </c:pt>
                <c:pt idx="55">
                  <c:v>2.9260191711765828E-2</c:v>
                </c:pt>
                <c:pt idx="56">
                  <c:v>3.1178692703543048E-2</c:v>
                </c:pt>
                <c:pt idx="57">
                  <c:v>3.7031471681131703E-2</c:v>
                </c:pt>
                <c:pt idx="58">
                  <c:v>3.9909501581123753E-2</c:v>
                </c:pt>
                <c:pt idx="59">
                  <c:v>3.3090443177845791E-2</c:v>
                </c:pt>
                <c:pt idx="60">
                  <c:v>2.0429936026239697E-2</c:v>
                </c:pt>
                <c:pt idx="61">
                  <c:v>1.5942339180034886E-2</c:v>
                </c:pt>
                <c:pt idx="62">
                  <c:v>2.6561543645322632E-2</c:v>
                </c:pt>
                <c:pt idx="63">
                  <c:v>3.5068893654044385E-2</c:v>
                </c:pt>
                <c:pt idx="64">
                  <c:v>3.0967228847484717E-2</c:v>
                </c:pt>
                <c:pt idx="65">
                  <c:v>2.6027056162994167E-2</c:v>
                </c:pt>
                <c:pt idx="66">
                  <c:v>2.5871503741223587E-2</c:v>
                </c:pt>
                <c:pt idx="67">
                  <c:v>2.691260699372984E-2</c:v>
                </c:pt>
                <c:pt idx="68">
                  <c:v>2.5874418970458959E-2</c:v>
                </c:pt>
                <c:pt idx="69">
                  <c:v>2.3193315376484971E-2</c:v>
                </c:pt>
                <c:pt idx="70">
                  <c:v>2.2686657383630057E-2</c:v>
                </c:pt>
                <c:pt idx="71">
                  <c:v>2.6189284143623485E-2</c:v>
                </c:pt>
                <c:pt idx="72">
                  <c:v>2.7336338114147821E-2</c:v>
                </c:pt>
                <c:pt idx="73">
                  <c:v>2.7740990571672709E-2</c:v>
                </c:pt>
                <c:pt idx="74">
                  <c:v>2.8775273119844166E-2</c:v>
                </c:pt>
                <c:pt idx="75">
                  <c:v>2.8510329318482425E-2</c:v>
                </c:pt>
                <c:pt idx="76">
                  <c:v>2.7909474603405617E-2</c:v>
                </c:pt>
                <c:pt idx="77">
                  <c:v>2.354699792786898E-2</c:v>
                </c:pt>
                <c:pt idx="78">
                  <c:v>2.3516397046911525E-2</c:v>
                </c:pt>
                <c:pt idx="79">
                  <c:v>2.2115174941799768E-2</c:v>
                </c:pt>
                <c:pt idx="80">
                  <c:v>2.2268202762568419E-2</c:v>
                </c:pt>
                <c:pt idx="81">
                  <c:v>2.1244426266941792E-2</c:v>
                </c:pt>
                <c:pt idx="82">
                  <c:v>3.1177386289303839E-2</c:v>
                </c:pt>
                <c:pt idx="83">
                  <c:v>2.6306476866990773E-2</c:v>
                </c:pt>
                <c:pt idx="84">
                  <c:v>2.5524833007679375E-2</c:v>
                </c:pt>
                <c:pt idx="85">
                  <c:v>2.6871534411513368E-2</c:v>
                </c:pt>
                <c:pt idx="86">
                  <c:v>2.6338851413823878E-2</c:v>
                </c:pt>
                <c:pt idx="87">
                  <c:v>2.4648701089615546E-2</c:v>
                </c:pt>
                <c:pt idx="88">
                  <c:v>2.6238033764437702E-2</c:v>
                </c:pt>
                <c:pt idx="89">
                  <c:v>3.0191859532939729E-2</c:v>
                </c:pt>
                <c:pt idx="90">
                  <c:v>3.0716851696320817E-2</c:v>
                </c:pt>
                <c:pt idx="91">
                  <c:v>3.1790352756617284E-2</c:v>
                </c:pt>
                <c:pt idx="92">
                  <c:v>2.9789485452214992E-2</c:v>
                </c:pt>
                <c:pt idx="93">
                  <c:v>2.7419432969366012E-2</c:v>
                </c:pt>
                <c:pt idx="94">
                  <c:v>2.5375304588112154E-2</c:v>
                </c:pt>
                <c:pt idx="95">
                  <c:v>2.7271435244645044E-2</c:v>
                </c:pt>
                <c:pt idx="96">
                  <c:v>2.4300725205733124E-2</c:v>
                </c:pt>
                <c:pt idx="97">
                  <c:v>2.5953063658202231E-2</c:v>
                </c:pt>
                <c:pt idx="98">
                  <c:v>2.870484051773789E-2</c:v>
                </c:pt>
                <c:pt idx="99">
                  <c:v>3.0161179689259059E-2</c:v>
                </c:pt>
                <c:pt idx="100">
                  <c:v>3.7558407981539428E-2</c:v>
                </c:pt>
                <c:pt idx="101">
                  <c:v>3.5796970668813106E-2</c:v>
                </c:pt>
              </c:numCache>
            </c:numRef>
          </c:yVal>
          <c:smooth val="0"/>
          <c:extLst>
            <c:ext xmlns:c16="http://schemas.microsoft.com/office/drawing/2014/chart" uri="{C3380CC4-5D6E-409C-BE32-E72D297353CC}">
              <c16:uniqueId val="{00000000-F32D-48B7-BC20-E66FC6253BAD}"/>
            </c:ext>
          </c:extLst>
        </c:ser>
        <c:ser>
          <c:idx val="1"/>
          <c:order val="1"/>
          <c:tx>
            <c:strRef>
              <c:f>Sheet1!$B$10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6:$A$157</c:f>
              <c:numCache>
                <c:formatCode>General</c:formatCode>
                <c:ptCount val="52"/>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numCache>
            </c:numRef>
          </c:xVal>
          <c:yVal>
            <c:numRef>
              <c:f>Sheet1!$B$106:$B$157</c:f>
              <c:numCache>
                <c:formatCode>General</c:formatCode>
                <c:ptCount val="52"/>
                <c:pt idx="0">
                  <c:v>3.3379430772150658E-2</c:v>
                </c:pt>
                <c:pt idx="1">
                  <c:v>3.5297770608354727E-2</c:v>
                </c:pt>
                <c:pt idx="2">
                  <c:v>3.603152077608085E-2</c:v>
                </c:pt>
                <c:pt idx="3">
                  <c:v>3.0978674639028675E-2</c:v>
                </c:pt>
                <c:pt idx="4">
                  <c:v>2.8133515753956471E-2</c:v>
                </c:pt>
                <c:pt idx="5">
                  <c:v>2.7512069607189618E-2</c:v>
                </c:pt>
                <c:pt idx="6">
                  <c:v>2.7535908601076187E-2</c:v>
                </c:pt>
                <c:pt idx="7">
                  <c:v>2.7306049137985969E-2</c:v>
                </c:pt>
                <c:pt idx="8">
                  <c:v>2.6838607545871734E-2</c:v>
                </c:pt>
                <c:pt idx="9">
                  <c:v>2.8577136215520643E-2</c:v>
                </c:pt>
                <c:pt idx="10">
                  <c:v>2.9045708307140341E-2</c:v>
                </c:pt>
                <c:pt idx="11">
                  <c:v>3.0151694267354034E-2</c:v>
                </c:pt>
                <c:pt idx="12">
                  <c:v>3.1278274774940926E-2</c:v>
                </c:pt>
                <c:pt idx="13">
                  <c:v>3.2623144271831599E-2</c:v>
                </c:pt>
                <c:pt idx="14">
                  <c:v>3.2081452766552027E-2</c:v>
                </c:pt>
                <c:pt idx="15">
                  <c:v>2.8476513020004538E-2</c:v>
                </c:pt>
                <c:pt idx="16">
                  <c:v>2.8897929262062423E-2</c:v>
                </c:pt>
                <c:pt idx="17">
                  <c:v>2.8572345272906727E-2</c:v>
                </c:pt>
                <c:pt idx="18">
                  <c:v>2.7582157287634194E-2</c:v>
                </c:pt>
                <c:pt idx="19">
                  <c:v>2.6684207925807661E-2</c:v>
                </c:pt>
                <c:pt idx="20">
                  <c:v>2.5074098168638374E-2</c:v>
                </c:pt>
                <c:pt idx="21">
                  <c:v>3.7053775555914395E-2</c:v>
                </c:pt>
                <c:pt idx="22">
                  <c:v>4.1201839145334811E-2</c:v>
                </c:pt>
                <c:pt idx="23">
                  <c:v>3.952108516249337E-2</c:v>
                </c:pt>
                <c:pt idx="24">
                  <c:v>3.301132678213544E-2</c:v>
                </c:pt>
                <c:pt idx="25">
                  <c:v>3.4672282379825628E-2</c:v>
                </c:pt>
                <c:pt idx="26">
                  <c:v>3.6478521099227869E-2</c:v>
                </c:pt>
                <c:pt idx="27">
                  <c:v>3.1719960612283417E-2</c:v>
                </c:pt>
                <c:pt idx="28">
                  <c:v>2.9844699099281863E-2</c:v>
                </c:pt>
                <c:pt idx="29">
                  <c:v>2.8247037929351546E-2</c:v>
                </c:pt>
                <c:pt idx="30">
                  <c:v>2.3926861689124793E-2</c:v>
                </c:pt>
                <c:pt idx="31">
                  <c:v>2.0770671408149036E-2</c:v>
                </c:pt>
                <c:pt idx="32">
                  <c:v>2.3460558709885785E-2</c:v>
                </c:pt>
                <c:pt idx="33">
                  <c:v>3.0427962862070307E-2</c:v>
                </c:pt>
                <c:pt idx="34">
                  <c:v>3.1037706913624008E-2</c:v>
                </c:pt>
                <c:pt idx="35">
                  <c:v>2.928997264422914E-2</c:v>
                </c:pt>
                <c:pt idx="36">
                  <c:v>2.9697936908540855E-2</c:v>
                </c:pt>
                <c:pt idx="37">
                  <c:v>3.0248130900335804E-2</c:v>
                </c:pt>
                <c:pt idx="38">
                  <c:v>3.5070387750061743E-2</c:v>
                </c:pt>
                <c:pt idx="39">
                  <c:v>3.1208337770205517E-2</c:v>
                </c:pt>
                <c:pt idx="40">
                  <c:v>2.6826790166755026E-2</c:v>
                </c:pt>
                <c:pt idx="41">
                  <c:v>2.4203784771293646E-2</c:v>
                </c:pt>
                <c:pt idx="42">
                  <c:v>2.4098053977022377E-2</c:v>
                </c:pt>
                <c:pt idx="43">
                  <c:v>2.4523754132153155E-2</c:v>
                </c:pt>
                <c:pt idx="44">
                  <c:v>2.2379504666963371E-2</c:v>
                </c:pt>
                <c:pt idx="45">
                  <c:v>2.104065524243157E-2</c:v>
                </c:pt>
                <c:pt idx="46">
                  <c:v>2.2028240128902143E-2</c:v>
                </c:pt>
                <c:pt idx="47">
                  <c:v>2.3321641522021073E-2</c:v>
                </c:pt>
                <c:pt idx="48">
                  <c:v>2.5721900660138006E-2</c:v>
                </c:pt>
                <c:pt idx="49">
                  <c:v>2.4967370312040958E-2</c:v>
                </c:pt>
                <c:pt idx="50">
                  <c:v>2.6033359791458374E-2</c:v>
                </c:pt>
                <c:pt idx="51">
                  <c:v>2.5702227757022279E-2</c:v>
                </c:pt>
              </c:numCache>
            </c:numRef>
          </c:yVal>
          <c:smooth val="0"/>
          <c:extLst>
            <c:ext xmlns:c16="http://schemas.microsoft.com/office/drawing/2014/chart" uri="{C3380CC4-5D6E-409C-BE32-E72D297353CC}">
              <c16:uniqueId val="{00000002-F32D-48B7-BC20-E66FC6253BAD}"/>
            </c:ext>
          </c:extLst>
        </c:ser>
        <c:ser>
          <c:idx val="2"/>
          <c:order val="2"/>
          <c:tx>
            <c:strRef>
              <c:f>Sheet1!$B$159</c:f>
              <c:strCache>
                <c:ptCount val="1"/>
                <c:pt idx="0">
                  <c:v>Custom Linep3yQ</c:v>
                </c:pt>
              </c:strCache>
            </c:strRef>
          </c:tx>
          <c:spPr>
            <a:ln w="19050" cap="rnd">
              <a:solidFill>
                <a:srgbClr val="C00000"/>
              </a:solidFill>
              <a:prstDash val="sysDot"/>
              <a:round/>
            </a:ln>
            <a:effectLst/>
          </c:spPr>
          <c:marker>
            <c:symbol val="none"/>
          </c:marker>
          <c:xVal>
            <c:numRef>
              <c:f>Sheet1!$A$160:$A$161</c:f>
              <c:numCache>
                <c:formatCode>General</c:formatCode>
                <c:ptCount val="2"/>
                <c:pt idx="0">
                  <c:v>0</c:v>
                </c:pt>
                <c:pt idx="1">
                  <c:v>0.27575744047645689</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3-F32D-48B7-BC20-E66FC6253BAD}"/>
            </c:ext>
          </c:extLst>
        </c:ser>
        <c:ser>
          <c:idx val="3"/>
          <c:order val="3"/>
          <c:tx>
            <c:strRef>
              <c:f>Sheet1!$B$16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0.27575744047645689</c:v>
                </c:pt>
                <c:pt idx="1">
                  <c:v>0.27575744047645689</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8:$A$169</c:f>
              <c:numCache>
                <c:formatCode>General</c:formatCode>
                <c:ptCount val="2"/>
                <c:pt idx="0">
                  <c:v>0</c:v>
                </c:pt>
                <c:pt idx="1">
                  <c:v>0.28987004975079905</c:v>
                </c:pt>
              </c:numCache>
            </c:numRef>
          </c:xVal>
          <c:yVal>
            <c:numRef>
              <c:f>Sheet1!$B$168:$B$169</c:f>
              <c:numCache>
                <c:formatCode>General</c:formatCode>
                <c:ptCount val="2"/>
                <c:pt idx="0">
                  <c:v>3.1101577984060606E-2</c:v>
                </c:pt>
                <c:pt idx="1">
                  <c:v>3.1101577984060606E-2</c:v>
                </c:pt>
              </c:numCache>
            </c:numRef>
          </c:yVal>
          <c:smooth val="0"/>
          <c:extLst>
            <c:ext xmlns:c16="http://schemas.microsoft.com/office/drawing/2014/chart" uri="{C3380CC4-5D6E-409C-BE32-E72D297353CC}">
              <c16:uniqueId val="{0000000A-F32D-48B7-BC20-E66FC6253BAD}"/>
            </c:ext>
          </c:extLst>
        </c:ser>
        <c:ser>
          <c:idx val="5"/>
          <c:order val="5"/>
          <c:tx>
            <c:strRef>
              <c:f>Sheet1!$B$17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0.28987004975079905</c:v>
                </c:pt>
                <c:pt idx="1">
                  <c:v>0.28987004975079905</c:v>
                </c:pt>
              </c:numCache>
            </c:numRef>
          </c:xVal>
          <c:yVal>
            <c:numRef>
              <c:f>Sheet1!$B$172:$B$173</c:f>
              <c:numCache>
                <c:formatCode>General</c:formatCode>
                <c:ptCount val="2"/>
                <c:pt idx="0">
                  <c:v>3.1101577984060606E-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6:$A$177</c:f>
              <c:numCache>
                <c:formatCode>General</c:formatCode>
                <c:ptCount val="2"/>
                <c:pt idx="0">
                  <c:v>0</c:v>
                </c:pt>
                <c:pt idx="1">
                  <c:v>0.32888493428125432</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1-F32D-48B7-BC20-E66FC6253BAD}"/>
            </c:ext>
          </c:extLst>
        </c:ser>
        <c:ser>
          <c:idx val="7"/>
          <c:order val="7"/>
          <c:tx>
            <c:strRef>
              <c:f>Sheet1!$B$17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0:$A$181</c:f>
              <c:numCache>
                <c:formatCode>General</c:formatCode>
                <c:ptCount val="2"/>
                <c:pt idx="0">
                  <c:v>0.32888493428125432</c:v>
                </c:pt>
                <c:pt idx="1">
                  <c:v>0.32888493428125432</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4:$A$238</c:f>
              <c:numCache>
                <c:formatCode>General</c:formatCode>
                <c:ptCount val="55"/>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pt idx="52">
                  <c:v>0.28987004975079905</c:v>
                </c:pt>
                <c:pt idx="53">
                  <c:v>0.27575744047645689</c:v>
                </c:pt>
                <c:pt idx="54">
                  <c:v>0.32888493428125432</c:v>
                </c:pt>
              </c:numCache>
            </c:numRef>
          </c:xVal>
          <c:yVal>
            <c:numRef>
              <c:f>Sheet1!$B$184:$B$238</c:f>
              <c:numCache>
                <c:formatCode>General</c:formatCode>
                <c:ptCount val="55"/>
                <c:pt idx="0">
                  <c:v>2.9413873016704839E-2</c:v>
                </c:pt>
                <c:pt idx="1">
                  <c:v>2.9896344890080709E-2</c:v>
                </c:pt>
                <c:pt idx="2">
                  <c:v>3.0155656486461964E-2</c:v>
                </c:pt>
                <c:pt idx="3">
                  <c:v>2.7109900331363727E-2</c:v>
                </c:pt>
                <c:pt idx="4">
                  <c:v>2.4371775225560388E-2</c:v>
                </c:pt>
                <c:pt idx="5">
                  <c:v>2.4094268404047922E-2</c:v>
                </c:pt>
                <c:pt idx="6">
                  <c:v>2.4322183284519114E-2</c:v>
                </c:pt>
                <c:pt idx="7">
                  <c:v>2.5263903460272262E-2</c:v>
                </c:pt>
                <c:pt idx="8">
                  <c:v>2.7533717749061021E-2</c:v>
                </c:pt>
                <c:pt idx="9">
                  <c:v>2.9136059572005948E-2</c:v>
                </c:pt>
                <c:pt idx="10">
                  <c:v>2.8439725189245424E-2</c:v>
                </c:pt>
                <c:pt idx="11">
                  <c:v>2.8481575446516888E-2</c:v>
                </c:pt>
                <c:pt idx="12">
                  <c:v>3.0108594349578348E-2</c:v>
                </c:pt>
                <c:pt idx="13">
                  <c:v>3.169054387055209E-2</c:v>
                </c:pt>
                <c:pt idx="14">
                  <c:v>3.1465934595702259E-2</c:v>
                </c:pt>
                <c:pt idx="15">
                  <c:v>3.1477667841337743E-2</c:v>
                </c:pt>
                <c:pt idx="16">
                  <c:v>3.1573121681829512E-2</c:v>
                </c:pt>
                <c:pt idx="17">
                  <c:v>3.1532924296196564E-2</c:v>
                </c:pt>
                <c:pt idx="18">
                  <c:v>3.0515660900336583E-2</c:v>
                </c:pt>
                <c:pt idx="19">
                  <c:v>3.0211789143868836E-2</c:v>
                </c:pt>
                <c:pt idx="20">
                  <c:v>2.8955614795748236E-2</c:v>
                </c:pt>
                <c:pt idx="21">
                  <c:v>3.2772131418724967E-2</c:v>
                </c:pt>
                <c:pt idx="22">
                  <c:v>3.3542665870490845E-2</c:v>
                </c:pt>
                <c:pt idx="23">
                  <c:v>3.3435184307609174E-2</c:v>
                </c:pt>
                <c:pt idx="24">
                  <c:v>3.268271460365052E-2</c:v>
                </c:pt>
                <c:pt idx="25">
                  <c:v>3.3870059534782497E-2</c:v>
                </c:pt>
                <c:pt idx="26">
                  <c:v>3.3073079926514877E-2</c:v>
                </c:pt>
                <c:pt idx="27">
                  <c:v>3.1808643842456727E-2</c:v>
                </c:pt>
                <c:pt idx="28">
                  <c:v>3.0502176751221188E-2</c:v>
                </c:pt>
                <c:pt idx="29">
                  <c:v>2.7906678470255915E-2</c:v>
                </c:pt>
                <c:pt idx="30">
                  <c:v>2.5033266393526828E-2</c:v>
                </c:pt>
                <c:pt idx="31">
                  <c:v>2.630903103630991E-2</c:v>
                </c:pt>
                <c:pt idx="32">
                  <c:v>2.8693045313762239E-2</c:v>
                </c:pt>
                <c:pt idx="33">
                  <c:v>3.2596808075387743E-2</c:v>
                </c:pt>
                <c:pt idx="34">
                  <c:v>3.3462836223474769E-2</c:v>
                </c:pt>
                <c:pt idx="35">
                  <c:v>3.1780988069129081E-2</c:v>
                </c:pt>
                <c:pt idx="36">
                  <c:v>3.2997078119396075E-2</c:v>
                </c:pt>
                <c:pt idx="37">
                  <c:v>3.4241810296995578E-2</c:v>
                </c:pt>
                <c:pt idx="38">
                  <c:v>3.5259393566231922E-2</c:v>
                </c:pt>
                <c:pt idx="39">
                  <c:v>3.2524924643797831E-2</c:v>
                </c:pt>
                <c:pt idx="40">
                  <c:v>2.8308242375685959E-2</c:v>
                </c:pt>
                <c:pt idx="41">
                  <c:v>2.54404048951909E-2</c:v>
                </c:pt>
                <c:pt idx="42">
                  <c:v>2.3287513921568817E-2</c:v>
                </c:pt>
                <c:pt idx="43">
                  <c:v>2.3365554652546534E-2</c:v>
                </c:pt>
                <c:pt idx="44">
                  <c:v>2.3054756675168077E-2</c:v>
                </c:pt>
                <c:pt idx="45">
                  <c:v>2.3566114628330095E-2</c:v>
                </c:pt>
                <c:pt idx="46">
                  <c:v>2.5888630394799238E-2</c:v>
                </c:pt>
                <c:pt idx="47">
                  <c:v>2.6265547596405793E-2</c:v>
                </c:pt>
                <c:pt idx="48">
                  <c:v>2.7412822111043234E-2</c:v>
                </c:pt>
                <c:pt idx="49">
                  <c:v>2.5962622488181153E-2</c:v>
                </c:pt>
                <c:pt idx="50">
                  <c:v>2.4525712064247307E-2</c:v>
                </c:pt>
                <c:pt idx="51">
                  <c:v>2.4473274634488791E-2</c:v>
                </c:pt>
                <c:pt idx="52">
                  <c:v>3.1101577984060602E-2</c:v>
                </c:pt>
                <c:pt idx="53">
                  <c:v>3.3390590546211449E-2</c:v>
                </c:pt>
                <c:pt idx="54">
                  <c:v>2.4773509299877497E-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40737801608579088"/>
          <c:min val="0.18705920295984374"/>
        </c:scaling>
        <c:delete val="0"/>
        <c:axPos val="b"/>
        <c:title>
          <c:tx>
            <c:rich>
              <a:bodyPr rot="0" spcFirstLastPara="1" vertOverflow="ellipsis" vert="horz" wrap="square" anchor="ctr" anchorCtr="1"/>
              <a:lstStyle/>
              <a:p>
                <a:pPr>
                  <a:defRPr sz="800" b="0">
                    <a:latin typeface="Nexa Bold"/>
                  </a:defRPr>
                </a:pPr>
                <a:r>
                  <a:rPr lang="en-US"/>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1291069944164441</c:v>
                </c:pt>
                <c:pt idx="1">
                  <c:v>0.13485892486555889</c:v>
                </c:pt>
                <c:pt idx="2">
                  <c:v>0.13361697278764331</c:v>
                </c:pt>
                <c:pt idx="3">
                  <c:v>0.13181455947245191</c:v>
                </c:pt>
                <c:pt idx="4">
                  <c:v>0.13079849733141291</c:v>
                </c:pt>
                <c:pt idx="5">
                  <c:v>0.12786527339341361</c:v>
                </c:pt>
                <c:pt idx="6">
                  <c:v>0.13389772495720559</c:v>
                </c:pt>
                <c:pt idx="7">
                  <c:v>0.1359519354250221</c:v>
                </c:pt>
                <c:pt idx="8">
                  <c:v>0.13408395448492219</c:v>
                </c:pt>
                <c:pt idx="9">
                  <c:v>0.1272173036352085</c:v>
                </c:pt>
                <c:pt idx="10">
                  <c:v>0.12580154817273331</c:v>
                </c:pt>
                <c:pt idx="11">
                  <c:v>0.1247833670603628</c:v>
                </c:pt>
                <c:pt idx="12">
                  <c:v>0.12616612542700109</c:v>
                </c:pt>
                <c:pt idx="13">
                  <c:v>0.13426073846412021</c:v>
                </c:pt>
                <c:pt idx="14">
                  <c:v>0.13040345544745011</c:v>
                </c:pt>
                <c:pt idx="15">
                  <c:v>0.12568196098787579</c:v>
                </c:pt>
                <c:pt idx="16">
                  <c:v>0.1284543866213313</c:v>
                </c:pt>
                <c:pt idx="17">
                  <c:v>0.13252000199740169</c:v>
                </c:pt>
                <c:pt idx="18">
                  <c:v>0.12612196270786419</c:v>
                </c:pt>
                <c:pt idx="19">
                  <c:v>0.13496886950214251</c:v>
                </c:pt>
                <c:pt idx="20">
                  <c:v>0.13064933940560819</c:v>
                </c:pt>
                <c:pt idx="21">
                  <c:v>0.12635635491031241</c:v>
                </c:pt>
                <c:pt idx="22">
                  <c:v>0.12863609693980929</c:v>
                </c:pt>
                <c:pt idx="23">
                  <c:v>0.13116494310893009</c:v>
                </c:pt>
                <c:pt idx="24">
                  <c:v>0.1278058186678292</c:v>
                </c:pt>
                <c:pt idx="25">
                  <c:v>0.1235932293079324</c:v>
                </c:pt>
                <c:pt idx="26">
                  <c:v>0.12290934252239009</c:v>
                </c:pt>
                <c:pt idx="27">
                  <c:v>0.12109503765009599</c:v>
                </c:pt>
                <c:pt idx="28">
                  <c:v>0.12207135397276341</c:v>
                </c:pt>
                <c:pt idx="29">
                  <c:v>0.1263122981136704</c:v>
                </c:pt>
                <c:pt idx="30">
                  <c:v>0.1263263635992006</c:v>
                </c:pt>
                <c:pt idx="31">
                  <c:v>0.12476889875077329</c:v>
                </c:pt>
                <c:pt idx="32">
                  <c:v>0.12674353123399981</c:v>
                </c:pt>
                <c:pt idx="33">
                  <c:v>0.12588695742723971</c:v>
                </c:pt>
                <c:pt idx="34">
                  <c:v>0.12390000002667199</c:v>
                </c:pt>
                <c:pt idx="35">
                  <c:v>0.12440850519118039</c:v>
                </c:pt>
                <c:pt idx="36">
                  <c:v>0.12336288941275771</c:v>
                </c:pt>
                <c:pt idx="37">
                  <c:v>0.1236579395008299</c:v>
                </c:pt>
                <c:pt idx="38">
                  <c:v>0.1244360084590832</c:v>
                </c:pt>
                <c:pt idx="39">
                  <c:v>0.12224083915887329</c:v>
                </c:pt>
                <c:pt idx="40">
                  <c:v>0.1219327444047168</c:v>
                </c:pt>
                <c:pt idx="41">
                  <c:v>0.1250560323566518</c:v>
                </c:pt>
                <c:pt idx="42">
                  <c:v>0.12745512740440279</c:v>
                </c:pt>
                <c:pt idx="43">
                  <c:v>0.1211984894858895</c:v>
                </c:pt>
                <c:pt idx="44">
                  <c:v>0.1258670226690102</c:v>
                </c:pt>
                <c:pt idx="45">
                  <c:v>0.1272339848348821</c:v>
                </c:pt>
                <c:pt idx="46">
                  <c:v>0.13490346412193621</c:v>
                </c:pt>
                <c:pt idx="47">
                  <c:v>0.1232399985423943</c:v>
                </c:pt>
                <c:pt idx="48">
                  <c:v>0.12311641114157899</c:v>
                </c:pt>
                <c:pt idx="49">
                  <c:v>0.1234350759255986</c:v>
                </c:pt>
                <c:pt idx="50">
                  <c:v>0.12419744604278141</c:v>
                </c:pt>
                <c:pt idx="51">
                  <c:v>0.13145508336915421</c:v>
                </c:pt>
                <c:pt idx="52">
                  <c:v>0.13109930113357529</c:v>
                </c:pt>
                <c:pt idx="53">
                  <c:v>0.13568928560863899</c:v>
                </c:pt>
                <c:pt idx="54">
                  <c:v>0.1285210371531505</c:v>
                </c:pt>
                <c:pt idx="55">
                  <c:v>0.1300753516373136</c:v>
                </c:pt>
                <c:pt idx="56">
                  <c:v>0.12489749950473671</c:v>
                </c:pt>
                <c:pt idx="57">
                  <c:v>0.10266521645136149</c:v>
                </c:pt>
                <c:pt idx="58">
                  <c:v>9.4621929093130358E-2</c:v>
                </c:pt>
                <c:pt idx="59">
                  <c:v>9.8212612965823731E-2</c:v>
                </c:pt>
                <c:pt idx="60">
                  <c:v>0.1102654339127445</c:v>
                </c:pt>
                <c:pt idx="61">
                  <c:v>0.1086326326560431</c:v>
                </c:pt>
                <c:pt idx="62">
                  <c:v>0.10273100071317991</c:v>
                </c:pt>
                <c:pt idx="63">
                  <c:v>0.1056131313298932</c:v>
                </c:pt>
                <c:pt idx="64">
                  <c:v>0.116037952360732</c:v>
                </c:pt>
                <c:pt idx="65">
                  <c:v>0.13065683342069531</c:v>
                </c:pt>
                <c:pt idx="66">
                  <c:v>0.132712182958446</c:v>
                </c:pt>
                <c:pt idx="67">
                  <c:v>0.12498087731066</c:v>
                </c:pt>
                <c:pt idx="68">
                  <c:v>0.1318623648264734</c:v>
                </c:pt>
                <c:pt idx="69">
                  <c:v>0.13405085209231629</c:v>
                </c:pt>
                <c:pt idx="70">
                  <c:v>0.12663942767242409</c:v>
                </c:pt>
                <c:pt idx="71">
                  <c:v>0.13715997078444109</c:v>
                </c:pt>
                <c:pt idx="72">
                  <c:v>0.1312699287114284</c:v>
                </c:pt>
                <c:pt idx="73">
                  <c:v>0.1290474255800157</c:v>
                </c:pt>
                <c:pt idx="74">
                  <c:v>0.12976627424972709</c:v>
                </c:pt>
                <c:pt idx="75">
                  <c:v>0.12686829869724861</c:v>
                </c:pt>
                <c:pt idx="76">
                  <c:v>0.1253623579280761</c:v>
                </c:pt>
                <c:pt idx="77">
                  <c:v>0.12968156222074531</c:v>
                </c:pt>
                <c:pt idx="78">
                  <c:v>0.12750329032649099</c:v>
                </c:pt>
                <c:pt idx="79">
                  <c:v>0.12461050546445129</c:v>
                </c:pt>
                <c:pt idx="80">
                  <c:v>0.12900335189603049</c:v>
                </c:pt>
                <c:pt idx="81">
                  <c:v>0.12741746962889991</c:v>
                </c:pt>
                <c:pt idx="82">
                  <c:v>0.1227246355993528</c:v>
                </c:pt>
                <c:pt idx="83">
                  <c:v>0.12325497363003669</c:v>
                </c:pt>
                <c:pt idx="84">
                  <c:v>0.1237777050026681</c:v>
                </c:pt>
                <c:pt idx="85">
                  <c:v>0.1227618684932686</c:v>
                </c:pt>
                <c:pt idx="86">
                  <c:v>0.12625273778634091</c:v>
                </c:pt>
                <c:pt idx="87">
                  <c:v>0.12848401925218161</c:v>
                </c:pt>
                <c:pt idx="88">
                  <c:v>0.12808991008793849</c:v>
                </c:pt>
                <c:pt idx="89">
                  <c:v>0.12669599383578639</c:v>
                </c:pt>
                <c:pt idx="90">
                  <c:v>0.128457244567205</c:v>
                </c:pt>
                <c:pt idx="91">
                  <c:v>0.1287495738807907</c:v>
                </c:pt>
                <c:pt idx="92">
                  <c:v>0.12753778198649329</c:v>
                </c:pt>
                <c:pt idx="93">
                  <c:v>0.12858384689357691</c:v>
                </c:pt>
                <c:pt idx="94">
                  <c:v>0.13053873342212541</c:v>
                </c:pt>
                <c:pt idx="95">
                  <c:v>0.1283681251237693</c:v>
                </c:pt>
                <c:pt idx="96">
                  <c:v>0.12712219330013799</c:v>
                </c:pt>
                <c:pt idx="97">
                  <c:v>0.12537888942730019</c:v>
                </c:pt>
                <c:pt idx="98">
                  <c:v>0.12745921704595151</c:v>
                </c:pt>
                <c:pt idx="99">
                  <c:v>0.1212266665697815</c:v>
                </c:pt>
                <c:pt idx="100">
                  <c:v>0.1141728668578047</c:v>
                </c:pt>
                <c:pt idx="101">
                  <c:v>0.115957494325048</c:v>
                </c:pt>
              </c:numCache>
            </c:numRef>
          </c:xVal>
          <c:yVal>
            <c:numRef>
              <c:f>Sheet1!$B$2:$B$103</c:f>
              <c:numCache>
                <c:formatCode>General</c:formatCode>
                <c:ptCount val="102"/>
                <c:pt idx="0">
                  <c:v>3.1549194168607013E-2</c:v>
                </c:pt>
                <c:pt idx="1">
                  <c:v>2.5925076493376501E-2</c:v>
                </c:pt>
                <c:pt idx="2">
                  <c:v>1.9457371147598559E-2</c:v>
                </c:pt>
                <c:pt idx="3">
                  <c:v>2.1005226955186751E-2</c:v>
                </c:pt>
                <c:pt idx="4">
                  <c:v>2.3683174888924512E-2</c:v>
                </c:pt>
                <c:pt idx="5">
                  <c:v>2.481491169212223E-2</c:v>
                </c:pt>
                <c:pt idx="6">
                  <c:v>2.2966901329024649E-2</c:v>
                </c:pt>
                <c:pt idx="7">
                  <c:v>2.1693356757167159E-2</c:v>
                </c:pt>
                <c:pt idx="8">
                  <c:v>2.508474647577718E-2</c:v>
                </c:pt>
                <c:pt idx="9">
                  <c:v>3.2219360006132687E-2</c:v>
                </c:pt>
                <c:pt idx="10">
                  <c:v>3.3455366889535383E-2</c:v>
                </c:pt>
                <c:pt idx="11">
                  <c:v>3.077420503855852E-2</c:v>
                </c:pt>
                <c:pt idx="12">
                  <c:v>3.166311843777065E-2</c:v>
                </c:pt>
                <c:pt idx="13">
                  <c:v>2.9573633835338661E-2</c:v>
                </c:pt>
                <c:pt idx="14">
                  <c:v>2.943829474961886E-2</c:v>
                </c:pt>
                <c:pt idx="15">
                  <c:v>3.2326555355538883E-2</c:v>
                </c:pt>
                <c:pt idx="16">
                  <c:v>3.045418321235838E-2</c:v>
                </c:pt>
                <c:pt idx="17">
                  <c:v>3.0177244147381321E-2</c:v>
                </c:pt>
                <c:pt idx="18">
                  <c:v>3.0949579617420529E-2</c:v>
                </c:pt>
                <c:pt idx="19">
                  <c:v>3.3044676701229417E-2</c:v>
                </c:pt>
                <c:pt idx="20">
                  <c:v>3.4502368865567047E-2</c:v>
                </c:pt>
                <c:pt idx="21">
                  <c:v>3.8171203781773647E-2</c:v>
                </c:pt>
                <c:pt idx="22">
                  <c:v>3.2633840746857157E-2</c:v>
                </c:pt>
                <c:pt idx="23">
                  <c:v>3.22851825867847E-2</c:v>
                </c:pt>
                <c:pt idx="24">
                  <c:v>3.4293774474369272E-2</c:v>
                </c:pt>
                <c:pt idx="25">
                  <c:v>3.3493331489235549E-2</c:v>
                </c:pt>
                <c:pt idx="26">
                  <c:v>3.2256296982208908E-2</c:v>
                </c:pt>
                <c:pt idx="27">
                  <c:v>3.256327154323236E-2</c:v>
                </c:pt>
                <c:pt idx="28">
                  <c:v>3.0215972855570969E-2</c:v>
                </c:pt>
                <c:pt idx="29">
                  <c:v>2.971323515475446E-2</c:v>
                </c:pt>
                <c:pt idx="30">
                  <c:v>2.9886044202056931E-2</c:v>
                </c:pt>
                <c:pt idx="31">
                  <c:v>3.0113049153545669E-2</c:v>
                </c:pt>
                <c:pt idx="32">
                  <c:v>3.0121682992946059E-2</c:v>
                </c:pt>
                <c:pt idx="33">
                  <c:v>2.8704102443482309E-2</c:v>
                </c:pt>
                <c:pt idx="34">
                  <c:v>3.0602403901330309E-2</c:v>
                </c:pt>
                <c:pt idx="35">
                  <c:v>3.1456536502498793E-2</c:v>
                </c:pt>
                <c:pt idx="36">
                  <c:v>3.1516667937295108E-2</c:v>
                </c:pt>
                <c:pt idx="37">
                  <c:v>3.3226585884057157E-2</c:v>
                </c:pt>
                <c:pt idx="38">
                  <c:v>3.3016326225624587E-2</c:v>
                </c:pt>
                <c:pt idx="39">
                  <c:v>3.0075909553288729E-2</c:v>
                </c:pt>
                <c:pt idx="40">
                  <c:v>3.030822714314705E-2</c:v>
                </c:pt>
                <c:pt idx="41">
                  <c:v>3.1273537834975489E-2</c:v>
                </c:pt>
                <c:pt idx="42">
                  <c:v>3.005901690014778E-2</c:v>
                </c:pt>
                <c:pt idx="43">
                  <c:v>3.0573863083611631E-2</c:v>
                </c:pt>
                <c:pt idx="44">
                  <c:v>3.254448153409624E-2</c:v>
                </c:pt>
                <c:pt idx="45">
                  <c:v>3.2420025270644671E-2</c:v>
                </c:pt>
                <c:pt idx="46">
                  <c:v>3.0841270586476861E-2</c:v>
                </c:pt>
                <c:pt idx="47">
                  <c:v>3.4545476528939613E-2</c:v>
                </c:pt>
                <c:pt idx="48">
                  <c:v>3.9378011399146942E-2</c:v>
                </c:pt>
                <c:pt idx="49">
                  <c:v>3.4585845792310457E-2</c:v>
                </c:pt>
                <c:pt idx="50">
                  <c:v>3.6889295123608737E-2</c:v>
                </c:pt>
                <c:pt idx="51">
                  <c:v>3.516974061970235E-2</c:v>
                </c:pt>
                <c:pt idx="52">
                  <c:v>3.3440411726256947E-2</c:v>
                </c:pt>
                <c:pt idx="53">
                  <c:v>3.0775515895011849E-2</c:v>
                </c:pt>
                <c:pt idx="54">
                  <c:v>2.856172806220978E-2</c:v>
                </c:pt>
                <c:pt idx="55">
                  <c:v>2.9260191711765832E-2</c:v>
                </c:pt>
                <c:pt idx="56">
                  <c:v>3.1178692703543051E-2</c:v>
                </c:pt>
                <c:pt idx="57">
                  <c:v>3.7031471681131703E-2</c:v>
                </c:pt>
                <c:pt idx="58">
                  <c:v>3.9909501581123753E-2</c:v>
                </c:pt>
                <c:pt idx="59">
                  <c:v>3.3090443177845791E-2</c:v>
                </c:pt>
                <c:pt idx="60">
                  <c:v>2.0429936026239701E-2</c:v>
                </c:pt>
                <c:pt idx="61">
                  <c:v>1.594233918003489E-2</c:v>
                </c:pt>
                <c:pt idx="62">
                  <c:v>2.6561543645322629E-2</c:v>
                </c:pt>
                <c:pt idx="63">
                  <c:v>3.5068893654044378E-2</c:v>
                </c:pt>
                <c:pt idx="64">
                  <c:v>3.0967228847484721E-2</c:v>
                </c:pt>
                <c:pt idx="65">
                  <c:v>2.602705616299417E-2</c:v>
                </c:pt>
                <c:pt idx="66">
                  <c:v>2.587150374122359E-2</c:v>
                </c:pt>
                <c:pt idx="67">
                  <c:v>2.691260699372984E-2</c:v>
                </c:pt>
                <c:pt idx="68">
                  <c:v>2.5874418970458959E-2</c:v>
                </c:pt>
                <c:pt idx="69">
                  <c:v>2.3193315376484971E-2</c:v>
                </c:pt>
                <c:pt idx="70">
                  <c:v>2.2686657383630061E-2</c:v>
                </c:pt>
                <c:pt idx="71">
                  <c:v>2.6189284143623481E-2</c:v>
                </c:pt>
                <c:pt idx="72">
                  <c:v>2.7336338114147821E-2</c:v>
                </c:pt>
                <c:pt idx="73">
                  <c:v>2.7740990571672709E-2</c:v>
                </c:pt>
                <c:pt idx="74">
                  <c:v>2.877527311984417E-2</c:v>
                </c:pt>
                <c:pt idx="75">
                  <c:v>2.8510329318482429E-2</c:v>
                </c:pt>
                <c:pt idx="76">
                  <c:v>2.7909474603405621E-2</c:v>
                </c:pt>
                <c:pt idx="77">
                  <c:v>2.354699792786898E-2</c:v>
                </c:pt>
                <c:pt idx="78">
                  <c:v>2.3516397046911521E-2</c:v>
                </c:pt>
                <c:pt idx="79">
                  <c:v>2.2115174941799771E-2</c:v>
                </c:pt>
                <c:pt idx="80">
                  <c:v>2.2268202762568419E-2</c:v>
                </c:pt>
                <c:pt idx="81">
                  <c:v>2.1244426266941788E-2</c:v>
                </c:pt>
                <c:pt idx="82">
                  <c:v>3.1177386289303839E-2</c:v>
                </c:pt>
                <c:pt idx="83">
                  <c:v>2.630647686699077E-2</c:v>
                </c:pt>
                <c:pt idx="84">
                  <c:v>2.5524833007679371E-2</c:v>
                </c:pt>
                <c:pt idx="85">
                  <c:v>2.6871534411513371E-2</c:v>
                </c:pt>
                <c:pt idx="86">
                  <c:v>2.6338851413823881E-2</c:v>
                </c:pt>
                <c:pt idx="87">
                  <c:v>2.464870108961555E-2</c:v>
                </c:pt>
                <c:pt idx="88">
                  <c:v>2.6238033764437702E-2</c:v>
                </c:pt>
                <c:pt idx="89">
                  <c:v>3.0191859532939729E-2</c:v>
                </c:pt>
                <c:pt idx="90">
                  <c:v>3.071685169632082E-2</c:v>
                </c:pt>
                <c:pt idx="91">
                  <c:v>3.1790352756617277E-2</c:v>
                </c:pt>
                <c:pt idx="92">
                  <c:v>2.9789485452214989E-2</c:v>
                </c:pt>
                <c:pt idx="93">
                  <c:v>2.7419432969366012E-2</c:v>
                </c:pt>
                <c:pt idx="94">
                  <c:v>2.5375304588112151E-2</c:v>
                </c:pt>
                <c:pt idx="95">
                  <c:v>2.727143524464504E-2</c:v>
                </c:pt>
                <c:pt idx="96">
                  <c:v>2.430072520573312E-2</c:v>
                </c:pt>
                <c:pt idx="97">
                  <c:v>2.5953063658202231E-2</c:v>
                </c:pt>
                <c:pt idx="98">
                  <c:v>2.870484051773789E-2</c:v>
                </c:pt>
                <c:pt idx="99">
                  <c:v>3.0161179689259059E-2</c:v>
                </c:pt>
                <c:pt idx="100">
                  <c:v>3.7558407981539428E-2</c:v>
                </c:pt>
                <c:pt idx="101">
                  <c:v>3.5796970668813113E-2</c:v>
                </c:pt>
              </c:numCache>
            </c:numRef>
          </c:yVal>
          <c:smooth val="0"/>
          <c:extLst>
            <c:ext xmlns:c16="http://schemas.microsoft.com/office/drawing/2014/chart" uri="{C3380CC4-5D6E-409C-BE32-E72D297353CC}">
              <c16:uniqueId val="{00000000-096C-4121-9522-6AB7243CCAAE}"/>
            </c:ext>
          </c:extLst>
        </c:ser>
        <c:ser>
          <c:idx val="1"/>
          <c:order val="1"/>
          <c:tx>
            <c:strRef>
              <c:f>Sheet1!$B$10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6:$A$157</c:f>
              <c:numCache>
                <c:formatCode>General</c:formatCode>
                <c:ptCount val="52"/>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numCache>
            </c:numRef>
          </c:xVal>
          <c:yVal>
            <c:numRef>
              <c:f>Sheet1!$B$106:$B$157</c:f>
              <c:numCache>
                <c:formatCode>General</c:formatCode>
                <c:ptCount val="52"/>
                <c:pt idx="0">
                  <c:v>3.3379430772150658E-2</c:v>
                </c:pt>
                <c:pt idx="1">
                  <c:v>3.5297770608354727E-2</c:v>
                </c:pt>
                <c:pt idx="2">
                  <c:v>3.603152077608085E-2</c:v>
                </c:pt>
                <c:pt idx="3">
                  <c:v>3.0978674639028671E-2</c:v>
                </c:pt>
                <c:pt idx="4">
                  <c:v>2.8133515753956471E-2</c:v>
                </c:pt>
                <c:pt idx="5">
                  <c:v>2.7512069607189622E-2</c:v>
                </c:pt>
                <c:pt idx="6">
                  <c:v>2.753590860107619E-2</c:v>
                </c:pt>
                <c:pt idx="7">
                  <c:v>2.7306049137985969E-2</c:v>
                </c:pt>
                <c:pt idx="8">
                  <c:v>2.683860754587173E-2</c:v>
                </c:pt>
                <c:pt idx="9">
                  <c:v>2.8577136215520639E-2</c:v>
                </c:pt>
                <c:pt idx="10">
                  <c:v>2.9045708307140341E-2</c:v>
                </c:pt>
                <c:pt idx="11">
                  <c:v>3.0151694267354031E-2</c:v>
                </c:pt>
                <c:pt idx="12">
                  <c:v>3.1278274774940933E-2</c:v>
                </c:pt>
                <c:pt idx="13">
                  <c:v>3.2623144271831599E-2</c:v>
                </c:pt>
                <c:pt idx="14">
                  <c:v>3.2081452766552027E-2</c:v>
                </c:pt>
                <c:pt idx="15">
                  <c:v>2.8476513020004542E-2</c:v>
                </c:pt>
                <c:pt idx="16">
                  <c:v>2.889792926206242E-2</c:v>
                </c:pt>
                <c:pt idx="17">
                  <c:v>2.8572345272906731E-2</c:v>
                </c:pt>
                <c:pt idx="18">
                  <c:v>2.758215728763419E-2</c:v>
                </c:pt>
                <c:pt idx="19">
                  <c:v>2.6684207925807661E-2</c:v>
                </c:pt>
                <c:pt idx="20">
                  <c:v>2.507409816863837E-2</c:v>
                </c:pt>
                <c:pt idx="21">
                  <c:v>3.7053775555914388E-2</c:v>
                </c:pt>
                <c:pt idx="22">
                  <c:v>4.1201839145334811E-2</c:v>
                </c:pt>
                <c:pt idx="23">
                  <c:v>3.952108516249337E-2</c:v>
                </c:pt>
                <c:pt idx="24">
                  <c:v>3.301132678213544E-2</c:v>
                </c:pt>
                <c:pt idx="25">
                  <c:v>3.4672282379825628E-2</c:v>
                </c:pt>
                <c:pt idx="26">
                  <c:v>3.6478521099227869E-2</c:v>
                </c:pt>
                <c:pt idx="27">
                  <c:v>3.1719960612283417E-2</c:v>
                </c:pt>
                <c:pt idx="28">
                  <c:v>2.9844699099281859E-2</c:v>
                </c:pt>
                <c:pt idx="29">
                  <c:v>2.824703792935155E-2</c:v>
                </c:pt>
                <c:pt idx="30">
                  <c:v>2.3926861689124789E-2</c:v>
                </c:pt>
                <c:pt idx="31">
                  <c:v>2.077067140814904E-2</c:v>
                </c:pt>
                <c:pt idx="32">
                  <c:v>2.3460558709885782E-2</c:v>
                </c:pt>
                <c:pt idx="33">
                  <c:v>3.042796286207031E-2</c:v>
                </c:pt>
                <c:pt idx="34">
                  <c:v>3.1037706913624011E-2</c:v>
                </c:pt>
                <c:pt idx="35">
                  <c:v>2.928997264422914E-2</c:v>
                </c:pt>
                <c:pt idx="36">
                  <c:v>2.9697936908540851E-2</c:v>
                </c:pt>
                <c:pt idx="37">
                  <c:v>3.0248130900335801E-2</c:v>
                </c:pt>
                <c:pt idx="38">
                  <c:v>3.5070387750061743E-2</c:v>
                </c:pt>
                <c:pt idx="39">
                  <c:v>3.120833777020552E-2</c:v>
                </c:pt>
                <c:pt idx="40">
                  <c:v>2.682679016675503E-2</c:v>
                </c:pt>
                <c:pt idx="41">
                  <c:v>2.4203784771293649E-2</c:v>
                </c:pt>
                <c:pt idx="42">
                  <c:v>2.4098053977022381E-2</c:v>
                </c:pt>
                <c:pt idx="43">
                  <c:v>2.4523754132153151E-2</c:v>
                </c:pt>
                <c:pt idx="44">
                  <c:v>2.2379504666963371E-2</c:v>
                </c:pt>
                <c:pt idx="45">
                  <c:v>2.104065524243157E-2</c:v>
                </c:pt>
                <c:pt idx="46">
                  <c:v>2.202824012890214E-2</c:v>
                </c:pt>
                <c:pt idx="47">
                  <c:v>2.3321641522021069E-2</c:v>
                </c:pt>
                <c:pt idx="48">
                  <c:v>2.5721900660138009E-2</c:v>
                </c:pt>
                <c:pt idx="49">
                  <c:v>2.4967370312040962E-2</c:v>
                </c:pt>
                <c:pt idx="50">
                  <c:v>2.603335979145837E-2</c:v>
                </c:pt>
                <c:pt idx="51">
                  <c:v>2.5702227757022279E-2</c:v>
                </c:pt>
              </c:numCache>
            </c:numRef>
          </c:yVal>
          <c:smooth val="0"/>
          <c:extLst>
            <c:ext xmlns:c16="http://schemas.microsoft.com/office/drawing/2014/chart" uri="{C3380CC4-5D6E-409C-BE32-E72D297353CC}">
              <c16:uniqueId val="{00000002-096C-4121-9522-6AB7243CCAAE}"/>
            </c:ext>
          </c:extLst>
        </c:ser>
        <c:ser>
          <c:idx val="2"/>
          <c:order val="2"/>
          <c:tx>
            <c:strRef>
              <c:f>Sheet1!$B$15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0:$A$161</c:f>
              <c:numCache>
                <c:formatCode>General</c:formatCode>
                <c:ptCount val="2"/>
                <c:pt idx="0">
                  <c:v>0</c:v>
                </c:pt>
                <c:pt idx="1">
                  <c:v>0.1108820277239114</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5-096C-4121-9522-6AB7243CCAAE}"/>
            </c:ext>
          </c:extLst>
        </c:ser>
        <c:ser>
          <c:idx val="3"/>
          <c:order val="3"/>
          <c:tx>
            <c:strRef>
              <c:f>Sheet1!$B$16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0.1108820277239114</c:v>
                </c:pt>
                <c:pt idx="1">
                  <c:v>0.1108820277239114</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8:$A$169</c:f>
              <c:numCache>
                <c:formatCode>General</c:formatCode>
                <c:ptCount val="2"/>
                <c:pt idx="0">
                  <c:v>0</c:v>
                </c:pt>
                <c:pt idx="1">
                  <c:v>0.11732114474802791</c:v>
                </c:pt>
              </c:numCache>
            </c:numRef>
          </c:xVal>
          <c:yVal>
            <c:numRef>
              <c:f>Sheet1!$B$168:$B$169</c:f>
              <c:numCache>
                <c:formatCode>General</c:formatCode>
                <c:ptCount val="2"/>
                <c:pt idx="0">
                  <c:v>3.1101577984060609E-2</c:v>
                </c:pt>
                <c:pt idx="1">
                  <c:v>3.1101577984060609E-2</c:v>
                </c:pt>
              </c:numCache>
            </c:numRef>
          </c:yVal>
          <c:smooth val="0"/>
          <c:extLst>
            <c:ext xmlns:c16="http://schemas.microsoft.com/office/drawing/2014/chart" uri="{C3380CC4-5D6E-409C-BE32-E72D297353CC}">
              <c16:uniqueId val="{0000000D-096C-4121-9522-6AB7243CCAAE}"/>
            </c:ext>
          </c:extLst>
        </c:ser>
        <c:ser>
          <c:idx val="5"/>
          <c:order val="5"/>
          <c:tx>
            <c:strRef>
              <c:f>Sheet1!$B$17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0.11732114474802791</c:v>
                </c:pt>
                <c:pt idx="1">
                  <c:v>0.11732114474802791</c:v>
                </c:pt>
              </c:numCache>
            </c:numRef>
          </c:xVal>
          <c:yVal>
            <c:numRef>
              <c:f>Sheet1!$B$172:$B$173</c:f>
              <c:numCache>
                <c:formatCode>General</c:formatCode>
                <c:ptCount val="2"/>
                <c:pt idx="0">
                  <c:v>3.1101577984060609E-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6:$A$177</c:f>
              <c:numCache>
                <c:formatCode>General</c:formatCode>
                <c:ptCount val="2"/>
                <c:pt idx="0">
                  <c:v>0</c:v>
                </c:pt>
                <c:pt idx="1">
                  <c:v>0.13512234665834599</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5-096C-4121-9522-6AB7243CCAAE}"/>
            </c:ext>
          </c:extLst>
        </c:ser>
        <c:ser>
          <c:idx val="7"/>
          <c:order val="7"/>
          <c:tx>
            <c:strRef>
              <c:f>Sheet1!$B$17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0:$A$181</c:f>
              <c:numCache>
                <c:formatCode>General</c:formatCode>
                <c:ptCount val="2"/>
                <c:pt idx="0">
                  <c:v>0.13512234665834599</c:v>
                </c:pt>
                <c:pt idx="1">
                  <c:v>0.13512234665834599</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4:$A$238</c:f>
              <c:numCache>
                <c:formatCode>General</c:formatCode>
                <c:ptCount val="55"/>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pt idx="52">
                  <c:v>0.11732114474802791</c:v>
                </c:pt>
                <c:pt idx="53">
                  <c:v>0.1108820277239114</c:v>
                </c:pt>
                <c:pt idx="54">
                  <c:v>0.13512234665834599</c:v>
                </c:pt>
              </c:numCache>
            </c:numRef>
          </c:xVal>
          <c:yVal>
            <c:numRef>
              <c:f>Sheet1!$B$184:$B$238</c:f>
              <c:numCache>
                <c:formatCode>General</c:formatCode>
                <c:ptCount val="55"/>
                <c:pt idx="0">
                  <c:v>3.1620668745252142E-2</c:v>
                </c:pt>
                <c:pt idx="1">
                  <c:v>3.1654790245678951E-2</c:v>
                </c:pt>
                <c:pt idx="2">
                  <c:v>3.2783325344754151E-2</c:v>
                </c:pt>
                <c:pt idx="3">
                  <c:v>3.022688607526958E-2</c:v>
                </c:pt>
                <c:pt idx="4">
                  <c:v>2.8540776744242852E-2</c:v>
                </c:pt>
                <c:pt idx="5">
                  <c:v>2.8198639317480349E-2</c:v>
                </c:pt>
                <c:pt idx="6">
                  <c:v>2.8149354774764782E-2</c:v>
                </c:pt>
                <c:pt idx="7">
                  <c:v>2.8199004366077019E-2</c:v>
                </c:pt>
                <c:pt idx="8">
                  <c:v>3.0157282303857849E-2</c:v>
                </c:pt>
                <c:pt idx="9">
                  <c:v>2.9717490317624731E-2</c:v>
                </c:pt>
                <c:pt idx="10">
                  <c:v>2.880162617160174E-2</c:v>
                </c:pt>
                <c:pt idx="11">
                  <c:v>3.0799476543192809E-2</c:v>
                </c:pt>
                <c:pt idx="12">
                  <c:v>2.8080121278043681E-2</c:v>
                </c:pt>
                <c:pt idx="13">
                  <c:v>2.8247092051713919E-2</c:v>
                </c:pt>
                <c:pt idx="14">
                  <c:v>2.639540124703324E-2</c:v>
                </c:pt>
                <c:pt idx="15">
                  <c:v>1.9220157910636009E-2</c:v>
                </c:pt>
                <c:pt idx="16">
                  <c:v>2.9292926757015069E-2</c:v>
                </c:pt>
                <c:pt idx="17">
                  <c:v>2.9541107656935999E-2</c:v>
                </c:pt>
                <c:pt idx="18">
                  <c:v>3.1154431279754719E-2</c:v>
                </c:pt>
                <c:pt idx="19">
                  <c:v>2.9461129531890291E-2</c:v>
                </c:pt>
                <c:pt idx="20">
                  <c:v>3.0313783713891131E-2</c:v>
                </c:pt>
                <c:pt idx="21">
                  <c:v>3.3508822667282862E-2</c:v>
                </c:pt>
                <c:pt idx="22">
                  <c:v>3.4739165058279807E-2</c:v>
                </c:pt>
                <c:pt idx="23">
                  <c:v>3.3561500120319547E-2</c:v>
                </c:pt>
                <c:pt idx="24">
                  <c:v>3.0961282548418428E-2</c:v>
                </c:pt>
                <c:pt idx="25">
                  <c:v>3.325613118609181E-2</c:v>
                </c:pt>
                <c:pt idx="26">
                  <c:v>3.230935798656305E-2</c:v>
                </c:pt>
                <c:pt idx="27">
                  <c:v>3.0186042242885399E-2</c:v>
                </c:pt>
                <c:pt idx="28">
                  <c:v>2.9826699740302571E-2</c:v>
                </c:pt>
                <c:pt idx="29">
                  <c:v>2.8461825588360749E-2</c:v>
                </c:pt>
                <c:pt idx="30">
                  <c:v>2.6667445839888119E-2</c:v>
                </c:pt>
                <c:pt idx="31">
                  <c:v>2.9333797528733729E-2</c:v>
                </c:pt>
                <c:pt idx="32">
                  <c:v>2.8469462201818171E-2</c:v>
                </c:pt>
                <c:pt idx="33">
                  <c:v>3.1278574864500211E-2</c:v>
                </c:pt>
                <c:pt idx="34">
                  <c:v>3.362517184260494E-2</c:v>
                </c:pt>
                <c:pt idx="35">
                  <c:v>3.1259339751075838E-2</c:v>
                </c:pt>
                <c:pt idx="36">
                  <c:v>3.2466678789921898E-2</c:v>
                </c:pt>
                <c:pt idx="37">
                  <c:v>3.336561461501103E-2</c:v>
                </c:pt>
                <c:pt idx="38">
                  <c:v>3.1897061212580187E-2</c:v>
                </c:pt>
                <c:pt idx="39">
                  <c:v>3.0591232179052279E-2</c:v>
                </c:pt>
                <c:pt idx="40">
                  <c:v>2.6490890509876141E-2</c:v>
                </c:pt>
                <c:pt idx="41">
                  <c:v>2.5005655171483909E-2</c:v>
                </c:pt>
                <c:pt idx="42">
                  <c:v>2.471524594195228E-2</c:v>
                </c:pt>
                <c:pt idx="43">
                  <c:v>2.5740688254943609E-2</c:v>
                </c:pt>
                <c:pt idx="44">
                  <c:v>2.534241769031121E-2</c:v>
                </c:pt>
                <c:pt idx="45">
                  <c:v>2.5785004878787769E-2</c:v>
                </c:pt>
                <c:pt idx="46">
                  <c:v>2.6712805427711591E-2</c:v>
                </c:pt>
                <c:pt idx="47">
                  <c:v>2.6016063432124481E-2</c:v>
                </c:pt>
                <c:pt idx="48">
                  <c:v>2.645901837190287E-2</c:v>
                </c:pt>
                <c:pt idx="49">
                  <c:v>2.253097533810856E-2</c:v>
                </c:pt>
                <c:pt idx="50">
                  <c:v>2.3407974477709061E-2</c:v>
                </c:pt>
                <c:pt idx="51">
                  <c:v>2.5267129597052979E-2</c:v>
                </c:pt>
                <c:pt idx="52">
                  <c:v>3.1101577984060599E-2</c:v>
                </c:pt>
                <c:pt idx="53">
                  <c:v>3.3390590546211449E-2</c:v>
                </c:pt>
                <c:pt idx="54">
                  <c:v>2.47735092998775E-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18089307194123574"/>
          <c:min val="7.5697543274504286E-2"/>
        </c:scaling>
        <c:delete val="0"/>
        <c:axPos val="b"/>
        <c:title>
          <c:tx>
            <c:rich>
              <a:bodyPr rot="0" spcFirstLastPara="1" vertOverflow="ellipsis" vert="horz" wrap="square" anchor="ctr" anchorCtr="1"/>
              <a:lstStyle/>
              <a:p>
                <a:pPr>
                  <a:defRPr sz="800" b="0">
                    <a:solidFill>
                      <a:srgbClr val="575555"/>
                    </a:solidFill>
                    <a:latin typeface="Nexa Bold"/>
                  </a:defRPr>
                </a:pPr>
                <a:r>
                  <a:rPr lang="en-US"/>
                  <a:t>Price Ix vs. Gillette Fusion5</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3084051742229012</c:v>
                </c:pt>
                <c:pt idx="1">
                  <c:v>0.31591786351078627</c:v>
                </c:pt>
                <c:pt idx="2">
                  <c:v>0.32058023334902946</c:v>
                </c:pt>
                <c:pt idx="3">
                  <c:v>0.31551466024025998</c:v>
                </c:pt>
                <c:pt idx="4">
                  <c:v>0.31248983133575575</c:v>
                </c:pt>
                <c:pt idx="5">
                  <c:v>0.31209899175068745</c:v>
                </c:pt>
                <c:pt idx="6">
                  <c:v>0.31243915630070307</c:v>
                </c:pt>
                <c:pt idx="7">
                  <c:v>0.3133619793471481</c:v>
                </c:pt>
                <c:pt idx="8">
                  <c:v>0.31671907756813417</c:v>
                </c:pt>
                <c:pt idx="9">
                  <c:v>0.31082322826247477</c:v>
                </c:pt>
                <c:pt idx="10">
                  <c:v>0.31047212859141043</c:v>
                </c:pt>
                <c:pt idx="11">
                  <c:v>0.30851195946449417</c:v>
                </c:pt>
                <c:pt idx="12">
                  <c:v>0.30743476600274672</c:v>
                </c:pt>
                <c:pt idx="13">
                  <c:v>0.30557876018361524</c:v>
                </c:pt>
                <c:pt idx="14">
                  <c:v>0.30608180521683359</c:v>
                </c:pt>
                <c:pt idx="15">
                  <c:v>0.30537959003209308</c:v>
                </c:pt>
                <c:pt idx="16">
                  <c:v>0.30479028449342177</c:v>
                </c:pt>
                <c:pt idx="17">
                  <c:v>0.30535697989231286</c:v>
                </c:pt>
                <c:pt idx="18">
                  <c:v>0.30758733419811496</c:v>
                </c:pt>
                <c:pt idx="19">
                  <c:v>0.30384356418742708</c:v>
                </c:pt>
                <c:pt idx="20">
                  <c:v>0.30255871389344829</c:v>
                </c:pt>
                <c:pt idx="21">
                  <c:v>0.30131492720175512</c:v>
                </c:pt>
                <c:pt idx="22">
                  <c:v>0.30402402402402401</c:v>
                </c:pt>
                <c:pt idx="23">
                  <c:v>0.3041818228723267</c:v>
                </c:pt>
                <c:pt idx="24">
                  <c:v>0.30380595989557657</c:v>
                </c:pt>
                <c:pt idx="25">
                  <c:v>0.30266464709715091</c:v>
                </c:pt>
                <c:pt idx="26">
                  <c:v>0.30198090992432275</c:v>
                </c:pt>
                <c:pt idx="27">
                  <c:v>0.30261018186645428</c:v>
                </c:pt>
                <c:pt idx="28">
                  <c:v>0.30379475941413642</c:v>
                </c:pt>
                <c:pt idx="29">
                  <c:v>0.30510575091808745</c:v>
                </c:pt>
                <c:pt idx="30">
                  <c:v>0.30547263681592041</c:v>
                </c:pt>
                <c:pt idx="31">
                  <c:v>0.30191808942530629</c:v>
                </c:pt>
                <c:pt idx="32">
                  <c:v>0.30004016835781272</c:v>
                </c:pt>
                <c:pt idx="33">
                  <c:v>0.30140260803244229</c:v>
                </c:pt>
                <c:pt idx="34">
                  <c:v>0.30315931183998879</c:v>
                </c:pt>
                <c:pt idx="35">
                  <c:v>0.30423707530585153</c:v>
                </c:pt>
                <c:pt idx="36">
                  <c:v>0.30339368848493503</c:v>
                </c:pt>
                <c:pt idx="37">
                  <c:v>0.30312142377964563</c:v>
                </c:pt>
                <c:pt idx="38">
                  <c:v>0.30421477922015827</c:v>
                </c:pt>
                <c:pt idx="39">
                  <c:v>0.30360700245050509</c:v>
                </c:pt>
                <c:pt idx="40">
                  <c:v>0.30482776067799466</c:v>
                </c:pt>
                <c:pt idx="41">
                  <c:v>0.30496561046396053</c:v>
                </c:pt>
                <c:pt idx="42">
                  <c:v>0.30474260101509459</c:v>
                </c:pt>
                <c:pt idx="43">
                  <c:v>0.30487658997567685</c:v>
                </c:pt>
                <c:pt idx="44">
                  <c:v>0.30417377406912238</c:v>
                </c:pt>
                <c:pt idx="45">
                  <c:v>0.30429474182711519</c:v>
                </c:pt>
                <c:pt idx="46">
                  <c:v>0.30416987037597953</c:v>
                </c:pt>
                <c:pt idx="47">
                  <c:v>0.30177142857142858</c:v>
                </c:pt>
                <c:pt idx="48">
                  <c:v>0.30034428178139644</c:v>
                </c:pt>
                <c:pt idx="49">
                  <c:v>0.30020553910468561</c:v>
                </c:pt>
                <c:pt idx="50">
                  <c:v>0.30020393921120919</c:v>
                </c:pt>
                <c:pt idx="51">
                  <c:v>0.30029572161037082</c:v>
                </c:pt>
                <c:pt idx="52">
                  <c:v>0.30085731375024921</c:v>
                </c:pt>
                <c:pt idx="53">
                  <c:v>0.30374794069192751</c:v>
                </c:pt>
                <c:pt idx="54">
                  <c:v>0.30475569923731716</c:v>
                </c:pt>
                <c:pt idx="55">
                  <c:v>0.30484411191281596</c:v>
                </c:pt>
                <c:pt idx="56">
                  <c:v>0.29666067320451317</c:v>
                </c:pt>
                <c:pt idx="57">
                  <c:v>0.25400835544515327</c:v>
                </c:pt>
                <c:pt idx="58">
                  <c:v>0.23382400369980466</c:v>
                </c:pt>
                <c:pt idx="59">
                  <c:v>0.23943026116791946</c:v>
                </c:pt>
                <c:pt idx="60">
                  <c:v>0.25369491863085675</c:v>
                </c:pt>
                <c:pt idx="61">
                  <c:v>0.26335839430757868</c:v>
                </c:pt>
                <c:pt idx="62">
                  <c:v>0.24811366501794199</c:v>
                </c:pt>
                <c:pt idx="63">
                  <c:v>0.25331883600138116</c:v>
                </c:pt>
                <c:pt idx="64">
                  <c:v>0.27606841827999473</c:v>
                </c:pt>
                <c:pt idx="65">
                  <c:v>0.28160478817918266</c:v>
                </c:pt>
                <c:pt idx="66">
                  <c:v>0.29229782021117312</c:v>
                </c:pt>
                <c:pt idx="67">
                  <c:v>0.30127414335954045</c:v>
                </c:pt>
                <c:pt idx="68">
                  <c:v>0.30305886879569066</c:v>
                </c:pt>
                <c:pt idx="69">
                  <c:v>0.30492991022208221</c:v>
                </c:pt>
                <c:pt idx="70">
                  <c:v>0.30628978911194849</c:v>
                </c:pt>
                <c:pt idx="71">
                  <c:v>0.30507690665654685</c:v>
                </c:pt>
                <c:pt idx="72">
                  <c:v>0.30607670596048481</c:v>
                </c:pt>
                <c:pt idx="73">
                  <c:v>0.3116373241246056</c:v>
                </c:pt>
                <c:pt idx="74">
                  <c:v>0.31424842998124136</c:v>
                </c:pt>
                <c:pt idx="75">
                  <c:v>0.31320176754871626</c:v>
                </c:pt>
                <c:pt idx="76">
                  <c:v>0.31380953870863448</c:v>
                </c:pt>
                <c:pt idx="77">
                  <c:v>0.32590348409435188</c:v>
                </c:pt>
                <c:pt idx="78">
                  <c:v>0.33061711871301291</c:v>
                </c:pt>
                <c:pt idx="79">
                  <c:v>0.33376024237416513</c:v>
                </c:pt>
                <c:pt idx="80">
                  <c:v>0.334863282523373</c:v>
                </c:pt>
                <c:pt idx="81">
                  <c:v>0.33732775797715603</c:v>
                </c:pt>
                <c:pt idx="82">
                  <c:v>0.3340239432262419</c:v>
                </c:pt>
                <c:pt idx="83">
                  <c:v>0.32813911724353323</c:v>
                </c:pt>
                <c:pt idx="84">
                  <c:v>0.32451377453380215</c:v>
                </c:pt>
                <c:pt idx="85">
                  <c:v>0.3242920313313794</c:v>
                </c:pt>
                <c:pt idx="86">
                  <c:v>0.32834757834757833</c:v>
                </c:pt>
                <c:pt idx="87">
                  <c:v>0.33024565689467972</c:v>
                </c:pt>
                <c:pt idx="88">
                  <c:v>0.33047076978575868</c:v>
                </c:pt>
                <c:pt idx="89">
                  <c:v>0.32960364974033468</c:v>
                </c:pt>
                <c:pt idx="90">
                  <c:v>0.32877782475231143</c:v>
                </c:pt>
                <c:pt idx="91">
                  <c:v>0.33265505668454848</c:v>
                </c:pt>
                <c:pt idx="92">
                  <c:v>0.33383080669232584</c:v>
                </c:pt>
                <c:pt idx="93">
                  <c:v>0.33445095599479496</c:v>
                </c:pt>
                <c:pt idx="94">
                  <c:v>0.33425385899470356</c:v>
                </c:pt>
                <c:pt idx="95">
                  <c:v>0.33302358553829059</c:v>
                </c:pt>
                <c:pt idx="96">
                  <c:v>0.3331230702831911</c:v>
                </c:pt>
                <c:pt idx="97">
                  <c:v>0.33248279672509923</c:v>
                </c:pt>
                <c:pt idx="98">
                  <c:v>0.33184443040565192</c:v>
                </c:pt>
                <c:pt idx="99">
                  <c:v>0.31234357273380736</c:v>
                </c:pt>
                <c:pt idx="100">
                  <c:v>0.30123106937136429</c:v>
                </c:pt>
                <c:pt idx="101">
                  <c:v>0.30056872662328632</c:v>
                </c:pt>
              </c:numCache>
            </c:numRef>
          </c:xVal>
          <c:yVal>
            <c:numRef>
              <c:f>Sheet1!$B$2:$B$103</c:f>
              <c:numCache>
                <c:formatCode>General</c:formatCode>
                <c:ptCount val="102"/>
                <c:pt idx="0">
                  <c:v>3.1549194168607006E-2</c:v>
                </c:pt>
                <c:pt idx="1">
                  <c:v>2.5925076493376501E-2</c:v>
                </c:pt>
                <c:pt idx="2">
                  <c:v>1.9457371147598559E-2</c:v>
                </c:pt>
                <c:pt idx="3">
                  <c:v>2.1005226955186754E-2</c:v>
                </c:pt>
                <c:pt idx="4">
                  <c:v>2.3683174888924508E-2</c:v>
                </c:pt>
                <c:pt idx="5">
                  <c:v>2.4814911692122233E-2</c:v>
                </c:pt>
                <c:pt idx="6">
                  <c:v>2.2966901329024649E-2</c:v>
                </c:pt>
                <c:pt idx="7">
                  <c:v>2.1693356757167159E-2</c:v>
                </c:pt>
                <c:pt idx="8">
                  <c:v>2.508474647577718E-2</c:v>
                </c:pt>
                <c:pt idx="9">
                  <c:v>3.2219360006132694E-2</c:v>
                </c:pt>
                <c:pt idx="10">
                  <c:v>3.3455366889535383E-2</c:v>
                </c:pt>
                <c:pt idx="11">
                  <c:v>3.0774205038558523E-2</c:v>
                </c:pt>
                <c:pt idx="12">
                  <c:v>3.166311843777065E-2</c:v>
                </c:pt>
                <c:pt idx="13">
                  <c:v>2.9573633835338665E-2</c:v>
                </c:pt>
                <c:pt idx="14">
                  <c:v>2.9438294749618857E-2</c:v>
                </c:pt>
                <c:pt idx="15">
                  <c:v>3.2326555355538883E-2</c:v>
                </c:pt>
                <c:pt idx="16">
                  <c:v>3.0454183212358377E-2</c:v>
                </c:pt>
                <c:pt idx="17">
                  <c:v>3.0177244147381318E-2</c:v>
                </c:pt>
                <c:pt idx="18">
                  <c:v>3.0949579617420526E-2</c:v>
                </c:pt>
                <c:pt idx="19">
                  <c:v>3.3044676701229417E-2</c:v>
                </c:pt>
                <c:pt idx="20">
                  <c:v>3.4502368865567047E-2</c:v>
                </c:pt>
                <c:pt idx="21">
                  <c:v>3.8171203781773647E-2</c:v>
                </c:pt>
                <c:pt idx="22">
                  <c:v>3.2633840746857157E-2</c:v>
                </c:pt>
                <c:pt idx="23">
                  <c:v>3.22851825867847E-2</c:v>
                </c:pt>
                <c:pt idx="24">
                  <c:v>3.4293774474369265E-2</c:v>
                </c:pt>
                <c:pt idx="25">
                  <c:v>3.3493331489235549E-2</c:v>
                </c:pt>
                <c:pt idx="26">
                  <c:v>3.2256296982208908E-2</c:v>
                </c:pt>
                <c:pt idx="27">
                  <c:v>3.256327154323236E-2</c:v>
                </c:pt>
                <c:pt idx="28">
                  <c:v>3.0215972855570965E-2</c:v>
                </c:pt>
                <c:pt idx="29">
                  <c:v>2.971323515475446E-2</c:v>
                </c:pt>
                <c:pt idx="30">
                  <c:v>2.9886044202056927E-2</c:v>
                </c:pt>
                <c:pt idx="31">
                  <c:v>3.0113049153545669E-2</c:v>
                </c:pt>
                <c:pt idx="32">
                  <c:v>3.0121682992946059E-2</c:v>
                </c:pt>
                <c:pt idx="33">
                  <c:v>2.8704102443482309E-2</c:v>
                </c:pt>
                <c:pt idx="34">
                  <c:v>3.0602403901330309E-2</c:v>
                </c:pt>
                <c:pt idx="35">
                  <c:v>3.1456536502498786E-2</c:v>
                </c:pt>
                <c:pt idx="36">
                  <c:v>3.1516667937295108E-2</c:v>
                </c:pt>
                <c:pt idx="37">
                  <c:v>3.3226585884057164E-2</c:v>
                </c:pt>
                <c:pt idx="38">
                  <c:v>3.3016326225624587E-2</c:v>
                </c:pt>
                <c:pt idx="39">
                  <c:v>3.0075909553288729E-2</c:v>
                </c:pt>
                <c:pt idx="40">
                  <c:v>3.0308227143147046E-2</c:v>
                </c:pt>
                <c:pt idx="41">
                  <c:v>3.1273537834975489E-2</c:v>
                </c:pt>
                <c:pt idx="42">
                  <c:v>3.0059016900147784E-2</c:v>
                </c:pt>
                <c:pt idx="43">
                  <c:v>3.0573863083611635E-2</c:v>
                </c:pt>
                <c:pt idx="44">
                  <c:v>3.254448153409624E-2</c:v>
                </c:pt>
                <c:pt idx="45">
                  <c:v>3.2420025270644671E-2</c:v>
                </c:pt>
                <c:pt idx="46">
                  <c:v>3.0841270586476857E-2</c:v>
                </c:pt>
                <c:pt idx="47">
                  <c:v>3.4545476528939606E-2</c:v>
                </c:pt>
                <c:pt idx="48">
                  <c:v>3.9378011399146942E-2</c:v>
                </c:pt>
                <c:pt idx="49">
                  <c:v>3.4585845792310457E-2</c:v>
                </c:pt>
                <c:pt idx="50">
                  <c:v>3.6889295123608744E-2</c:v>
                </c:pt>
                <c:pt idx="51">
                  <c:v>3.516974061970235E-2</c:v>
                </c:pt>
                <c:pt idx="52">
                  <c:v>3.3440411726256954E-2</c:v>
                </c:pt>
                <c:pt idx="53">
                  <c:v>3.0775515895011849E-2</c:v>
                </c:pt>
                <c:pt idx="54">
                  <c:v>2.856172806220978E-2</c:v>
                </c:pt>
                <c:pt idx="55">
                  <c:v>2.9260191711765828E-2</c:v>
                </c:pt>
                <c:pt idx="56">
                  <c:v>3.1178692703543048E-2</c:v>
                </c:pt>
                <c:pt idx="57">
                  <c:v>3.7031471681131703E-2</c:v>
                </c:pt>
                <c:pt idx="58">
                  <c:v>3.9909501581123753E-2</c:v>
                </c:pt>
                <c:pt idx="59">
                  <c:v>3.3090443177845791E-2</c:v>
                </c:pt>
                <c:pt idx="60">
                  <c:v>2.0429936026239697E-2</c:v>
                </c:pt>
                <c:pt idx="61">
                  <c:v>1.5942339180034886E-2</c:v>
                </c:pt>
                <c:pt idx="62">
                  <c:v>2.6561543645322632E-2</c:v>
                </c:pt>
                <c:pt idx="63">
                  <c:v>3.5068893654044385E-2</c:v>
                </c:pt>
                <c:pt idx="64">
                  <c:v>3.0967228847484717E-2</c:v>
                </c:pt>
                <c:pt idx="65">
                  <c:v>2.6027056162994167E-2</c:v>
                </c:pt>
                <c:pt idx="66">
                  <c:v>2.5871503741223587E-2</c:v>
                </c:pt>
                <c:pt idx="67">
                  <c:v>2.691260699372984E-2</c:v>
                </c:pt>
                <c:pt idx="68">
                  <c:v>2.5874418970458959E-2</c:v>
                </c:pt>
                <c:pt idx="69">
                  <c:v>2.3193315376484971E-2</c:v>
                </c:pt>
                <c:pt idx="70">
                  <c:v>2.2686657383630057E-2</c:v>
                </c:pt>
                <c:pt idx="71">
                  <c:v>2.6189284143623485E-2</c:v>
                </c:pt>
                <c:pt idx="72">
                  <c:v>2.7336338114147821E-2</c:v>
                </c:pt>
                <c:pt idx="73">
                  <c:v>2.7740990571672709E-2</c:v>
                </c:pt>
                <c:pt idx="74">
                  <c:v>2.8775273119844166E-2</c:v>
                </c:pt>
                <c:pt idx="75">
                  <c:v>2.8510329318482425E-2</c:v>
                </c:pt>
                <c:pt idx="76">
                  <c:v>2.7909474603405617E-2</c:v>
                </c:pt>
                <c:pt idx="77">
                  <c:v>2.354699792786898E-2</c:v>
                </c:pt>
                <c:pt idx="78">
                  <c:v>2.3516397046911525E-2</c:v>
                </c:pt>
                <c:pt idx="79">
                  <c:v>2.2115174941799768E-2</c:v>
                </c:pt>
                <c:pt idx="80">
                  <c:v>2.2268202762568419E-2</c:v>
                </c:pt>
                <c:pt idx="81">
                  <c:v>2.1244426266941792E-2</c:v>
                </c:pt>
                <c:pt idx="82">
                  <c:v>3.1177386289303839E-2</c:v>
                </c:pt>
                <c:pt idx="83">
                  <c:v>2.6306476866990773E-2</c:v>
                </c:pt>
                <c:pt idx="84">
                  <c:v>2.5524833007679375E-2</c:v>
                </c:pt>
                <c:pt idx="85">
                  <c:v>2.6871534411513368E-2</c:v>
                </c:pt>
                <c:pt idx="86">
                  <c:v>2.6338851413823878E-2</c:v>
                </c:pt>
                <c:pt idx="87">
                  <c:v>2.4648701089615546E-2</c:v>
                </c:pt>
                <c:pt idx="88">
                  <c:v>2.6238033764437702E-2</c:v>
                </c:pt>
                <c:pt idx="89">
                  <c:v>3.0191859532939729E-2</c:v>
                </c:pt>
                <c:pt idx="90">
                  <c:v>3.0716851696320817E-2</c:v>
                </c:pt>
                <c:pt idx="91">
                  <c:v>3.1790352756617284E-2</c:v>
                </c:pt>
                <c:pt idx="92">
                  <c:v>2.9789485452214992E-2</c:v>
                </c:pt>
                <c:pt idx="93">
                  <c:v>2.7419432969366012E-2</c:v>
                </c:pt>
                <c:pt idx="94">
                  <c:v>2.5375304588112154E-2</c:v>
                </c:pt>
                <c:pt idx="95">
                  <c:v>2.7271435244645044E-2</c:v>
                </c:pt>
                <c:pt idx="96">
                  <c:v>2.4300725205733124E-2</c:v>
                </c:pt>
                <c:pt idx="97">
                  <c:v>2.5953063658202231E-2</c:v>
                </c:pt>
                <c:pt idx="98">
                  <c:v>2.870484051773789E-2</c:v>
                </c:pt>
                <c:pt idx="99">
                  <c:v>3.0161179689259059E-2</c:v>
                </c:pt>
                <c:pt idx="100">
                  <c:v>3.7558407981539428E-2</c:v>
                </c:pt>
                <c:pt idx="101">
                  <c:v>3.5796970668813106E-2</c:v>
                </c:pt>
              </c:numCache>
            </c:numRef>
          </c:yVal>
          <c:smooth val="0"/>
          <c:extLst>
            <c:ext xmlns:c16="http://schemas.microsoft.com/office/drawing/2014/chart" uri="{C3380CC4-5D6E-409C-BE32-E72D297353CC}">
              <c16:uniqueId val="{00000000-F32D-48B7-BC20-E66FC6253BAD}"/>
            </c:ext>
          </c:extLst>
        </c:ser>
        <c:ser>
          <c:idx val="1"/>
          <c:order val="1"/>
          <c:tx>
            <c:strRef>
              <c:f>Sheet1!$B$10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6:$A$157</c:f>
              <c:numCache>
                <c:formatCode>General</c:formatCode>
                <c:ptCount val="52"/>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numCache>
            </c:numRef>
          </c:xVal>
          <c:yVal>
            <c:numRef>
              <c:f>Sheet1!$B$106:$B$157</c:f>
              <c:numCache>
                <c:formatCode>General</c:formatCode>
                <c:ptCount val="52"/>
                <c:pt idx="0">
                  <c:v>3.3379430772150658E-2</c:v>
                </c:pt>
                <c:pt idx="1">
                  <c:v>3.5297770608354727E-2</c:v>
                </c:pt>
                <c:pt idx="2">
                  <c:v>3.603152077608085E-2</c:v>
                </c:pt>
                <c:pt idx="3">
                  <c:v>3.0978674639028675E-2</c:v>
                </c:pt>
                <c:pt idx="4">
                  <c:v>2.8133515753956471E-2</c:v>
                </c:pt>
                <c:pt idx="5">
                  <c:v>2.7512069607189618E-2</c:v>
                </c:pt>
                <c:pt idx="6">
                  <c:v>2.7535908601076187E-2</c:v>
                </c:pt>
                <c:pt idx="7">
                  <c:v>2.7306049137985969E-2</c:v>
                </c:pt>
                <c:pt idx="8">
                  <c:v>2.6838607545871734E-2</c:v>
                </c:pt>
                <c:pt idx="9">
                  <c:v>2.8577136215520643E-2</c:v>
                </c:pt>
                <c:pt idx="10">
                  <c:v>2.9045708307140341E-2</c:v>
                </c:pt>
                <c:pt idx="11">
                  <c:v>3.0151694267354034E-2</c:v>
                </c:pt>
                <c:pt idx="12">
                  <c:v>3.1278274774940926E-2</c:v>
                </c:pt>
                <c:pt idx="13">
                  <c:v>3.2623144271831599E-2</c:v>
                </c:pt>
                <c:pt idx="14">
                  <c:v>3.2081452766552027E-2</c:v>
                </c:pt>
                <c:pt idx="15">
                  <c:v>2.8476513020004538E-2</c:v>
                </c:pt>
                <c:pt idx="16">
                  <c:v>2.8897929262062423E-2</c:v>
                </c:pt>
                <c:pt idx="17">
                  <c:v>2.8572345272906727E-2</c:v>
                </c:pt>
                <c:pt idx="18">
                  <c:v>2.7582157287634194E-2</c:v>
                </c:pt>
                <c:pt idx="19">
                  <c:v>2.6684207925807661E-2</c:v>
                </c:pt>
                <c:pt idx="20">
                  <c:v>2.5074098168638374E-2</c:v>
                </c:pt>
                <c:pt idx="21">
                  <c:v>3.7053775555914395E-2</c:v>
                </c:pt>
                <c:pt idx="22">
                  <c:v>4.1201839145334811E-2</c:v>
                </c:pt>
                <c:pt idx="23">
                  <c:v>3.952108516249337E-2</c:v>
                </c:pt>
                <c:pt idx="24">
                  <c:v>3.301132678213544E-2</c:v>
                </c:pt>
                <c:pt idx="25">
                  <c:v>3.4672282379825628E-2</c:v>
                </c:pt>
                <c:pt idx="26">
                  <c:v>3.6478521099227869E-2</c:v>
                </c:pt>
                <c:pt idx="27">
                  <c:v>3.1719960612283417E-2</c:v>
                </c:pt>
                <c:pt idx="28">
                  <c:v>2.9844699099281863E-2</c:v>
                </c:pt>
                <c:pt idx="29">
                  <c:v>2.8247037929351546E-2</c:v>
                </c:pt>
                <c:pt idx="30">
                  <c:v>2.3926861689124793E-2</c:v>
                </c:pt>
                <c:pt idx="31">
                  <c:v>2.0770671408149036E-2</c:v>
                </c:pt>
                <c:pt idx="32">
                  <c:v>2.3460558709885785E-2</c:v>
                </c:pt>
                <c:pt idx="33">
                  <c:v>3.0427962862070307E-2</c:v>
                </c:pt>
                <c:pt idx="34">
                  <c:v>3.1037706913624008E-2</c:v>
                </c:pt>
                <c:pt idx="35">
                  <c:v>2.928997264422914E-2</c:v>
                </c:pt>
                <c:pt idx="36">
                  <c:v>2.9697936908540855E-2</c:v>
                </c:pt>
                <c:pt idx="37">
                  <c:v>3.0248130900335804E-2</c:v>
                </c:pt>
                <c:pt idx="38">
                  <c:v>3.5070387750061743E-2</c:v>
                </c:pt>
                <c:pt idx="39">
                  <c:v>3.1208337770205517E-2</c:v>
                </c:pt>
                <c:pt idx="40">
                  <c:v>2.6826790166755026E-2</c:v>
                </c:pt>
                <c:pt idx="41">
                  <c:v>2.4203784771293646E-2</c:v>
                </c:pt>
                <c:pt idx="42">
                  <c:v>2.4098053977022377E-2</c:v>
                </c:pt>
                <c:pt idx="43">
                  <c:v>2.4523754132153155E-2</c:v>
                </c:pt>
                <c:pt idx="44">
                  <c:v>2.2379504666963371E-2</c:v>
                </c:pt>
                <c:pt idx="45">
                  <c:v>2.104065524243157E-2</c:v>
                </c:pt>
                <c:pt idx="46">
                  <c:v>2.2028240128902143E-2</c:v>
                </c:pt>
                <c:pt idx="47">
                  <c:v>2.3321641522021073E-2</c:v>
                </c:pt>
                <c:pt idx="48">
                  <c:v>2.5721900660138006E-2</c:v>
                </c:pt>
                <c:pt idx="49">
                  <c:v>2.4967370312040958E-2</c:v>
                </c:pt>
                <c:pt idx="50">
                  <c:v>2.6033359791458374E-2</c:v>
                </c:pt>
                <c:pt idx="51">
                  <c:v>2.5702227757022279E-2</c:v>
                </c:pt>
              </c:numCache>
            </c:numRef>
          </c:yVal>
          <c:smooth val="0"/>
          <c:extLst>
            <c:ext xmlns:c16="http://schemas.microsoft.com/office/drawing/2014/chart" uri="{C3380CC4-5D6E-409C-BE32-E72D297353CC}">
              <c16:uniqueId val="{00000002-F32D-48B7-BC20-E66FC6253BAD}"/>
            </c:ext>
          </c:extLst>
        </c:ser>
        <c:ser>
          <c:idx val="2"/>
          <c:order val="2"/>
          <c:tx>
            <c:strRef>
              <c:f>Sheet1!$B$159</c:f>
              <c:strCache>
                <c:ptCount val="1"/>
                <c:pt idx="0">
                  <c:v>Custom Linep3yQ</c:v>
                </c:pt>
              </c:strCache>
            </c:strRef>
          </c:tx>
          <c:spPr>
            <a:ln w="19050" cap="rnd">
              <a:solidFill>
                <a:srgbClr val="C00000"/>
              </a:solidFill>
              <a:prstDash val="sysDot"/>
              <a:round/>
            </a:ln>
            <a:effectLst/>
          </c:spPr>
          <c:marker>
            <c:symbol val="none"/>
          </c:marker>
          <c:xVal>
            <c:numRef>
              <c:f>Sheet1!$A$160:$A$161</c:f>
              <c:numCache>
                <c:formatCode>General</c:formatCode>
                <c:ptCount val="2"/>
                <c:pt idx="0">
                  <c:v>0</c:v>
                </c:pt>
                <c:pt idx="1">
                  <c:v>0.27575744047645689</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3-F32D-48B7-BC20-E66FC6253BAD}"/>
            </c:ext>
          </c:extLst>
        </c:ser>
        <c:ser>
          <c:idx val="3"/>
          <c:order val="3"/>
          <c:tx>
            <c:strRef>
              <c:f>Sheet1!$B$16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0.27575744047645689</c:v>
                </c:pt>
                <c:pt idx="1">
                  <c:v>0.27575744047645689</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8:$A$169</c:f>
              <c:numCache>
                <c:formatCode>General</c:formatCode>
                <c:ptCount val="2"/>
                <c:pt idx="0">
                  <c:v>0</c:v>
                </c:pt>
                <c:pt idx="1">
                  <c:v>0.28987004975079905</c:v>
                </c:pt>
              </c:numCache>
            </c:numRef>
          </c:xVal>
          <c:yVal>
            <c:numRef>
              <c:f>Sheet1!$B$168:$B$169</c:f>
              <c:numCache>
                <c:formatCode>General</c:formatCode>
                <c:ptCount val="2"/>
                <c:pt idx="0">
                  <c:v>3.1101577984060606E-2</c:v>
                </c:pt>
                <c:pt idx="1">
                  <c:v>3.1101577984060606E-2</c:v>
                </c:pt>
              </c:numCache>
            </c:numRef>
          </c:yVal>
          <c:smooth val="0"/>
          <c:extLst>
            <c:ext xmlns:c16="http://schemas.microsoft.com/office/drawing/2014/chart" uri="{C3380CC4-5D6E-409C-BE32-E72D297353CC}">
              <c16:uniqueId val="{0000000A-F32D-48B7-BC20-E66FC6253BAD}"/>
            </c:ext>
          </c:extLst>
        </c:ser>
        <c:ser>
          <c:idx val="5"/>
          <c:order val="5"/>
          <c:tx>
            <c:strRef>
              <c:f>Sheet1!$B$17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0.28987004975079905</c:v>
                </c:pt>
                <c:pt idx="1">
                  <c:v>0.28987004975079905</c:v>
                </c:pt>
              </c:numCache>
            </c:numRef>
          </c:xVal>
          <c:yVal>
            <c:numRef>
              <c:f>Sheet1!$B$172:$B$173</c:f>
              <c:numCache>
                <c:formatCode>General</c:formatCode>
                <c:ptCount val="2"/>
                <c:pt idx="0">
                  <c:v>3.1101577984060606E-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6:$A$177</c:f>
              <c:numCache>
                <c:formatCode>General</c:formatCode>
                <c:ptCount val="2"/>
                <c:pt idx="0">
                  <c:v>0</c:v>
                </c:pt>
                <c:pt idx="1">
                  <c:v>0.32888493428125432</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1-F32D-48B7-BC20-E66FC6253BAD}"/>
            </c:ext>
          </c:extLst>
        </c:ser>
        <c:ser>
          <c:idx val="7"/>
          <c:order val="7"/>
          <c:tx>
            <c:strRef>
              <c:f>Sheet1!$B$17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0:$A$181</c:f>
              <c:numCache>
                <c:formatCode>General</c:formatCode>
                <c:ptCount val="2"/>
                <c:pt idx="0">
                  <c:v>0.32888493428125432</c:v>
                </c:pt>
                <c:pt idx="1">
                  <c:v>0.32888493428125432</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4:$A$238</c:f>
              <c:numCache>
                <c:formatCode>General</c:formatCode>
                <c:ptCount val="55"/>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pt idx="52">
                  <c:v>0.28987004975079905</c:v>
                </c:pt>
                <c:pt idx="53">
                  <c:v>0.27575744047645689</c:v>
                </c:pt>
                <c:pt idx="54">
                  <c:v>0.32888493428125432</c:v>
                </c:pt>
              </c:numCache>
            </c:numRef>
          </c:xVal>
          <c:yVal>
            <c:numRef>
              <c:f>Sheet1!$B$184:$B$238</c:f>
              <c:numCache>
                <c:formatCode>General</c:formatCode>
                <c:ptCount val="55"/>
                <c:pt idx="0">
                  <c:v>2.9413873016704839E-2</c:v>
                </c:pt>
                <c:pt idx="1">
                  <c:v>2.9896344890080709E-2</c:v>
                </c:pt>
                <c:pt idx="2">
                  <c:v>3.0155656486461964E-2</c:v>
                </c:pt>
                <c:pt idx="3">
                  <c:v>2.7109900331363727E-2</c:v>
                </c:pt>
                <c:pt idx="4">
                  <c:v>2.4371775225560388E-2</c:v>
                </c:pt>
                <c:pt idx="5">
                  <c:v>2.4094268404047922E-2</c:v>
                </c:pt>
                <c:pt idx="6">
                  <c:v>2.4322183284519114E-2</c:v>
                </c:pt>
                <c:pt idx="7">
                  <c:v>2.5263903460272262E-2</c:v>
                </c:pt>
                <c:pt idx="8">
                  <c:v>2.7533717749061021E-2</c:v>
                </c:pt>
                <c:pt idx="9">
                  <c:v>2.9136059572005948E-2</c:v>
                </c:pt>
                <c:pt idx="10">
                  <c:v>2.8439725189245424E-2</c:v>
                </c:pt>
                <c:pt idx="11">
                  <c:v>2.8481575446516888E-2</c:v>
                </c:pt>
                <c:pt idx="12">
                  <c:v>3.0108594349578348E-2</c:v>
                </c:pt>
                <c:pt idx="13">
                  <c:v>3.169054387055209E-2</c:v>
                </c:pt>
                <c:pt idx="14">
                  <c:v>3.1465934595702259E-2</c:v>
                </c:pt>
                <c:pt idx="15">
                  <c:v>3.1477667841337743E-2</c:v>
                </c:pt>
                <c:pt idx="16">
                  <c:v>3.1573121681829512E-2</c:v>
                </c:pt>
                <c:pt idx="17">
                  <c:v>3.1532924296196564E-2</c:v>
                </c:pt>
                <c:pt idx="18">
                  <c:v>3.0515660900336583E-2</c:v>
                </c:pt>
                <c:pt idx="19">
                  <c:v>3.0211789143868836E-2</c:v>
                </c:pt>
                <c:pt idx="20">
                  <c:v>2.8955614795748236E-2</c:v>
                </c:pt>
                <c:pt idx="21">
                  <c:v>3.2772131418724967E-2</c:v>
                </c:pt>
                <c:pt idx="22">
                  <c:v>3.3542665870490845E-2</c:v>
                </c:pt>
                <c:pt idx="23">
                  <c:v>3.3435184307609174E-2</c:v>
                </c:pt>
                <c:pt idx="24">
                  <c:v>3.268271460365052E-2</c:v>
                </c:pt>
                <c:pt idx="25">
                  <c:v>3.3870059534782497E-2</c:v>
                </c:pt>
                <c:pt idx="26">
                  <c:v>3.3073079926514877E-2</c:v>
                </c:pt>
                <c:pt idx="27">
                  <c:v>3.1808643842456727E-2</c:v>
                </c:pt>
                <c:pt idx="28">
                  <c:v>3.0502176751221188E-2</c:v>
                </c:pt>
                <c:pt idx="29">
                  <c:v>2.7906678470255915E-2</c:v>
                </c:pt>
                <c:pt idx="30">
                  <c:v>2.5033266393526828E-2</c:v>
                </c:pt>
                <c:pt idx="31">
                  <c:v>2.630903103630991E-2</c:v>
                </c:pt>
                <c:pt idx="32">
                  <c:v>2.8693045313762239E-2</c:v>
                </c:pt>
                <c:pt idx="33">
                  <c:v>3.2596808075387743E-2</c:v>
                </c:pt>
                <c:pt idx="34">
                  <c:v>3.3462836223474769E-2</c:v>
                </c:pt>
                <c:pt idx="35">
                  <c:v>3.1780988069129081E-2</c:v>
                </c:pt>
                <c:pt idx="36">
                  <c:v>3.2997078119396075E-2</c:v>
                </c:pt>
                <c:pt idx="37">
                  <c:v>3.4241810296995578E-2</c:v>
                </c:pt>
                <c:pt idx="38">
                  <c:v>3.5259393566231922E-2</c:v>
                </c:pt>
                <c:pt idx="39">
                  <c:v>3.2524924643797831E-2</c:v>
                </c:pt>
                <c:pt idx="40">
                  <c:v>2.8308242375685959E-2</c:v>
                </c:pt>
                <c:pt idx="41">
                  <c:v>2.54404048951909E-2</c:v>
                </c:pt>
                <c:pt idx="42">
                  <c:v>2.3287513921568817E-2</c:v>
                </c:pt>
                <c:pt idx="43">
                  <c:v>2.3365554652546534E-2</c:v>
                </c:pt>
                <c:pt idx="44">
                  <c:v>2.3054756675168077E-2</c:v>
                </c:pt>
                <c:pt idx="45">
                  <c:v>2.3566114628330095E-2</c:v>
                </c:pt>
                <c:pt idx="46">
                  <c:v>2.5888630394799238E-2</c:v>
                </c:pt>
                <c:pt idx="47">
                  <c:v>2.6265547596405793E-2</c:v>
                </c:pt>
                <c:pt idx="48">
                  <c:v>2.7412822111043234E-2</c:v>
                </c:pt>
                <c:pt idx="49">
                  <c:v>2.5962622488181153E-2</c:v>
                </c:pt>
                <c:pt idx="50">
                  <c:v>2.4525712064247307E-2</c:v>
                </c:pt>
                <c:pt idx="51">
                  <c:v>2.4473274634488791E-2</c:v>
                </c:pt>
                <c:pt idx="52">
                  <c:v>3.1101577984060602E-2</c:v>
                </c:pt>
                <c:pt idx="53">
                  <c:v>3.3390590546211449E-2</c:v>
                </c:pt>
                <c:pt idx="54">
                  <c:v>2.4773509299877497E-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40737801608579088"/>
          <c:min val="0.18705920295984374"/>
        </c:scaling>
        <c:delete val="0"/>
        <c:axPos val="b"/>
        <c:title>
          <c:tx>
            <c:rich>
              <a:bodyPr rot="0" spcFirstLastPara="1" vertOverflow="ellipsis" vert="horz" wrap="square" anchor="ctr" anchorCtr="1"/>
              <a:lstStyle/>
              <a:p>
                <a:pPr>
                  <a:defRPr sz="800" b="0">
                    <a:latin typeface="Nexa Bold"/>
                  </a:defRPr>
                </a:pPr>
                <a:r>
                  <a:rPr lang="en-US"/>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1291069944164441</c:v>
                </c:pt>
                <c:pt idx="1">
                  <c:v>0.13485892486555889</c:v>
                </c:pt>
                <c:pt idx="2">
                  <c:v>0.13361697278764331</c:v>
                </c:pt>
                <c:pt idx="3">
                  <c:v>0.13181455947245191</c:v>
                </c:pt>
                <c:pt idx="4">
                  <c:v>0.13079849733141291</c:v>
                </c:pt>
                <c:pt idx="5">
                  <c:v>0.12786527339341361</c:v>
                </c:pt>
                <c:pt idx="6">
                  <c:v>0.13389772495720559</c:v>
                </c:pt>
                <c:pt idx="7">
                  <c:v>0.1359519354250221</c:v>
                </c:pt>
                <c:pt idx="8">
                  <c:v>0.13408395448492219</c:v>
                </c:pt>
                <c:pt idx="9">
                  <c:v>0.1272173036352085</c:v>
                </c:pt>
                <c:pt idx="10">
                  <c:v>0.12580154817273331</c:v>
                </c:pt>
                <c:pt idx="11">
                  <c:v>0.1247833670603628</c:v>
                </c:pt>
                <c:pt idx="12">
                  <c:v>0.12616612542700109</c:v>
                </c:pt>
                <c:pt idx="13">
                  <c:v>0.13426073846412021</c:v>
                </c:pt>
                <c:pt idx="14">
                  <c:v>0.13040345544745011</c:v>
                </c:pt>
                <c:pt idx="15">
                  <c:v>0.12568196098787579</c:v>
                </c:pt>
                <c:pt idx="16">
                  <c:v>0.1284543866213313</c:v>
                </c:pt>
                <c:pt idx="17">
                  <c:v>0.13252000199740169</c:v>
                </c:pt>
                <c:pt idx="18">
                  <c:v>0.12612196270786419</c:v>
                </c:pt>
                <c:pt idx="19">
                  <c:v>0.13496886950214251</c:v>
                </c:pt>
                <c:pt idx="20">
                  <c:v>0.13064933940560819</c:v>
                </c:pt>
                <c:pt idx="21">
                  <c:v>0.12635635491031241</c:v>
                </c:pt>
                <c:pt idx="22">
                  <c:v>0.12863609693980929</c:v>
                </c:pt>
                <c:pt idx="23">
                  <c:v>0.13116494310893009</c:v>
                </c:pt>
                <c:pt idx="24">
                  <c:v>0.1278058186678292</c:v>
                </c:pt>
                <c:pt idx="25">
                  <c:v>0.1235932293079324</c:v>
                </c:pt>
                <c:pt idx="26">
                  <c:v>0.12290934252239009</c:v>
                </c:pt>
                <c:pt idx="27">
                  <c:v>0.12109503765009599</c:v>
                </c:pt>
                <c:pt idx="28">
                  <c:v>0.12207135397276341</c:v>
                </c:pt>
                <c:pt idx="29">
                  <c:v>0.1263122981136704</c:v>
                </c:pt>
                <c:pt idx="30">
                  <c:v>0.1263263635992006</c:v>
                </c:pt>
                <c:pt idx="31">
                  <c:v>0.12476889875077329</c:v>
                </c:pt>
                <c:pt idx="32">
                  <c:v>0.12674353123399981</c:v>
                </c:pt>
                <c:pt idx="33">
                  <c:v>0.12588695742723971</c:v>
                </c:pt>
                <c:pt idx="34">
                  <c:v>0.12390000002667199</c:v>
                </c:pt>
                <c:pt idx="35">
                  <c:v>0.12440850519118039</c:v>
                </c:pt>
                <c:pt idx="36">
                  <c:v>0.12336288941275771</c:v>
                </c:pt>
                <c:pt idx="37">
                  <c:v>0.1236579395008299</c:v>
                </c:pt>
                <c:pt idx="38">
                  <c:v>0.1244360084590832</c:v>
                </c:pt>
                <c:pt idx="39">
                  <c:v>0.12224083915887329</c:v>
                </c:pt>
                <c:pt idx="40">
                  <c:v>0.1219327444047168</c:v>
                </c:pt>
                <c:pt idx="41">
                  <c:v>0.1250560323566518</c:v>
                </c:pt>
                <c:pt idx="42">
                  <c:v>0.12745512740440279</c:v>
                </c:pt>
                <c:pt idx="43">
                  <c:v>0.1211984894858895</c:v>
                </c:pt>
                <c:pt idx="44">
                  <c:v>0.1258670226690102</c:v>
                </c:pt>
                <c:pt idx="45">
                  <c:v>0.1272339848348821</c:v>
                </c:pt>
                <c:pt idx="46">
                  <c:v>0.13490346412193621</c:v>
                </c:pt>
                <c:pt idx="47">
                  <c:v>0.1232399985423943</c:v>
                </c:pt>
                <c:pt idx="48">
                  <c:v>0.12311641114157899</c:v>
                </c:pt>
                <c:pt idx="49">
                  <c:v>0.1234350759255986</c:v>
                </c:pt>
                <c:pt idx="50">
                  <c:v>0.12419744604278141</c:v>
                </c:pt>
                <c:pt idx="51">
                  <c:v>0.13145508336915421</c:v>
                </c:pt>
                <c:pt idx="52">
                  <c:v>0.13109930113357529</c:v>
                </c:pt>
                <c:pt idx="53">
                  <c:v>0.13568928560863899</c:v>
                </c:pt>
                <c:pt idx="54">
                  <c:v>0.1285210371531505</c:v>
                </c:pt>
                <c:pt idx="55">
                  <c:v>0.1300753516373136</c:v>
                </c:pt>
                <c:pt idx="56">
                  <c:v>0.12489749950473671</c:v>
                </c:pt>
                <c:pt idx="57">
                  <c:v>0.10266521645136149</c:v>
                </c:pt>
                <c:pt idx="58">
                  <c:v>9.4621929093130358E-2</c:v>
                </c:pt>
                <c:pt idx="59">
                  <c:v>9.8212612965823731E-2</c:v>
                </c:pt>
                <c:pt idx="60">
                  <c:v>0.1102654339127445</c:v>
                </c:pt>
                <c:pt idx="61">
                  <c:v>0.1086326326560431</c:v>
                </c:pt>
                <c:pt idx="62">
                  <c:v>0.10273100071317991</c:v>
                </c:pt>
                <c:pt idx="63">
                  <c:v>0.1056131313298932</c:v>
                </c:pt>
                <c:pt idx="64">
                  <c:v>0.116037952360732</c:v>
                </c:pt>
                <c:pt idx="65">
                  <c:v>0.13065683342069531</c:v>
                </c:pt>
                <c:pt idx="66">
                  <c:v>0.132712182958446</c:v>
                </c:pt>
                <c:pt idx="67">
                  <c:v>0.12498087731066</c:v>
                </c:pt>
                <c:pt idx="68">
                  <c:v>0.1318623648264734</c:v>
                </c:pt>
                <c:pt idx="69">
                  <c:v>0.13405085209231629</c:v>
                </c:pt>
                <c:pt idx="70">
                  <c:v>0.12663942767242409</c:v>
                </c:pt>
                <c:pt idx="71">
                  <c:v>0.13715997078444109</c:v>
                </c:pt>
                <c:pt idx="72">
                  <c:v>0.1312699287114284</c:v>
                </c:pt>
                <c:pt idx="73">
                  <c:v>0.1290474255800157</c:v>
                </c:pt>
                <c:pt idx="74">
                  <c:v>0.12976627424972709</c:v>
                </c:pt>
                <c:pt idx="75">
                  <c:v>0.12686829869724861</c:v>
                </c:pt>
                <c:pt idx="76">
                  <c:v>0.1253623579280761</c:v>
                </c:pt>
                <c:pt idx="77">
                  <c:v>0.12968156222074531</c:v>
                </c:pt>
                <c:pt idx="78">
                  <c:v>0.12750329032649099</c:v>
                </c:pt>
                <c:pt idx="79">
                  <c:v>0.12461050546445129</c:v>
                </c:pt>
                <c:pt idx="80">
                  <c:v>0.12900335189603049</c:v>
                </c:pt>
                <c:pt idx="81">
                  <c:v>0.12741746962889991</c:v>
                </c:pt>
                <c:pt idx="82">
                  <c:v>0.1227246355993528</c:v>
                </c:pt>
                <c:pt idx="83">
                  <c:v>0.12325497363003669</c:v>
                </c:pt>
                <c:pt idx="84">
                  <c:v>0.1237777050026681</c:v>
                </c:pt>
                <c:pt idx="85">
                  <c:v>0.1227618684932686</c:v>
                </c:pt>
                <c:pt idx="86">
                  <c:v>0.12625273778634091</c:v>
                </c:pt>
                <c:pt idx="87">
                  <c:v>0.12848401925218161</c:v>
                </c:pt>
                <c:pt idx="88">
                  <c:v>0.12808991008793849</c:v>
                </c:pt>
                <c:pt idx="89">
                  <c:v>0.12669599383578639</c:v>
                </c:pt>
                <c:pt idx="90">
                  <c:v>0.128457244567205</c:v>
                </c:pt>
                <c:pt idx="91">
                  <c:v>0.1287495738807907</c:v>
                </c:pt>
                <c:pt idx="92">
                  <c:v>0.12753778198649329</c:v>
                </c:pt>
                <c:pt idx="93">
                  <c:v>0.12858384689357691</c:v>
                </c:pt>
                <c:pt idx="94">
                  <c:v>0.13053873342212541</c:v>
                </c:pt>
                <c:pt idx="95">
                  <c:v>0.1283681251237693</c:v>
                </c:pt>
                <c:pt idx="96">
                  <c:v>0.12712219330013799</c:v>
                </c:pt>
                <c:pt idx="97">
                  <c:v>0.12537888942730019</c:v>
                </c:pt>
                <c:pt idx="98">
                  <c:v>0.12745921704595151</c:v>
                </c:pt>
                <c:pt idx="99">
                  <c:v>0.1212266665697815</c:v>
                </c:pt>
                <c:pt idx="100">
                  <c:v>0.1141728668578047</c:v>
                </c:pt>
                <c:pt idx="101">
                  <c:v>0.115957494325048</c:v>
                </c:pt>
              </c:numCache>
            </c:numRef>
          </c:xVal>
          <c:yVal>
            <c:numRef>
              <c:f>Sheet1!$B$2:$B$103</c:f>
              <c:numCache>
                <c:formatCode>General</c:formatCode>
                <c:ptCount val="102"/>
                <c:pt idx="0">
                  <c:v>3.1549194168607013E-2</c:v>
                </c:pt>
                <c:pt idx="1">
                  <c:v>2.5925076493376501E-2</c:v>
                </c:pt>
                <c:pt idx="2">
                  <c:v>1.9457371147598559E-2</c:v>
                </c:pt>
                <c:pt idx="3">
                  <c:v>2.1005226955186751E-2</c:v>
                </c:pt>
                <c:pt idx="4">
                  <c:v>2.3683174888924512E-2</c:v>
                </c:pt>
                <c:pt idx="5">
                  <c:v>2.481491169212223E-2</c:v>
                </c:pt>
                <c:pt idx="6">
                  <c:v>2.2966901329024649E-2</c:v>
                </c:pt>
                <c:pt idx="7">
                  <c:v>2.1693356757167159E-2</c:v>
                </c:pt>
                <c:pt idx="8">
                  <c:v>2.508474647577718E-2</c:v>
                </c:pt>
                <c:pt idx="9">
                  <c:v>3.2219360006132687E-2</c:v>
                </c:pt>
                <c:pt idx="10">
                  <c:v>3.3455366889535383E-2</c:v>
                </c:pt>
                <c:pt idx="11">
                  <c:v>3.077420503855852E-2</c:v>
                </c:pt>
                <c:pt idx="12">
                  <c:v>3.166311843777065E-2</c:v>
                </c:pt>
                <c:pt idx="13">
                  <c:v>2.9573633835338661E-2</c:v>
                </c:pt>
                <c:pt idx="14">
                  <c:v>2.943829474961886E-2</c:v>
                </c:pt>
                <c:pt idx="15">
                  <c:v>3.2326555355538883E-2</c:v>
                </c:pt>
                <c:pt idx="16">
                  <c:v>3.045418321235838E-2</c:v>
                </c:pt>
                <c:pt idx="17">
                  <c:v>3.0177244147381321E-2</c:v>
                </c:pt>
                <c:pt idx="18">
                  <c:v>3.0949579617420529E-2</c:v>
                </c:pt>
                <c:pt idx="19">
                  <c:v>3.3044676701229417E-2</c:v>
                </c:pt>
                <c:pt idx="20">
                  <c:v>3.4502368865567047E-2</c:v>
                </c:pt>
                <c:pt idx="21">
                  <c:v>3.8171203781773647E-2</c:v>
                </c:pt>
                <c:pt idx="22">
                  <c:v>3.2633840746857157E-2</c:v>
                </c:pt>
                <c:pt idx="23">
                  <c:v>3.22851825867847E-2</c:v>
                </c:pt>
                <c:pt idx="24">
                  <c:v>3.4293774474369272E-2</c:v>
                </c:pt>
                <c:pt idx="25">
                  <c:v>3.3493331489235549E-2</c:v>
                </c:pt>
                <c:pt idx="26">
                  <c:v>3.2256296982208908E-2</c:v>
                </c:pt>
                <c:pt idx="27">
                  <c:v>3.256327154323236E-2</c:v>
                </c:pt>
                <c:pt idx="28">
                  <c:v>3.0215972855570969E-2</c:v>
                </c:pt>
                <c:pt idx="29">
                  <c:v>2.971323515475446E-2</c:v>
                </c:pt>
                <c:pt idx="30">
                  <c:v>2.9886044202056931E-2</c:v>
                </c:pt>
                <c:pt idx="31">
                  <c:v>3.0113049153545669E-2</c:v>
                </c:pt>
                <c:pt idx="32">
                  <c:v>3.0121682992946059E-2</c:v>
                </c:pt>
                <c:pt idx="33">
                  <c:v>2.8704102443482309E-2</c:v>
                </c:pt>
                <c:pt idx="34">
                  <c:v>3.0602403901330309E-2</c:v>
                </c:pt>
                <c:pt idx="35">
                  <c:v>3.1456536502498793E-2</c:v>
                </c:pt>
                <c:pt idx="36">
                  <c:v>3.1516667937295108E-2</c:v>
                </c:pt>
                <c:pt idx="37">
                  <c:v>3.3226585884057157E-2</c:v>
                </c:pt>
                <c:pt idx="38">
                  <c:v>3.3016326225624587E-2</c:v>
                </c:pt>
                <c:pt idx="39">
                  <c:v>3.0075909553288729E-2</c:v>
                </c:pt>
                <c:pt idx="40">
                  <c:v>3.030822714314705E-2</c:v>
                </c:pt>
                <c:pt idx="41">
                  <c:v>3.1273537834975489E-2</c:v>
                </c:pt>
                <c:pt idx="42">
                  <c:v>3.005901690014778E-2</c:v>
                </c:pt>
                <c:pt idx="43">
                  <c:v>3.0573863083611631E-2</c:v>
                </c:pt>
                <c:pt idx="44">
                  <c:v>3.254448153409624E-2</c:v>
                </c:pt>
                <c:pt idx="45">
                  <c:v>3.2420025270644671E-2</c:v>
                </c:pt>
                <c:pt idx="46">
                  <c:v>3.0841270586476861E-2</c:v>
                </c:pt>
                <c:pt idx="47">
                  <c:v>3.4545476528939613E-2</c:v>
                </c:pt>
                <c:pt idx="48">
                  <c:v>3.9378011399146942E-2</c:v>
                </c:pt>
                <c:pt idx="49">
                  <c:v>3.4585845792310457E-2</c:v>
                </c:pt>
                <c:pt idx="50">
                  <c:v>3.6889295123608737E-2</c:v>
                </c:pt>
                <c:pt idx="51">
                  <c:v>3.516974061970235E-2</c:v>
                </c:pt>
                <c:pt idx="52">
                  <c:v>3.3440411726256947E-2</c:v>
                </c:pt>
                <c:pt idx="53">
                  <c:v>3.0775515895011849E-2</c:v>
                </c:pt>
                <c:pt idx="54">
                  <c:v>2.856172806220978E-2</c:v>
                </c:pt>
                <c:pt idx="55">
                  <c:v>2.9260191711765832E-2</c:v>
                </c:pt>
                <c:pt idx="56">
                  <c:v>3.1178692703543051E-2</c:v>
                </c:pt>
                <c:pt idx="57">
                  <c:v>3.7031471681131703E-2</c:v>
                </c:pt>
                <c:pt idx="58">
                  <c:v>3.9909501581123753E-2</c:v>
                </c:pt>
                <c:pt idx="59">
                  <c:v>3.3090443177845791E-2</c:v>
                </c:pt>
                <c:pt idx="60">
                  <c:v>2.0429936026239701E-2</c:v>
                </c:pt>
                <c:pt idx="61">
                  <c:v>1.594233918003489E-2</c:v>
                </c:pt>
                <c:pt idx="62">
                  <c:v>2.6561543645322629E-2</c:v>
                </c:pt>
                <c:pt idx="63">
                  <c:v>3.5068893654044378E-2</c:v>
                </c:pt>
                <c:pt idx="64">
                  <c:v>3.0967228847484721E-2</c:v>
                </c:pt>
                <c:pt idx="65">
                  <c:v>2.602705616299417E-2</c:v>
                </c:pt>
                <c:pt idx="66">
                  <c:v>2.587150374122359E-2</c:v>
                </c:pt>
                <c:pt idx="67">
                  <c:v>2.691260699372984E-2</c:v>
                </c:pt>
                <c:pt idx="68">
                  <c:v>2.5874418970458959E-2</c:v>
                </c:pt>
                <c:pt idx="69">
                  <c:v>2.3193315376484971E-2</c:v>
                </c:pt>
                <c:pt idx="70">
                  <c:v>2.2686657383630061E-2</c:v>
                </c:pt>
                <c:pt idx="71">
                  <c:v>2.6189284143623481E-2</c:v>
                </c:pt>
                <c:pt idx="72">
                  <c:v>2.7336338114147821E-2</c:v>
                </c:pt>
                <c:pt idx="73">
                  <c:v>2.7740990571672709E-2</c:v>
                </c:pt>
                <c:pt idx="74">
                  <c:v>2.877527311984417E-2</c:v>
                </c:pt>
                <c:pt idx="75">
                  <c:v>2.8510329318482429E-2</c:v>
                </c:pt>
                <c:pt idx="76">
                  <c:v>2.7909474603405621E-2</c:v>
                </c:pt>
                <c:pt idx="77">
                  <c:v>2.354699792786898E-2</c:v>
                </c:pt>
                <c:pt idx="78">
                  <c:v>2.3516397046911521E-2</c:v>
                </c:pt>
                <c:pt idx="79">
                  <c:v>2.2115174941799771E-2</c:v>
                </c:pt>
                <c:pt idx="80">
                  <c:v>2.2268202762568419E-2</c:v>
                </c:pt>
                <c:pt idx="81">
                  <c:v>2.1244426266941788E-2</c:v>
                </c:pt>
                <c:pt idx="82">
                  <c:v>3.1177386289303839E-2</c:v>
                </c:pt>
                <c:pt idx="83">
                  <c:v>2.630647686699077E-2</c:v>
                </c:pt>
                <c:pt idx="84">
                  <c:v>2.5524833007679371E-2</c:v>
                </c:pt>
                <c:pt idx="85">
                  <c:v>2.6871534411513371E-2</c:v>
                </c:pt>
                <c:pt idx="86">
                  <c:v>2.6338851413823881E-2</c:v>
                </c:pt>
                <c:pt idx="87">
                  <c:v>2.464870108961555E-2</c:v>
                </c:pt>
                <c:pt idx="88">
                  <c:v>2.6238033764437702E-2</c:v>
                </c:pt>
                <c:pt idx="89">
                  <c:v>3.0191859532939729E-2</c:v>
                </c:pt>
                <c:pt idx="90">
                  <c:v>3.071685169632082E-2</c:v>
                </c:pt>
                <c:pt idx="91">
                  <c:v>3.1790352756617277E-2</c:v>
                </c:pt>
                <c:pt idx="92">
                  <c:v>2.9789485452214989E-2</c:v>
                </c:pt>
                <c:pt idx="93">
                  <c:v>2.7419432969366012E-2</c:v>
                </c:pt>
                <c:pt idx="94">
                  <c:v>2.5375304588112151E-2</c:v>
                </c:pt>
                <c:pt idx="95">
                  <c:v>2.727143524464504E-2</c:v>
                </c:pt>
                <c:pt idx="96">
                  <c:v>2.430072520573312E-2</c:v>
                </c:pt>
                <c:pt idx="97">
                  <c:v>2.5953063658202231E-2</c:v>
                </c:pt>
                <c:pt idx="98">
                  <c:v>2.870484051773789E-2</c:v>
                </c:pt>
                <c:pt idx="99">
                  <c:v>3.0161179689259059E-2</c:v>
                </c:pt>
                <c:pt idx="100">
                  <c:v>3.7558407981539428E-2</c:v>
                </c:pt>
                <c:pt idx="101">
                  <c:v>3.5796970668813113E-2</c:v>
                </c:pt>
              </c:numCache>
            </c:numRef>
          </c:yVal>
          <c:smooth val="0"/>
          <c:extLst>
            <c:ext xmlns:c16="http://schemas.microsoft.com/office/drawing/2014/chart" uri="{C3380CC4-5D6E-409C-BE32-E72D297353CC}">
              <c16:uniqueId val="{00000000-096C-4121-9522-6AB7243CCAAE}"/>
            </c:ext>
          </c:extLst>
        </c:ser>
        <c:ser>
          <c:idx val="1"/>
          <c:order val="1"/>
          <c:tx>
            <c:strRef>
              <c:f>Sheet1!$B$10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6:$A$157</c:f>
              <c:numCache>
                <c:formatCode>General</c:formatCode>
                <c:ptCount val="52"/>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numCache>
            </c:numRef>
          </c:xVal>
          <c:yVal>
            <c:numRef>
              <c:f>Sheet1!$B$106:$B$157</c:f>
              <c:numCache>
                <c:formatCode>General</c:formatCode>
                <c:ptCount val="52"/>
                <c:pt idx="0">
                  <c:v>3.3379430772150658E-2</c:v>
                </c:pt>
                <c:pt idx="1">
                  <c:v>3.5297770608354727E-2</c:v>
                </c:pt>
                <c:pt idx="2">
                  <c:v>3.603152077608085E-2</c:v>
                </c:pt>
                <c:pt idx="3">
                  <c:v>3.0978674639028671E-2</c:v>
                </c:pt>
                <c:pt idx="4">
                  <c:v>2.8133515753956471E-2</c:v>
                </c:pt>
                <c:pt idx="5">
                  <c:v>2.7512069607189622E-2</c:v>
                </c:pt>
                <c:pt idx="6">
                  <c:v>2.753590860107619E-2</c:v>
                </c:pt>
                <c:pt idx="7">
                  <c:v>2.7306049137985969E-2</c:v>
                </c:pt>
                <c:pt idx="8">
                  <c:v>2.683860754587173E-2</c:v>
                </c:pt>
                <c:pt idx="9">
                  <c:v>2.8577136215520639E-2</c:v>
                </c:pt>
                <c:pt idx="10">
                  <c:v>2.9045708307140341E-2</c:v>
                </c:pt>
                <c:pt idx="11">
                  <c:v>3.0151694267354031E-2</c:v>
                </c:pt>
                <c:pt idx="12">
                  <c:v>3.1278274774940933E-2</c:v>
                </c:pt>
                <c:pt idx="13">
                  <c:v>3.2623144271831599E-2</c:v>
                </c:pt>
                <c:pt idx="14">
                  <c:v>3.2081452766552027E-2</c:v>
                </c:pt>
                <c:pt idx="15">
                  <c:v>2.8476513020004542E-2</c:v>
                </c:pt>
                <c:pt idx="16">
                  <c:v>2.889792926206242E-2</c:v>
                </c:pt>
                <c:pt idx="17">
                  <c:v>2.8572345272906731E-2</c:v>
                </c:pt>
                <c:pt idx="18">
                  <c:v>2.758215728763419E-2</c:v>
                </c:pt>
                <c:pt idx="19">
                  <c:v>2.6684207925807661E-2</c:v>
                </c:pt>
                <c:pt idx="20">
                  <c:v>2.507409816863837E-2</c:v>
                </c:pt>
                <c:pt idx="21">
                  <c:v>3.7053775555914388E-2</c:v>
                </c:pt>
                <c:pt idx="22">
                  <c:v>4.1201839145334811E-2</c:v>
                </c:pt>
                <c:pt idx="23">
                  <c:v>3.952108516249337E-2</c:v>
                </c:pt>
                <c:pt idx="24">
                  <c:v>3.301132678213544E-2</c:v>
                </c:pt>
                <c:pt idx="25">
                  <c:v>3.4672282379825628E-2</c:v>
                </c:pt>
                <c:pt idx="26">
                  <c:v>3.6478521099227869E-2</c:v>
                </c:pt>
                <c:pt idx="27">
                  <c:v>3.1719960612283417E-2</c:v>
                </c:pt>
                <c:pt idx="28">
                  <c:v>2.9844699099281859E-2</c:v>
                </c:pt>
                <c:pt idx="29">
                  <c:v>2.824703792935155E-2</c:v>
                </c:pt>
                <c:pt idx="30">
                  <c:v>2.3926861689124789E-2</c:v>
                </c:pt>
                <c:pt idx="31">
                  <c:v>2.077067140814904E-2</c:v>
                </c:pt>
                <c:pt idx="32">
                  <c:v>2.3460558709885782E-2</c:v>
                </c:pt>
                <c:pt idx="33">
                  <c:v>3.042796286207031E-2</c:v>
                </c:pt>
                <c:pt idx="34">
                  <c:v>3.1037706913624011E-2</c:v>
                </c:pt>
                <c:pt idx="35">
                  <c:v>2.928997264422914E-2</c:v>
                </c:pt>
                <c:pt idx="36">
                  <c:v>2.9697936908540851E-2</c:v>
                </c:pt>
                <c:pt idx="37">
                  <c:v>3.0248130900335801E-2</c:v>
                </c:pt>
                <c:pt idx="38">
                  <c:v>3.5070387750061743E-2</c:v>
                </c:pt>
                <c:pt idx="39">
                  <c:v>3.120833777020552E-2</c:v>
                </c:pt>
                <c:pt idx="40">
                  <c:v>2.682679016675503E-2</c:v>
                </c:pt>
                <c:pt idx="41">
                  <c:v>2.4203784771293649E-2</c:v>
                </c:pt>
                <c:pt idx="42">
                  <c:v>2.4098053977022381E-2</c:v>
                </c:pt>
                <c:pt idx="43">
                  <c:v>2.4523754132153151E-2</c:v>
                </c:pt>
                <c:pt idx="44">
                  <c:v>2.2379504666963371E-2</c:v>
                </c:pt>
                <c:pt idx="45">
                  <c:v>2.104065524243157E-2</c:v>
                </c:pt>
                <c:pt idx="46">
                  <c:v>2.202824012890214E-2</c:v>
                </c:pt>
                <c:pt idx="47">
                  <c:v>2.3321641522021069E-2</c:v>
                </c:pt>
                <c:pt idx="48">
                  <c:v>2.5721900660138009E-2</c:v>
                </c:pt>
                <c:pt idx="49">
                  <c:v>2.4967370312040962E-2</c:v>
                </c:pt>
                <c:pt idx="50">
                  <c:v>2.603335979145837E-2</c:v>
                </c:pt>
                <c:pt idx="51">
                  <c:v>2.5702227757022279E-2</c:v>
                </c:pt>
              </c:numCache>
            </c:numRef>
          </c:yVal>
          <c:smooth val="0"/>
          <c:extLst>
            <c:ext xmlns:c16="http://schemas.microsoft.com/office/drawing/2014/chart" uri="{C3380CC4-5D6E-409C-BE32-E72D297353CC}">
              <c16:uniqueId val="{00000002-096C-4121-9522-6AB7243CCAAE}"/>
            </c:ext>
          </c:extLst>
        </c:ser>
        <c:ser>
          <c:idx val="2"/>
          <c:order val="2"/>
          <c:tx>
            <c:strRef>
              <c:f>Sheet1!$B$15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0:$A$161</c:f>
              <c:numCache>
                <c:formatCode>General</c:formatCode>
                <c:ptCount val="2"/>
                <c:pt idx="0">
                  <c:v>0</c:v>
                </c:pt>
                <c:pt idx="1">
                  <c:v>0.1108820277239114</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5-096C-4121-9522-6AB7243CCAAE}"/>
            </c:ext>
          </c:extLst>
        </c:ser>
        <c:ser>
          <c:idx val="3"/>
          <c:order val="3"/>
          <c:tx>
            <c:strRef>
              <c:f>Sheet1!$B$16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0.1108820277239114</c:v>
                </c:pt>
                <c:pt idx="1">
                  <c:v>0.1108820277239114</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8:$A$169</c:f>
              <c:numCache>
                <c:formatCode>General</c:formatCode>
                <c:ptCount val="2"/>
                <c:pt idx="0">
                  <c:v>0</c:v>
                </c:pt>
                <c:pt idx="1">
                  <c:v>0.11732114474802791</c:v>
                </c:pt>
              </c:numCache>
            </c:numRef>
          </c:xVal>
          <c:yVal>
            <c:numRef>
              <c:f>Sheet1!$B$168:$B$169</c:f>
              <c:numCache>
                <c:formatCode>General</c:formatCode>
                <c:ptCount val="2"/>
                <c:pt idx="0">
                  <c:v>3.1101577984060609E-2</c:v>
                </c:pt>
                <c:pt idx="1">
                  <c:v>3.1101577984060609E-2</c:v>
                </c:pt>
              </c:numCache>
            </c:numRef>
          </c:yVal>
          <c:smooth val="0"/>
          <c:extLst>
            <c:ext xmlns:c16="http://schemas.microsoft.com/office/drawing/2014/chart" uri="{C3380CC4-5D6E-409C-BE32-E72D297353CC}">
              <c16:uniqueId val="{0000000D-096C-4121-9522-6AB7243CCAAE}"/>
            </c:ext>
          </c:extLst>
        </c:ser>
        <c:ser>
          <c:idx val="5"/>
          <c:order val="5"/>
          <c:tx>
            <c:strRef>
              <c:f>Sheet1!$B$17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0.11732114474802791</c:v>
                </c:pt>
                <c:pt idx="1">
                  <c:v>0.11732114474802791</c:v>
                </c:pt>
              </c:numCache>
            </c:numRef>
          </c:xVal>
          <c:yVal>
            <c:numRef>
              <c:f>Sheet1!$B$172:$B$173</c:f>
              <c:numCache>
                <c:formatCode>General</c:formatCode>
                <c:ptCount val="2"/>
                <c:pt idx="0">
                  <c:v>3.1101577984060609E-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6:$A$177</c:f>
              <c:numCache>
                <c:formatCode>General</c:formatCode>
                <c:ptCount val="2"/>
                <c:pt idx="0">
                  <c:v>0</c:v>
                </c:pt>
                <c:pt idx="1">
                  <c:v>0.13512234665834599</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5-096C-4121-9522-6AB7243CCAAE}"/>
            </c:ext>
          </c:extLst>
        </c:ser>
        <c:ser>
          <c:idx val="7"/>
          <c:order val="7"/>
          <c:tx>
            <c:strRef>
              <c:f>Sheet1!$B$17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0:$A$181</c:f>
              <c:numCache>
                <c:formatCode>General</c:formatCode>
                <c:ptCount val="2"/>
                <c:pt idx="0">
                  <c:v>0.13512234665834599</c:v>
                </c:pt>
                <c:pt idx="1">
                  <c:v>0.13512234665834599</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4:$A$238</c:f>
              <c:numCache>
                <c:formatCode>General</c:formatCode>
                <c:ptCount val="55"/>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pt idx="52">
                  <c:v>0.11732114474802791</c:v>
                </c:pt>
                <c:pt idx="53">
                  <c:v>0.1108820277239114</c:v>
                </c:pt>
                <c:pt idx="54">
                  <c:v>0.13512234665834599</c:v>
                </c:pt>
              </c:numCache>
            </c:numRef>
          </c:xVal>
          <c:yVal>
            <c:numRef>
              <c:f>Sheet1!$B$184:$B$238</c:f>
              <c:numCache>
                <c:formatCode>General</c:formatCode>
                <c:ptCount val="55"/>
                <c:pt idx="0">
                  <c:v>3.1620668745252142E-2</c:v>
                </c:pt>
                <c:pt idx="1">
                  <c:v>3.1654790245678951E-2</c:v>
                </c:pt>
                <c:pt idx="2">
                  <c:v>3.2783325344754151E-2</c:v>
                </c:pt>
                <c:pt idx="3">
                  <c:v>3.022688607526958E-2</c:v>
                </c:pt>
                <c:pt idx="4">
                  <c:v>2.8540776744242852E-2</c:v>
                </c:pt>
                <c:pt idx="5">
                  <c:v>2.8198639317480349E-2</c:v>
                </c:pt>
                <c:pt idx="6">
                  <c:v>2.8149354774764782E-2</c:v>
                </c:pt>
                <c:pt idx="7">
                  <c:v>2.8199004366077019E-2</c:v>
                </c:pt>
                <c:pt idx="8">
                  <c:v>3.0157282303857849E-2</c:v>
                </c:pt>
                <c:pt idx="9">
                  <c:v>2.9717490317624731E-2</c:v>
                </c:pt>
                <c:pt idx="10">
                  <c:v>2.880162617160174E-2</c:v>
                </c:pt>
                <c:pt idx="11">
                  <c:v>3.0799476543192809E-2</c:v>
                </c:pt>
                <c:pt idx="12">
                  <c:v>2.8080121278043681E-2</c:v>
                </c:pt>
                <c:pt idx="13">
                  <c:v>2.8247092051713919E-2</c:v>
                </c:pt>
                <c:pt idx="14">
                  <c:v>2.639540124703324E-2</c:v>
                </c:pt>
                <c:pt idx="15">
                  <c:v>1.9220157910636009E-2</c:v>
                </c:pt>
                <c:pt idx="16">
                  <c:v>2.9292926757015069E-2</c:v>
                </c:pt>
                <c:pt idx="17">
                  <c:v>2.9541107656935999E-2</c:v>
                </c:pt>
                <c:pt idx="18">
                  <c:v>3.1154431279754719E-2</c:v>
                </c:pt>
                <c:pt idx="19">
                  <c:v>2.9461129531890291E-2</c:v>
                </c:pt>
                <c:pt idx="20">
                  <c:v>3.0313783713891131E-2</c:v>
                </c:pt>
                <c:pt idx="21">
                  <c:v>3.3508822667282862E-2</c:v>
                </c:pt>
                <c:pt idx="22">
                  <c:v>3.4739165058279807E-2</c:v>
                </c:pt>
                <c:pt idx="23">
                  <c:v>3.3561500120319547E-2</c:v>
                </c:pt>
                <c:pt idx="24">
                  <c:v>3.0961282548418428E-2</c:v>
                </c:pt>
                <c:pt idx="25">
                  <c:v>3.325613118609181E-2</c:v>
                </c:pt>
                <c:pt idx="26">
                  <c:v>3.230935798656305E-2</c:v>
                </c:pt>
                <c:pt idx="27">
                  <c:v>3.0186042242885399E-2</c:v>
                </c:pt>
                <c:pt idx="28">
                  <c:v>2.9826699740302571E-2</c:v>
                </c:pt>
                <c:pt idx="29">
                  <c:v>2.8461825588360749E-2</c:v>
                </c:pt>
                <c:pt idx="30">
                  <c:v>2.6667445839888119E-2</c:v>
                </c:pt>
                <c:pt idx="31">
                  <c:v>2.9333797528733729E-2</c:v>
                </c:pt>
                <c:pt idx="32">
                  <c:v>2.8469462201818171E-2</c:v>
                </c:pt>
                <c:pt idx="33">
                  <c:v>3.1278574864500211E-2</c:v>
                </c:pt>
                <c:pt idx="34">
                  <c:v>3.362517184260494E-2</c:v>
                </c:pt>
                <c:pt idx="35">
                  <c:v>3.1259339751075838E-2</c:v>
                </c:pt>
                <c:pt idx="36">
                  <c:v>3.2466678789921898E-2</c:v>
                </c:pt>
                <c:pt idx="37">
                  <c:v>3.336561461501103E-2</c:v>
                </c:pt>
                <c:pt idx="38">
                  <c:v>3.1897061212580187E-2</c:v>
                </c:pt>
                <c:pt idx="39">
                  <c:v>3.0591232179052279E-2</c:v>
                </c:pt>
                <c:pt idx="40">
                  <c:v>2.6490890509876141E-2</c:v>
                </c:pt>
                <c:pt idx="41">
                  <c:v>2.5005655171483909E-2</c:v>
                </c:pt>
                <c:pt idx="42">
                  <c:v>2.471524594195228E-2</c:v>
                </c:pt>
                <c:pt idx="43">
                  <c:v>2.5740688254943609E-2</c:v>
                </c:pt>
                <c:pt idx="44">
                  <c:v>2.534241769031121E-2</c:v>
                </c:pt>
                <c:pt idx="45">
                  <c:v>2.5785004878787769E-2</c:v>
                </c:pt>
                <c:pt idx="46">
                  <c:v>2.6712805427711591E-2</c:v>
                </c:pt>
                <c:pt idx="47">
                  <c:v>2.6016063432124481E-2</c:v>
                </c:pt>
                <c:pt idx="48">
                  <c:v>2.645901837190287E-2</c:v>
                </c:pt>
                <c:pt idx="49">
                  <c:v>2.253097533810856E-2</c:v>
                </c:pt>
                <c:pt idx="50">
                  <c:v>2.3407974477709061E-2</c:v>
                </c:pt>
                <c:pt idx="51">
                  <c:v>2.5267129597052979E-2</c:v>
                </c:pt>
                <c:pt idx="52">
                  <c:v>3.1101577984060599E-2</c:v>
                </c:pt>
                <c:pt idx="53">
                  <c:v>3.3390590546211449E-2</c:v>
                </c:pt>
                <c:pt idx="54">
                  <c:v>2.47735092998775E-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18089307194123574"/>
          <c:min val="7.5697543274504286E-2"/>
        </c:scaling>
        <c:delete val="0"/>
        <c:axPos val="b"/>
        <c:title>
          <c:tx>
            <c:rich>
              <a:bodyPr rot="0" spcFirstLastPara="1" vertOverflow="ellipsis" vert="horz" wrap="square" anchor="ctr" anchorCtr="1"/>
              <a:lstStyle/>
              <a:p>
                <a:pPr>
                  <a:defRPr sz="800" b="0">
                    <a:solidFill>
                      <a:srgbClr val="575555"/>
                    </a:solidFill>
                    <a:latin typeface="Nexa Bold"/>
                  </a:defRPr>
                </a:pPr>
                <a:r>
                  <a:rPr lang="en-US"/>
                  <a:t>Price Ix vs. Gillette Fusion5</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3084051742229012</c:v>
                </c:pt>
                <c:pt idx="1">
                  <c:v>0.31591786351078627</c:v>
                </c:pt>
                <c:pt idx="2">
                  <c:v>0.32058023334902946</c:v>
                </c:pt>
                <c:pt idx="3">
                  <c:v>0.31551466024025998</c:v>
                </c:pt>
                <c:pt idx="4">
                  <c:v>0.31248983133575575</c:v>
                </c:pt>
                <c:pt idx="5">
                  <c:v>0.31209899175068745</c:v>
                </c:pt>
                <c:pt idx="6">
                  <c:v>0.31243915630070307</c:v>
                </c:pt>
                <c:pt idx="7">
                  <c:v>0.3133619793471481</c:v>
                </c:pt>
                <c:pt idx="8">
                  <c:v>0.31671907756813417</c:v>
                </c:pt>
                <c:pt idx="9">
                  <c:v>0.31082322826247477</c:v>
                </c:pt>
                <c:pt idx="10">
                  <c:v>0.31047212859141043</c:v>
                </c:pt>
                <c:pt idx="11">
                  <c:v>0.30851195946449417</c:v>
                </c:pt>
                <c:pt idx="12">
                  <c:v>0.30743476600274672</c:v>
                </c:pt>
                <c:pt idx="13">
                  <c:v>0.30557876018361524</c:v>
                </c:pt>
                <c:pt idx="14">
                  <c:v>0.30608180521683359</c:v>
                </c:pt>
                <c:pt idx="15">
                  <c:v>0.30537959003209308</c:v>
                </c:pt>
                <c:pt idx="16">
                  <c:v>0.30479028449342177</c:v>
                </c:pt>
                <c:pt idx="17">
                  <c:v>0.30535697989231286</c:v>
                </c:pt>
                <c:pt idx="18">
                  <c:v>0.30758733419811496</c:v>
                </c:pt>
                <c:pt idx="19">
                  <c:v>0.30384356418742708</c:v>
                </c:pt>
                <c:pt idx="20">
                  <c:v>0.30255871389344829</c:v>
                </c:pt>
                <c:pt idx="21">
                  <c:v>0.30131492720175512</c:v>
                </c:pt>
                <c:pt idx="22">
                  <c:v>0.30402402402402401</c:v>
                </c:pt>
                <c:pt idx="23">
                  <c:v>0.3041818228723267</c:v>
                </c:pt>
                <c:pt idx="24">
                  <c:v>0.30380595989557657</c:v>
                </c:pt>
                <c:pt idx="25">
                  <c:v>0.30266464709715091</c:v>
                </c:pt>
                <c:pt idx="26">
                  <c:v>0.30198090992432275</c:v>
                </c:pt>
                <c:pt idx="27">
                  <c:v>0.30261018186645428</c:v>
                </c:pt>
                <c:pt idx="28">
                  <c:v>0.30379475941413642</c:v>
                </c:pt>
                <c:pt idx="29">
                  <c:v>0.30510575091808745</c:v>
                </c:pt>
                <c:pt idx="30">
                  <c:v>0.30547263681592041</c:v>
                </c:pt>
                <c:pt idx="31">
                  <c:v>0.30191808942530629</c:v>
                </c:pt>
                <c:pt idx="32">
                  <c:v>0.30004016835781272</c:v>
                </c:pt>
                <c:pt idx="33">
                  <c:v>0.30140260803244229</c:v>
                </c:pt>
                <c:pt idx="34">
                  <c:v>0.30315931183998879</c:v>
                </c:pt>
                <c:pt idx="35">
                  <c:v>0.30423707530585153</c:v>
                </c:pt>
                <c:pt idx="36">
                  <c:v>0.30339368848493503</c:v>
                </c:pt>
                <c:pt idx="37">
                  <c:v>0.30312142377964563</c:v>
                </c:pt>
                <c:pt idx="38">
                  <c:v>0.30421477922015827</c:v>
                </c:pt>
                <c:pt idx="39">
                  <c:v>0.30360700245050509</c:v>
                </c:pt>
                <c:pt idx="40">
                  <c:v>0.30482776067799466</c:v>
                </c:pt>
                <c:pt idx="41">
                  <c:v>0.30496561046396053</c:v>
                </c:pt>
                <c:pt idx="42">
                  <c:v>0.30474260101509459</c:v>
                </c:pt>
                <c:pt idx="43">
                  <c:v>0.30487658997567685</c:v>
                </c:pt>
                <c:pt idx="44">
                  <c:v>0.30417377406912238</c:v>
                </c:pt>
                <c:pt idx="45">
                  <c:v>0.30429474182711519</c:v>
                </c:pt>
                <c:pt idx="46">
                  <c:v>0.30416987037597953</c:v>
                </c:pt>
                <c:pt idx="47">
                  <c:v>0.30177142857142858</c:v>
                </c:pt>
                <c:pt idx="48">
                  <c:v>0.30034428178139644</c:v>
                </c:pt>
                <c:pt idx="49">
                  <c:v>0.30020553910468561</c:v>
                </c:pt>
                <c:pt idx="50">
                  <c:v>0.30020393921120919</c:v>
                </c:pt>
                <c:pt idx="51">
                  <c:v>0.30029572161037082</c:v>
                </c:pt>
                <c:pt idx="52">
                  <c:v>0.30085731375024921</c:v>
                </c:pt>
                <c:pt idx="53">
                  <c:v>0.30374794069192751</c:v>
                </c:pt>
                <c:pt idx="54">
                  <c:v>0.30475569923731716</c:v>
                </c:pt>
                <c:pt idx="55">
                  <c:v>0.30484411191281596</c:v>
                </c:pt>
                <c:pt idx="56">
                  <c:v>0.29666067320451317</c:v>
                </c:pt>
                <c:pt idx="57">
                  <c:v>0.25400835544515327</c:v>
                </c:pt>
                <c:pt idx="58">
                  <c:v>0.23382400369980466</c:v>
                </c:pt>
                <c:pt idx="59">
                  <c:v>0.23943026116791946</c:v>
                </c:pt>
                <c:pt idx="60">
                  <c:v>0.25369491863085675</c:v>
                </c:pt>
                <c:pt idx="61">
                  <c:v>0.26335839430757868</c:v>
                </c:pt>
                <c:pt idx="62">
                  <c:v>0.24811366501794199</c:v>
                </c:pt>
                <c:pt idx="63">
                  <c:v>0.25331883600138116</c:v>
                </c:pt>
                <c:pt idx="64">
                  <c:v>0.27606841827999473</c:v>
                </c:pt>
                <c:pt idx="65">
                  <c:v>0.28160478817918266</c:v>
                </c:pt>
                <c:pt idx="66">
                  <c:v>0.29229782021117312</c:v>
                </c:pt>
                <c:pt idx="67">
                  <c:v>0.30127414335954045</c:v>
                </c:pt>
                <c:pt idx="68">
                  <c:v>0.30305886879569066</c:v>
                </c:pt>
                <c:pt idx="69">
                  <c:v>0.30492991022208221</c:v>
                </c:pt>
                <c:pt idx="70">
                  <c:v>0.30628978911194849</c:v>
                </c:pt>
                <c:pt idx="71">
                  <c:v>0.30507690665654685</c:v>
                </c:pt>
                <c:pt idx="72">
                  <c:v>0.30607670596048481</c:v>
                </c:pt>
                <c:pt idx="73">
                  <c:v>0.3116373241246056</c:v>
                </c:pt>
                <c:pt idx="74">
                  <c:v>0.31424842998124136</c:v>
                </c:pt>
                <c:pt idx="75">
                  <c:v>0.31320176754871626</c:v>
                </c:pt>
                <c:pt idx="76">
                  <c:v>0.31380953870863448</c:v>
                </c:pt>
                <c:pt idx="77">
                  <c:v>0.32590348409435188</c:v>
                </c:pt>
                <c:pt idx="78">
                  <c:v>0.33061711871301291</c:v>
                </c:pt>
                <c:pt idx="79">
                  <c:v>0.33376024237416513</c:v>
                </c:pt>
                <c:pt idx="80">
                  <c:v>0.334863282523373</c:v>
                </c:pt>
                <c:pt idx="81">
                  <c:v>0.33732775797715603</c:v>
                </c:pt>
                <c:pt idx="82">
                  <c:v>0.3340239432262419</c:v>
                </c:pt>
                <c:pt idx="83">
                  <c:v>0.32813911724353323</c:v>
                </c:pt>
                <c:pt idx="84">
                  <c:v>0.32451377453380215</c:v>
                </c:pt>
                <c:pt idx="85">
                  <c:v>0.3242920313313794</c:v>
                </c:pt>
                <c:pt idx="86">
                  <c:v>0.32834757834757833</c:v>
                </c:pt>
                <c:pt idx="87">
                  <c:v>0.33024565689467972</c:v>
                </c:pt>
                <c:pt idx="88">
                  <c:v>0.33047076978575868</c:v>
                </c:pt>
                <c:pt idx="89">
                  <c:v>0.32960364974033468</c:v>
                </c:pt>
                <c:pt idx="90">
                  <c:v>0.32877782475231143</c:v>
                </c:pt>
                <c:pt idx="91">
                  <c:v>0.33265505668454848</c:v>
                </c:pt>
                <c:pt idx="92">
                  <c:v>0.33383080669232584</c:v>
                </c:pt>
                <c:pt idx="93">
                  <c:v>0.33445095599479496</c:v>
                </c:pt>
                <c:pt idx="94">
                  <c:v>0.33425385899470356</c:v>
                </c:pt>
                <c:pt idx="95">
                  <c:v>0.33302358553829059</c:v>
                </c:pt>
                <c:pt idx="96">
                  <c:v>0.3331230702831911</c:v>
                </c:pt>
                <c:pt idx="97">
                  <c:v>0.33248279672509923</c:v>
                </c:pt>
                <c:pt idx="98">
                  <c:v>0.33184443040565192</c:v>
                </c:pt>
                <c:pt idx="99">
                  <c:v>0.31234357273380736</c:v>
                </c:pt>
                <c:pt idx="100">
                  <c:v>0.30123106937136429</c:v>
                </c:pt>
                <c:pt idx="101">
                  <c:v>0.30056872662328632</c:v>
                </c:pt>
              </c:numCache>
            </c:numRef>
          </c:xVal>
          <c:yVal>
            <c:numRef>
              <c:f>Sheet1!$B$2:$B$103</c:f>
              <c:numCache>
                <c:formatCode>General</c:formatCode>
                <c:ptCount val="102"/>
                <c:pt idx="0">
                  <c:v>3.1549194168607006E-2</c:v>
                </c:pt>
                <c:pt idx="1">
                  <c:v>2.5925076493376501E-2</c:v>
                </c:pt>
                <c:pt idx="2">
                  <c:v>1.9457371147598559E-2</c:v>
                </c:pt>
                <c:pt idx="3">
                  <c:v>2.1005226955186754E-2</c:v>
                </c:pt>
                <c:pt idx="4">
                  <c:v>2.3683174888924508E-2</c:v>
                </c:pt>
                <c:pt idx="5">
                  <c:v>2.4814911692122233E-2</c:v>
                </c:pt>
                <c:pt idx="6">
                  <c:v>2.2966901329024649E-2</c:v>
                </c:pt>
                <c:pt idx="7">
                  <c:v>2.1693356757167159E-2</c:v>
                </c:pt>
                <c:pt idx="8">
                  <c:v>2.508474647577718E-2</c:v>
                </c:pt>
                <c:pt idx="9">
                  <c:v>3.2219360006132694E-2</c:v>
                </c:pt>
                <c:pt idx="10">
                  <c:v>3.3455366889535383E-2</c:v>
                </c:pt>
                <c:pt idx="11">
                  <c:v>3.0774205038558523E-2</c:v>
                </c:pt>
                <c:pt idx="12">
                  <c:v>3.166311843777065E-2</c:v>
                </c:pt>
                <c:pt idx="13">
                  <c:v>2.9573633835338665E-2</c:v>
                </c:pt>
                <c:pt idx="14">
                  <c:v>2.9438294749618857E-2</c:v>
                </c:pt>
                <c:pt idx="15">
                  <c:v>3.2326555355538883E-2</c:v>
                </c:pt>
                <c:pt idx="16">
                  <c:v>3.0454183212358377E-2</c:v>
                </c:pt>
                <c:pt idx="17">
                  <c:v>3.0177244147381318E-2</c:v>
                </c:pt>
                <c:pt idx="18">
                  <c:v>3.0949579617420526E-2</c:v>
                </c:pt>
                <c:pt idx="19">
                  <c:v>3.3044676701229417E-2</c:v>
                </c:pt>
                <c:pt idx="20">
                  <c:v>3.4502368865567047E-2</c:v>
                </c:pt>
                <c:pt idx="21">
                  <c:v>3.8171203781773647E-2</c:v>
                </c:pt>
                <c:pt idx="22">
                  <c:v>3.2633840746857157E-2</c:v>
                </c:pt>
                <c:pt idx="23">
                  <c:v>3.22851825867847E-2</c:v>
                </c:pt>
                <c:pt idx="24">
                  <c:v>3.4293774474369265E-2</c:v>
                </c:pt>
                <c:pt idx="25">
                  <c:v>3.3493331489235549E-2</c:v>
                </c:pt>
                <c:pt idx="26">
                  <c:v>3.2256296982208908E-2</c:v>
                </c:pt>
                <c:pt idx="27">
                  <c:v>3.256327154323236E-2</c:v>
                </c:pt>
                <c:pt idx="28">
                  <c:v>3.0215972855570965E-2</c:v>
                </c:pt>
                <c:pt idx="29">
                  <c:v>2.971323515475446E-2</c:v>
                </c:pt>
                <c:pt idx="30">
                  <c:v>2.9886044202056927E-2</c:v>
                </c:pt>
                <c:pt idx="31">
                  <c:v>3.0113049153545669E-2</c:v>
                </c:pt>
                <c:pt idx="32">
                  <c:v>3.0121682992946059E-2</c:v>
                </c:pt>
                <c:pt idx="33">
                  <c:v>2.8704102443482309E-2</c:v>
                </c:pt>
                <c:pt idx="34">
                  <c:v>3.0602403901330309E-2</c:v>
                </c:pt>
                <c:pt idx="35">
                  <c:v>3.1456536502498786E-2</c:v>
                </c:pt>
                <c:pt idx="36">
                  <c:v>3.1516667937295108E-2</c:v>
                </c:pt>
                <c:pt idx="37">
                  <c:v>3.3226585884057164E-2</c:v>
                </c:pt>
                <c:pt idx="38">
                  <c:v>3.3016326225624587E-2</c:v>
                </c:pt>
                <c:pt idx="39">
                  <c:v>3.0075909553288729E-2</c:v>
                </c:pt>
                <c:pt idx="40">
                  <c:v>3.0308227143147046E-2</c:v>
                </c:pt>
                <c:pt idx="41">
                  <c:v>3.1273537834975489E-2</c:v>
                </c:pt>
                <c:pt idx="42">
                  <c:v>3.0059016900147784E-2</c:v>
                </c:pt>
                <c:pt idx="43">
                  <c:v>3.0573863083611635E-2</c:v>
                </c:pt>
                <c:pt idx="44">
                  <c:v>3.254448153409624E-2</c:v>
                </c:pt>
                <c:pt idx="45">
                  <c:v>3.2420025270644671E-2</c:v>
                </c:pt>
                <c:pt idx="46">
                  <c:v>3.0841270586476857E-2</c:v>
                </c:pt>
                <c:pt idx="47">
                  <c:v>3.4545476528939606E-2</c:v>
                </c:pt>
                <c:pt idx="48">
                  <c:v>3.9378011399146942E-2</c:v>
                </c:pt>
                <c:pt idx="49">
                  <c:v>3.4585845792310457E-2</c:v>
                </c:pt>
                <c:pt idx="50">
                  <c:v>3.6889295123608744E-2</c:v>
                </c:pt>
                <c:pt idx="51">
                  <c:v>3.516974061970235E-2</c:v>
                </c:pt>
                <c:pt idx="52">
                  <c:v>3.3440411726256954E-2</c:v>
                </c:pt>
                <c:pt idx="53">
                  <c:v>3.0775515895011849E-2</c:v>
                </c:pt>
                <c:pt idx="54">
                  <c:v>2.856172806220978E-2</c:v>
                </c:pt>
                <c:pt idx="55">
                  <c:v>2.9260191711765828E-2</c:v>
                </c:pt>
                <c:pt idx="56">
                  <c:v>3.1178692703543048E-2</c:v>
                </c:pt>
                <c:pt idx="57">
                  <c:v>3.7031471681131703E-2</c:v>
                </c:pt>
                <c:pt idx="58">
                  <c:v>3.9909501581123753E-2</c:v>
                </c:pt>
                <c:pt idx="59">
                  <c:v>3.3090443177845791E-2</c:v>
                </c:pt>
                <c:pt idx="60">
                  <c:v>2.0429936026239697E-2</c:v>
                </c:pt>
                <c:pt idx="61">
                  <c:v>1.5942339180034886E-2</c:v>
                </c:pt>
                <c:pt idx="62">
                  <c:v>2.6561543645322632E-2</c:v>
                </c:pt>
                <c:pt idx="63">
                  <c:v>3.5068893654044385E-2</c:v>
                </c:pt>
                <c:pt idx="64">
                  <c:v>3.0967228847484717E-2</c:v>
                </c:pt>
                <c:pt idx="65">
                  <c:v>2.6027056162994167E-2</c:v>
                </c:pt>
                <c:pt idx="66">
                  <c:v>2.5871503741223587E-2</c:v>
                </c:pt>
                <c:pt idx="67">
                  <c:v>2.691260699372984E-2</c:v>
                </c:pt>
                <c:pt idx="68">
                  <c:v>2.5874418970458959E-2</c:v>
                </c:pt>
                <c:pt idx="69">
                  <c:v>2.3193315376484971E-2</c:v>
                </c:pt>
                <c:pt idx="70">
                  <c:v>2.2686657383630057E-2</c:v>
                </c:pt>
                <c:pt idx="71">
                  <c:v>2.6189284143623485E-2</c:v>
                </c:pt>
                <c:pt idx="72">
                  <c:v>2.7336338114147821E-2</c:v>
                </c:pt>
                <c:pt idx="73">
                  <c:v>2.7740990571672709E-2</c:v>
                </c:pt>
                <c:pt idx="74">
                  <c:v>2.8775273119844166E-2</c:v>
                </c:pt>
                <c:pt idx="75">
                  <c:v>2.8510329318482425E-2</c:v>
                </c:pt>
                <c:pt idx="76">
                  <c:v>2.7909474603405617E-2</c:v>
                </c:pt>
                <c:pt idx="77">
                  <c:v>2.354699792786898E-2</c:v>
                </c:pt>
                <c:pt idx="78">
                  <c:v>2.3516397046911525E-2</c:v>
                </c:pt>
                <c:pt idx="79">
                  <c:v>2.2115174941799768E-2</c:v>
                </c:pt>
                <c:pt idx="80">
                  <c:v>2.2268202762568419E-2</c:v>
                </c:pt>
                <c:pt idx="81">
                  <c:v>2.1244426266941792E-2</c:v>
                </c:pt>
                <c:pt idx="82">
                  <c:v>3.1177386289303839E-2</c:v>
                </c:pt>
                <c:pt idx="83">
                  <c:v>2.6306476866990773E-2</c:v>
                </c:pt>
                <c:pt idx="84">
                  <c:v>2.5524833007679375E-2</c:v>
                </c:pt>
                <c:pt idx="85">
                  <c:v>2.6871534411513368E-2</c:v>
                </c:pt>
                <c:pt idx="86">
                  <c:v>2.6338851413823878E-2</c:v>
                </c:pt>
                <c:pt idx="87">
                  <c:v>2.4648701089615546E-2</c:v>
                </c:pt>
                <c:pt idx="88">
                  <c:v>2.6238033764437702E-2</c:v>
                </c:pt>
                <c:pt idx="89">
                  <c:v>3.0191859532939729E-2</c:v>
                </c:pt>
                <c:pt idx="90">
                  <c:v>3.0716851696320817E-2</c:v>
                </c:pt>
                <c:pt idx="91">
                  <c:v>3.1790352756617284E-2</c:v>
                </c:pt>
                <c:pt idx="92">
                  <c:v>2.9789485452214992E-2</c:v>
                </c:pt>
                <c:pt idx="93">
                  <c:v>2.7419432969366012E-2</c:v>
                </c:pt>
                <c:pt idx="94">
                  <c:v>2.5375304588112154E-2</c:v>
                </c:pt>
                <c:pt idx="95">
                  <c:v>2.7271435244645044E-2</c:v>
                </c:pt>
                <c:pt idx="96">
                  <c:v>2.4300725205733124E-2</c:v>
                </c:pt>
                <c:pt idx="97">
                  <c:v>2.5953063658202231E-2</c:v>
                </c:pt>
                <c:pt idx="98">
                  <c:v>2.870484051773789E-2</c:v>
                </c:pt>
                <c:pt idx="99">
                  <c:v>3.0161179689259059E-2</c:v>
                </c:pt>
                <c:pt idx="100">
                  <c:v>3.7558407981539428E-2</c:v>
                </c:pt>
                <c:pt idx="101">
                  <c:v>3.5796970668813106E-2</c:v>
                </c:pt>
              </c:numCache>
            </c:numRef>
          </c:yVal>
          <c:smooth val="0"/>
          <c:extLst>
            <c:ext xmlns:c16="http://schemas.microsoft.com/office/drawing/2014/chart" uri="{C3380CC4-5D6E-409C-BE32-E72D297353CC}">
              <c16:uniqueId val="{00000000-F32D-48B7-BC20-E66FC6253BAD}"/>
            </c:ext>
          </c:extLst>
        </c:ser>
        <c:ser>
          <c:idx val="1"/>
          <c:order val="1"/>
          <c:tx>
            <c:strRef>
              <c:f>Sheet1!$B$10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6:$A$157</c:f>
              <c:numCache>
                <c:formatCode>General</c:formatCode>
                <c:ptCount val="52"/>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numCache>
            </c:numRef>
          </c:xVal>
          <c:yVal>
            <c:numRef>
              <c:f>Sheet1!$B$106:$B$157</c:f>
              <c:numCache>
                <c:formatCode>General</c:formatCode>
                <c:ptCount val="52"/>
                <c:pt idx="0">
                  <c:v>3.3379430772150658E-2</c:v>
                </c:pt>
                <c:pt idx="1">
                  <c:v>3.5297770608354727E-2</c:v>
                </c:pt>
                <c:pt idx="2">
                  <c:v>3.603152077608085E-2</c:v>
                </c:pt>
                <c:pt idx="3">
                  <c:v>3.0978674639028675E-2</c:v>
                </c:pt>
                <c:pt idx="4">
                  <c:v>2.8133515753956471E-2</c:v>
                </c:pt>
                <c:pt idx="5">
                  <c:v>2.7512069607189618E-2</c:v>
                </c:pt>
                <c:pt idx="6">
                  <c:v>2.7535908601076187E-2</c:v>
                </c:pt>
                <c:pt idx="7">
                  <c:v>2.7306049137985969E-2</c:v>
                </c:pt>
                <c:pt idx="8">
                  <c:v>2.6838607545871734E-2</c:v>
                </c:pt>
                <c:pt idx="9">
                  <c:v>2.8577136215520643E-2</c:v>
                </c:pt>
                <c:pt idx="10">
                  <c:v>2.9045708307140341E-2</c:v>
                </c:pt>
                <c:pt idx="11">
                  <c:v>3.0151694267354034E-2</c:v>
                </c:pt>
                <c:pt idx="12">
                  <c:v>3.1278274774940926E-2</c:v>
                </c:pt>
                <c:pt idx="13">
                  <c:v>3.2623144271831599E-2</c:v>
                </c:pt>
                <c:pt idx="14">
                  <c:v>3.2081452766552027E-2</c:v>
                </c:pt>
                <c:pt idx="15">
                  <c:v>2.8476513020004538E-2</c:v>
                </c:pt>
                <c:pt idx="16">
                  <c:v>2.8897929262062423E-2</c:v>
                </c:pt>
                <c:pt idx="17">
                  <c:v>2.8572345272906727E-2</c:v>
                </c:pt>
                <c:pt idx="18">
                  <c:v>2.7582157287634194E-2</c:v>
                </c:pt>
                <c:pt idx="19">
                  <c:v>2.6684207925807661E-2</c:v>
                </c:pt>
                <c:pt idx="20">
                  <c:v>2.5074098168638374E-2</c:v>
                </c:pt>
                <c:pt idx="21">
                  <c:v>3.7053775555914395E-2</c:v>
                </c:pt>
                <c:pt idx="22">
                  <c:v>4.1201839145334811E-2</c:v>
                </c:pt>
                <c:pt idx="23">
                  <c:v>3.952108516249337E-2</c:v>
                </c:pt>
                <c:pt idx="24">
                  <c:v>3.301132678213544E-2</c:v>
                </c:pt>
                <c:pt idx="25">
                  <c:v>3.4672282379825628E-2</c:v>
                </c:pt>
                <c:pt idx="26">
                  <c:v>3.6478521099227869E-2</c:v>
                </c:pt>
                <c:pt idx="27">
                  <c:v>3.1719960612283417E-2</c:v>
                </c:pt>
                <c:pt idx="28">
                  <c:v>2.9844699099281863E-2</c:v>
                </c:pt>
                <c:pt idx="29">
                  <c:v>2.8247037929351546E-2</c:v>
                </c:pt>
                <c:pt idx="30">
                  <c:v>2.3926861689124793E-2</c:v>
                </c:pt>
                <c:pt idx="31">
                  <c:v>2.0770671408149036E-2</c:v>
                </c:pt>
                <c:pt idx="32">
                  <c:v>2.3460558709885785E-2</c:v>
                </c:pt>
                <c:pt idx="33">
                  <c:v>3.0427962862070307E-2</c:v>
                </c:pt>
                <c:pt idx="34">
                  <c:v>3.1037706913624008E-2</c:v>
                </c:pt>
                <c:pt idx="35">
                  <c:v>2.928997264422914E-2</c:v>
                </c:pt>
                <c:pt idx="36">
                  <c:v>2.9697936908540855E-2</c:v>
                </c:pt>
                <c:pt idx="37">
                  <c:v>3.0248130900335804E-2</c:v>
                </c:pt>
                <c:pt idx="38">
                  <c:v>3.5070387750061743E-2</c:v>
                </c:pt>
                <c:pt idx="39">
                  <c:v>3.1208337770205517E-2</c:v>
                </c:pt>
                <c:pt idx="40">
                  <c:v>2.6826790166755026E-2</c:v>
                </c:pt>
                <c:pt idx="41">
                  <c:v>2.4203784771293646E-2</c:v>
                </c:pt>
                <c:pt idx="42">
                  <c:v>2.4098053977022377E-2</c:v>
                </c:pt>
                <c:pt idx="43">
                  <c:v>2.4523754132153155E-2</c:v>
                </c:pt>
                <c:pt idx="44">
                  <c:v>2.2379504666963371E-2</c:v>
                </c:pt>
                <c:pt idx="45">
                  <c:v>2.104065524243157E-2</c:v>
                </c:pt>
                <c:pt idx="46">
                  <c:v>2.2028240128902143E-2</c:v>
                </c:pt>
                <c:pt idx="47">
                  <c:v>2.3321641522021073E-2</c:v>
                </c:pt>
                <c:pt idx="48">
                  <c:v>2.5721900660138006E-2</c:v>
                </c:pt>
                <c:pt idx="49">
                  <c:v>2.4967370312040958E-2</c:v>
                </c:pt>
                <c:pt idx="50">
                  <c:v>2.6033359791458374E-2</c:v>
                </c:pt>
                <c:pt idx="51">
                  <c:v>2.5702227757022279E-2</c:v>
                </c:pt>
              </c:numCache>
            </c:numRef>
          </c:yVal>
          <c:smooth val="0"/>
          <c:extLst>
            <c:ext xmlns:c16="http://schemas.microsoft.com/office/drawing/2014/chart" uri="{C3380CC4-5D6E-409C-BE32-E72D297353CC}">
              <c16:uniqueId val="{00000002-F32D-48B7-BC20-E66FC6253BAD}"/>
            </c:ext>
          </c:extLst>
        </c:ser>
        <c:ser>
          <c:idx val="2"/>
          <c:order val="2"/>
          <c:tx>
            <c:strRef>
              <c:f>Sheet1!$B$159</c:f>
              <c:strCache>
                <c:ptCount val="1"/>
                <c:pt idx="0">
                  <c:v>Custom Linep3yQ</c:v>
                </c:pt>
              </c:strCache>
            </c:strRef>
          </c:tx>
          <c:spPr>
            <a:ln w="19050" cap="rnd">
              <a:solidFill>
                <a:srgbClr val="C00000"/>
              </a:solidFill>
              <a:prstDash val="sysDot"/>
              <a:round/>
            </a:ln>
            <a:effectLst/>
          </c:spPr>
          <c:marker>
            <c:symbol val="none"/>
          </c:marker>
          <c:xVal>
            <c:numRef>
              <c:f>Sheet1!$A$160:$A$161</c:f>
              <c:numCache>
                <c:formatCode>General</c:formatCode>
                <c:ptCount val="2"/>
                <c:pt idx="0">
                  <c:v>0</c:v>
                </c:pt>
                <c:pt idx="1">
                  <c:v>0.27575744047645689</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3-F32D-48B7-BC20-E66FC6253BAD}"/>
            </c:ext>
          </c:extLst>
        </c:ser>
        <c:ser>
          <c:idx val="3"/>
          <c:order val="3"/>
          <c:tx>
            <c:strRef>
              <c:f>Sheet1!$B$16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0.27575744047645689</c:v>
                </c:pt>
                <c:pt idx="1">
                  <c:v>0.27575744047645689</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8:$A$169</c:f>
              <c:numCache>
                <c:formatCode>General</c:formatCode>
                <c:ptCount val="2"/>
                <c:pt idx="0">
                  <c:v>0</c:v>
                </c:pt>
                <c:pt idx="1">
                  <c:v>0.28987004975079905</c:v>
                </c:pt>
              </c:numCache>
            </c:numRef>
          </c:xVal>
          <c:yVal>
            <c:numRef>
              <c:f>Sheet1!$B$168:$B$169</c:f>
              <c:numCache>
                <c:formatCode>General</c:formatCode>
                <c:ptCount val="2"/>
                <c:pt idx="0">
                  <c:v>3.1101577984060606E-2</c:v>
                </c:pt>
                <c:pt idx="1">
                  <c:v>3.1101577984060606E-2</c:v>
                </c:pt>
              </c:numCache>
            </c:numRef>
          </c:yVal>
          <c:smooth val="0"/>
          <c:extLst>
            <c:ext xmlns:c16="http://schemas.microsoft.com/office/drawing/2014/chart" uri="{C3380CC4-5D6E-409C-BE32-E72D297353CC}">
              <c16:uniqueId val="{0000000A-F32D-48B7-BC20-E66FC6253BAD}"/>
            </c:ext>
          </c:extLst>
        </c:ser>
        <c:ser>
          <c:idx val="5"/>
          <c:order val="5"/>
          <c:tx>
            <c:strRef>
              <c:f>Sheet1!$B$17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0.28987004975079905</c:v>
                </c:pt>
                <c:pt idx="1">
                  <c:v>0.28987004975079905</c:v>
                </c:pt>
              </c:numCache>
            </c:numRef>
          </c:xVal>
          <c:yVal>
            <c:numRef>
              <c:f>Sheet1!$B$172:$B$173</c:f>
              <c:numCache>
                <c:formatCode>General</c:formatCode>
                <c:ptCount val="2"/>
                <c:pt idx="0">
                  <c:v>3.1101577984060606E-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6:$A$177</c:f>
              <c:numCache>
                <c:formatCode>General</c:formatCode>
                <c:ptCount val="2"/>
                <c:pt idx="0">
                  <c:v>0</c:v>
                </c:pt>
                <c:pt idx="1">
                  <c:v>0.32888493428125432</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1-F32D-48B7-BC20-E66FC6253BAD}"/>
            </c:ext>
          </c:extLst>
        </c:ser>
        <c:ser>
          <c:idx val="7"/>
          <c:order val="7"/>
          <c:tx>
            <c:strRef>
              <c:f>Sheet1!$B$17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0:$A$181</c:f>
              <c:numCache>
                <c:formatCode>General</c:formatCode>
                <c:ptCount val="2"/>
                <c:pt idx="0">
                  <c:v>0.32888493428125432</c:v>
                </c:pt>
                <c:pt idx="1">
                  <c:v>0.32888493428125432</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4:$A$238</c:f>
              <c:numCache>
                <c:formatCode>General</c:formatCode>
                <c:ptCount val="55"/>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pt idx="52">
                  <c:v>0.28987004975079905</c:v>
                </c:pt>
                <c:pt idx="53">
                  <c:v>0.27575744047645689</c:v>
                </c:pt>
                <c:pt idx="54">
                  <c:v>0.32888493428125432</c:v>
                </c:pt>
              </c:numCache>
            </c:numRef>
          </c:xVal>
          <c:yVal>
            <c:numRef>
              <c:f>Sheet1!$B$184:$B$238</c:f>
              <c:numCache>
                <c:formatCode>General</c:formatCode>
                <c:ptCount val="55"/>
                <c:pt idx="0">
                  <c:v>2.9413873016704839E-2</c:v>
                </c:pt>
                <c:pt idx="1">
                  <c:v>2.9896344890080709E-2</c:v>
                </c:pt>
                <c:pt idx="2">
                  <c:v>3.0155656486461964E-2</c:v>
                </c:pt>
                <c:pt idx="3">
                  <c:v>2.7109900331363727E-2</c:v>
                </c:pt>
                <c:pt idx="4">
                  <c:v>2.4371775225560388E-2</c:v>
                </c:pt>
                <c:pt idx="5">
                  <c:v>2.4094268404047922E-2</c:v>
                </c:pt>
                <c:pt idx="6">
                  <c:v>2.4322183284519114E-2</c:v>
                </c:pt>
                <c:pt idx="7">
                  <c:v>2.5263903460272262E-2</c:v>
                </c:pt>
                <c:pt idx="8">
                  <c:v>2.7533717749061021E-2</c:v>
                </c:pt>
                <c:pt idx="9">
                  <c:v>2.9136059572005948E-2</c:v>
                </c:pt>
                <c:pt idx="10">
                  <c:v>2.8439725189245424E-2</c:v>
                </c:pt>
                <c:pt idx="11">
                  <c:v>2.8481575446516888E-2</c:v>
                </c:pt>
                <c:pt idx="12">
                  <c:v>3.0108594349578348E-2</c:v>
                </c:pt>
                <c:pt idx="13">
                  <c:v>3.169054387055209E-2</c:v>
                </c:pt>
                <c:pt idx="14">
                  <c:v>3.1465934595702259E-2</c:v>
                </c:pt>
                <c:pt idx="15">
                  <c:v>3.1477667841337743E-2</c:v>
                </c:pt>
                <c:pt idx="16">
                  <c:v>3.1573121681829512E-2</c:v>
                </c:pt>
                <c:pt idx="17">
                  <c:v>3.1532924296196564E-2</c:v>
                </c:pt>
                <c:pt idx="18">
                  <c:v>3.0515660900336583E-2</c:v>
                </c:pt>
                <c:pt idx="19">
                  <c:v>3.0211789143868836E-2</c:v>
                </c:pt>
                <c:pt idx="20">
                  <c:v>2.8955614795748236E-2</c:v>
                </c:pt>
                <c:pt idx="21">
                  <c:v>3.2772131418724967E-2</c:v>
                </c:pt>
                <c:pt idx="22">
                  <c:v>3.3542665870490845E-2</c:v>
                </c:pt>
                <c:pt idx="23">
                  <c:v>3.3435184307609174E-2</c:v>
                </c:pt>
                <c:pt idx="24">
                  <c:v>3.268271460365052E-2</c:v>
                </c:pt>
                <c:pt idx="25">
                  <c:v>3.3870059534782497E-2</c:v>
                </c:pt>
                <c:pt idx="26">
                  <c:v>3.3073079926514877E-2</c:v>
                </c:pt>
                <c:pt idx="27">
                  <c:v>3.1808643842456727E-2</c:v>
                </c:pt>
                <c:pt idx="28">
                  <c:v>3.0502176751221188E-2</c:v>
                </c:pt>
                <c:pt idx="29">
                  <c:v>2.7906678470255915E-2</c:v>
                </c:pt>
                <c:pt idx="30">
                  <c:v>2.5033266393526828E-2</c:v>
                </c:pt>
                <c:pt idx="31">
                  <c:v>2.630903103630991E-2</c:v>
                </c:pt>
                <c:pt idx="32">
                  <c:v>2.8693045313762239E-2</c:v>
                </c:pt>
                <c:pt idx="33">
                  <c:v>3.2596808075387743E-2</c:v>
                </c:pt>
                <c:pt idx="34">
                  <c:v>3.3462836223474769E-2</c:v>
                </c:pt>
                <c:pt idx="35">
                  <c:v>3.1780988069129081E-2</c:v>
                </c:pt>
                <c:pt idx="36">
                  <c:v>3.2997078119396075E-2</c:v>
                </c:pt>
                <c:pt idx="37">
                  <c:v>3.4241810296995578E-2</c:v>
                </c:pt>
                <c:pt idx="38">
                  <c:v>3.5259393566231922E-2</c:v>
                </c:pt>
                <c:pt idx="39">
                  <c:v>3.2524924643797831E-2</c:v>
                </c:pt>
                <c:pt idx="40">
                  <c:v>2.8308242375685959E-2</c:v>
                </c:pt>
                <c:pt idx="41">
                  <c:v>2.54404048951909E-2</c:v>
                </c:pt>
                <c:pt idx="42">
                  <c:v>2.3287513921568817E-2</c:v>
                </c:pt>
                <c:pt idx="43">
                  <c:v>2.3365554652546534E-2</c:v>
                </c:pt>
                <c:pt idx="44">
                  <c:v>2.3054756675168077E-2</c:v>
                </c:pt>
                <c:pt idx="45">
                  <c:v>2.3566114628330095E-2</c:v>
                </c:pt>
                <c:pt idx="46">
                  <c:v>2.5888630394799238E-2</c:v>
                </c:pt>
                <c:pt idx="47">
                  <c:v>2.6265547596405793E-2</c:v>
                </c:pt>
                <c:pt idx="48">
                  <c:v>2.7412822111043234E-2</c:v>
                </c:pt>
                <c:pt idx="49">
                  <c:v>2.5962622488181153E-2</c:v>
                </c:pt>
                <c:pt idx="50">
                  <c:v>2.4525712064247307E-2</c:v>
                </c:pt>
                <c:pt idx="51">
                  <c:v>2.4473274634488791E-2</c:v>
                </c:pt>
                <c:pt idx="52">
                  <c:v>3.1101577984060602E-2</c:v>
                </c:pt>
                <c:pt idx="53">
                  <c:v>3.3390590546211449E-2</c:v>
                </c:pt>
                <c:pt idx="54">
                  <c:v>2.4773509299877497E-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40737801608579088"/>
          <c:min val="0.18705920295984374"/>
        </c:scaling>
        <c:delete val="0"/>
        <c:axPos val="b"/>
        <c:title>
          <c:tx>
            <c:rich>
              <a:bodyPr rot="0" spcFirstLastPara="1" vertOverflow="ellipsis" vert="horz" wrap="square" anchor="ctr" anchorCtr="1"/>
              <a:lstStyle/>
              <a:p>
                <a:pPr>
                  <a:defRPr sz="800" b="0">
                    <a:latin typeface="Nexa Bold"/>
                  </a:defRPr>
                </a:pPr>
                <a:r>
                  <a:rPr lang="en-US"/>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1291069944164441</c:v>
                </c:pt>
                <c:pt idx="1">
                  <c:v>0.13485892486555889</c:v>
                </c:pt>
                <c:pt idx="2">
                  <c:v>0.13361697278764331</c:v>
                </c:pt>
                <c:pt idx="3">
                  <c:v>0.13181455947245191</c:v>
                </c:pt>
                <c:pt idx="4">
                  <c:v>0.13079849733141291</c:v>
                </c:pt>
                <c:pt idx="5">
                  <c:v>0.12786527339341361</c:v>
                </c:pt>
                <c:pt idx="6">
                  <c:v>0.13389772495720559</c:v>
                </c:pt>
                <c:pt idx="7">
                  <c:v>0.1359519354250221</c:v>
                </c:pt>
                <c:pt idx="8">
                  <c:v>0.13408395448492219</c:v>
                </c:pt>
                <c:pt idx="9">
                  <c:v>0.1272173036352085</c:v>
                </c:pt>
                <c:pt idx="10">
                  <c:v>0.12580154817273331</c:v>
                </c:pt>
                <c:pt idx="11">
                  <c:v>0.1247833670603628</c:v>
                </c:pt>
                <c:pt idx="12">
                  <c:v>0.12616612542700109</c:v>
                </c:pt>
                <c:pt idx="13">
                  <c:v>0.13426073846412021</c:v>
                </c:pt>
                <c:pt idx="14">
                  <c:v>0.13040345544745011</c:v>
                </c:pt>
                <c:pt idx="15">
                  <c:v>0.12568196098787579</c:v>
                </c:pt>
                <c:pt idx="16">
                  <c:v>0.1284543866213313</c:v>
                </c:pt>
                <c:pt idx="17">
                  <c:v>0.13252000199740169</c:v>
                </c:pt>
                <c:pt idx="18">
                  <c:v>0.12612196270786419</c:v>
                </c:pt>
                <c:pt idx="19">
                  <c:v>0.13496886950214251</c:v>
                </c:pt>
                <c:pt idx="20">
                  <c:v>0.13064933940560819</c:v>
                </c:pt>
                <c:pt idx="21">
                  <c:v>0.12635635491031241</c:v>
                </c:pt>
                <c:pt idx="22">
                  <c:v>0.12863609693980929</c:v>
                </c:pt>
                <c:pt idx="23">
                  <c:v>0.13116494310893009</c:v>
                </c:pt>
                <c:pt idx="24">
                  <c:v>0.1278058186678292</c:v>
                </c:pt>
                <c:pt idx="25">
                  <c:v>0.1235932293079324</c:v>
                </c:pt>
                <c:pt idx="26">
                  <c:v>0.12290934252239009</c:v>
                </c:pt>
                <c:pt idx="27">
                  <c:v>0.12109503765009599</c:v>
                </c:pt>
                <c:pt idx="28">
                  <c:v>0.12207135397276341</c:v>
                </c:pt>
                <c:pt idx="29">
                  <c:v>0.1263122981136704</c:v>
                </c:pt>
                <c:pt idx="30">
                  <c:v>0.1263263635992006</c:v>
                </c:pt>
                <c:pt idx="31">
                  <c:v>0.12476889875077329</c:v>
                </c:pt>
                <c:pt idx="32">
                  <c:v>0.12674353123399981</c:v>
                </c:pt>
                <c:pt idx="33">
                  <c:v>0.12588695742723971</c:v>
                </c:pt>
                <c:pt idx="34">
                  <c:v>0.12390000002667199</c:v>
                </c:pt>
                <c:pt idx="35">
                  <c:v>0.12440850519118039</c:v>
                </c:pt>
                <c:pt idx="36">
                  <c:v>0.12336288941275771</c:v>
                </c:pt>
                <c:pt idx="37">
                  <c:v>0.1236579395008299</c:v>
                </c:pt>
                <c:pt idx="38">
                  <c:v>0.1244360084590832</c:v>
                </c:pt>
                <c:pt idx="39">
                  <c:v>0.12224083915887329</c:v>
                </c:pt>
                <c:pt idx="40">
                  <c:v>0.1219327444047168</c:v>
                </c:pt>
                <c:pt idx="41">
                  <c:v>0.1250560323566518</c:v>
                </c:pt>
                <c:pt idx="42">
                  <c:v>0.12745512740440279</c:v>
                </c:pt>
                <c:pt idx="43">
                  <c:v>0.1211984894858895</c:v>
                </c:pt>
                <c:pt idx="44">
                  <c:v>0.1258670226690102</c:v>
                </c:pt>
                <c:pt idx="45">
                  <c:v>0.1272339848348821</c:v>
                </c:pt>
                <c:pt idx="46">
                  <c:v>0.13490346412193621</c:v>
                </c:pt>
                <c:pt idx="47">
                  <c:v>0.1232399985423943</c:v>
                </c:pt>
                <c:pt idx="48">
                  <c:v>0.12311641114157899</c:v>
                </c:pt>
                <c:pt idx="49">
                  <c:v>0.1234350759255986</c:v>
                </c:pt>
                <c:pt idx="50">
                  <c:v>0.12419744604278141</c:v>
                </c:pt>
                <c:pt idx="51">
                  <c:v>0.13145508336915421</c:v>
                </c:pt>
                <c:pt idx="52">
                  <c:v>0.13109930113357529</c:v>
                </c:pt>
                <c:pt idx="53">
                  <c:v>0.13568928560863899</c:v>
                </c:pt>
                <c:pt idx="54">
                  <c:v>0.1285210371531505</c:v>
                </c:pt>
                <c:pt idx="55">
                  <c:v>0.1300753516373136</c:v>
                </c:pt>
                <c:pt idx="56">
                  <c:v>0.12489749950473671</c:v>
                </c:pt>
                <c:pt idx="57">
                  <c:v>0.10266521645136149</c:v>
                </c:pt>
                <c:pt idx="58">
                  <c:v>9.4621929093130358E-2</c:v>
                </c:pt>
                <c:pt idx="59">
                  <c:v>9.8212612965823731E-2</c:v>
                </c:pt>
                <c:pt idx="60">
                  <c:v>0.1102654339127445</c:v>
                </c:pt>
                <c:pt idx="61">
                  <c:v>0.1086326326560431</c:v>
                </c:pt>
                <c:pt idx="62">
                  <c:v>0.10273100071317991</c:v>
                </c:pt>
                <c:pt idx="63">
                  <c:v>0.1056131313298932</c:v>
                </c:pt>
                <c:pt idx="64">
                  <c:v>0.116037952360732</c:v>
                </c:pt>
                <c:pt idx="65">
                  <c:v>0.13065683342069531</c:v>
                </c:pt>
                <c:pt idx="66">
                  <c:v>0.132712182958446</c:v>
                </c:pt>
                <c:pt idx="67">
                  <c:v>0.12498087731066</c:v>
                </c:pt>
                <c:pt idx="68">
                  <c:v>0.1318623648264734</c:v>
                </c:pt>
                <c:pt idx="69">
                  <c:v>0.13405085209231629</c:v>
                </c:pt>
                <c:pt idx="70">
                  <c:v>0.12663942767242409</c:v>
                </c:pt>
                <c:pt idx="71">
                  <c:v>0.13715997078444109</c:v>
                </c:pt>
                <c:pt idx="72">
                  <c:v>0.1312699287114284</c:v>
                </c:pt>
                <c:pt idx="73">
                  <c:v>0.1290474255800157</c:v>
                </c:pt>
                <c:pt idx="74">
                  <c:v>0.12976627424972709</c:v>
                </c:pt>
                <c:pt idx="75">
                  <c:v>0.12686829869724861</c:v>
                </c:pt>
                <c:pt idx="76">
                  <c:v>0.1253623579280761</c:v>
                </c:pt>
                <c:pt idx="77">
                  <c:v>0.12968156222074531</c:v>
                </c:pt>
                <c:pt idx="78">
                  <c:v>0.12750329032649099</c:v>
                </c:pt>
                <c:pt idx="79">
                  <c:v>0.12461050546445129</c:v>
                </c:pt>
                <c:pt idx="80">
                  <c:v>0.12900335189603049</c:v>
                </c:pt>
                <c:pt idx="81">
                  <c:v>0.12741746962889991</c:v>
                </c:pt>
                <c:pt idx="82">
                  <c:v>0.1227246355993528</c:v>
                </c:pt>
                <c:pt idx="83">
                  <c:v>0.12325497363003669</c:v>
                </c:pt>
                <c:pt idx="84">
                  <c:v>0.1237777050026681</c:v>
                </c:pt>
                <c:pt idx="85">
                  <c:v>0.1227618684932686</c:v>
                </c:pt>
                <c:pt idx="86">
                  <c:v>0.12625273778634091</c:v>
                </c:pt>
                <c:pt idx="87">
                  <c:v>0.12848401925218161</c:v>
                </c:pt>
                <c:pt idx="88">
                  <c:v>0.12808991008793849</c:v>
                </c:pt>
                <c:pt idx="89">
                  <c:v>0.12669599383578639</c:v>
                </c:pt>
                <c:pt idx="90">
                  <c:v>0.128457244567205</c:v>
                </c:pt>
                <c:pt idx="91">
                  <c:v>0.1287495738807907</c:v>
                </c:pt>
                <c:pt idx="92">
                  <c:v>0.12753778198649329</c:v>
                </c:pt>
                <c:pt idx="93">
                  <c:v>0.12858384689357691</c:v>
                </c:pt>
                <c:pt idx="94">
                  <c:v>0.13053873342212541</c:v>
                </c:pt>
                <c:pt idx="95">
                  <c:v>0.1283681251237693</c:v>
                </c:pt>
                <c:pt idx="96">
                  <c:v>0.12712219330013799</c:v>
                </c:pt>
                <c:pt idx="97">
                  <c:v>0.12537888942730019</c:v>
                </c:pt>
                <c:pt idx="98">
                  <c:v>0.12745921704595151</c:v>
                </c:pt>
                <c:pt idx="99">
                  <c:v>0.1212266665697815</c:v>
                </c:pt>
                <c:pt idx="100">
                  <c:v>0.1141728668578047</c:v>
                </c:pt>
                <c:pt idx="101">
                  <c:v>0.115957494325048</c:v>
                </c:pt>
              </c:numCache>
            </c:numRef>
          </c:xVal>
          <c:yVal>
            <c:numRef>
              <c:f>Sheet1!$B$2:$B$103</c:f>
              <c:numCache>
                <c:formatCode>General</c:formatCode>
                <c:ptCount val="102"/>
                <c:pt idx="0">
                  <c:v>3.1549194168607013E-2</c:v>
                </c:pt>
                <c:pt idx="1">
                  <c:v>2.5925076493376501E-2</c:v>
                </c:pt>
                <c:pt idx="2">
                  <c:v>1.9457371147598559E-2</c:v>
                </c:pt>
                <c:pt idx="3">
                  <c:v>2.1005226955186751E-2</c:v>
                </c:pt>
                <c:pt idx="4">
                  <c:v>2.3683174888924512E-2</c:v>
                </c:pt>
                <c:pt idx="5">
                  <c:v>2.481491169212223E-2</c:v>
                </c:pt>
                <c:pt idx="6">
                  <c:v>2.2966901329024649E-2</c:v>
                </c:pt>
                <c:pt idx="7">
                  <c:v>2.1693356757167159E-2</c:v>
                </c:pt>
                <c:pt idx="8">
                  <c:v>2.508474647577718E-2</c:v>
                </c:pt>
                <c:pt idx="9">
                  <c:v>3.2219360006132687E-2</c:v>
                </c:pt>
                <c:pt idx="10">
                  <c:v>3.3455366889535383E-2</c:v>
                </c:pt>
                <c:pt idx="11">
                  <c:v>3.077420503855852E-2</c:v>
                </c:pt>
                <c:pt idx="12">
                  <c:v>3.166311843777065E-2</c:v>
                </c:pt>
                <c:pt idx="13">
                  <c:v>2.9573633835338661E-2</c:v>
                </c:pt>
                <c:pt idx="14">
                  <c:v>2.943829474961886E-2</c:v>
                </c:pt>
                <c:pt idx="15">
                  <c:v>3.2326555355538883E-2</c:v>
                </c:pt>
                <c:pt idx="16">
                  <c:v>3.045418321235838E-2</c:v>
                </c:pt>
                <c:pt idx="17">
                  <c:v>3.0177244147381321E-2</c:v>
                </c:pt>
                <c:pt idx="18">
                  <c:v>3.0949579617420529E-2</c:v>
                </c:pt>
                <c:pt idx="19">
                  <c:v>3.3044676701229417E-2</c:v>
                </c:pt>
                <c:pt idx="20">
                  <c:v>3.4502368865567047E-2</c:v>
                </c:pt>
                <c:pt idx="21">
                  <c:v>3.8171203781773647E-2</c:v>
                </c:pt>
                <c:pt idx="22">
                  <c:v>3.2633840746857157E-2</c:v>
                </c:pt>
                <c:pt idx="23">
                  <c:v>3.22851825867847E-2</c:v>
                </c:pt>
                <c:pt idx="24">
                  <c:v>3.4293774474369272E-2</c:v>
                </c:pt>
                <c:pt idx="25">
                  <c:v>3.3493331489235549E-2</c:v>
                </c:pt>
                <c:pt idx="26">
                  <c:v>3.2256296982208908E-2</c:v>
                </c:pt>
                <c:pt idx="27">
                  <c:v>3.256327154323236E-2</c:v>
                </c:pt>
                <c:pt idx="28">
                  <c:v>3.0215972855570969E-2</c:v>
                </c:pt>
                <c:pt idx="29">
                  <c:v>2.971323515475446E-2</c:v>
                </c:pt>
                <c:pt idx="30">
                  <c:v>2.9886044202056931E-2</c:v>
                </c:pt>
                <c:pt idx="31">
                  <c:v>3.0113049153545669E-2</c:v>
                </c:pt>
                <c:pt idx="32">
                  <c:v>3.0121682992946059E-2</c:v>
                </c:pt>
                <c:pt idx="33">
                  <c:v>2.8704102443482309E-2</c:v>
                </c:pt>
                <c:pt idx="34">
                  <c:v>3.0602403901330309E-2</c:v>
                </c:pt>
                <c:pt idx="35">
                  <c:v>3.1456536502498793E-2</c:v>
                </c:pt>
                <c:pt idx="36">
                  <c:v>3.1516667937295108E-2</c:v>
                </c:pt>
                <c:pt idx="37">
                  <c:v>3.3226585884057157E-2</c:v>
                </c:pt>
                <c:pt idx="38">
                  <c:v>3.3016326225624587E-2</c:v>
                </c:pt>
                <c:pt idx="39">
                  <c:v>3.0075909553288729E-2</c:v>
                </c:pt>
                <c:pt idx="40">
                  <c:v>3.030822714314705E-2</c:v>
                </c:pt>
                <c:pt idx="41">
                  <c:v>3.1273537834975489E-2</c:v>
                </c:pt>
                <c:pt idx="42">
                  <c:v>3.005901690014778E-2</c:v>
                </c:pt>
                <c:pt idx="43">
                  <c:v>3.0573863083611631E-2</c:v>
                </c:pt>
                <c:pt idx="44">
                  <c:v>3.254448153409624E-2</c:v>
                </c:pt>
                <c:pt idx="45">
                  <c:v>3.2420025270644671E-2</c:v>
                </c:pt>
                <c:pt idx="46">
                  <c:v>3.0841270586476861E-2</c:v>
                </c:pt>
                <c:pt idx="47">
                  <c:v>3.4545476528939613E-2</c:v>
                </c:pt>
                <c:pt idx="48">
                  <c:v>3.9378011399146942E-2</c:v>
                </c:pt>
                <c:pt idx="49">
                  <c:v>3.4585845792310457E-2</c:v>
                </c:pt>
                <c:pt idx="50">
                  <c:v>3.6889295123608737E-2</c:v>
                </c:pt>
                <c:pt idx="51">
                  <c:v>3.516974061970235E-2</c:v>
                </c:pt>
                <c:pt idx="52">
                  <c:v>3.3440411726256947E-2</c:v>
                </c:pt>
                <c:pt idx="53">
                  <c:v>3.0775515895011849E-2</c:v>
                </c:pt>
                <c:pt idx="54">
                  <c:v>2.856172806220978E-2</c:v>
                </c:pt>
                <c:pt idx="55">
                  <c:v>2.9260191711765832E-2</c:v>
                </c:pt>
                <c:pt idx="56">
                  <c:v>3.1178692703543051E-2</c:v>
                </c:pt>
                <c:pt idx="57">
                  <c:v>3.7031471681131703E-2</c:v>
                </c:pt>
                <c:pt idx="58">
                  <c:v>3.9909501581123753E-2</c:v>
                </c:pt>
                <c:pt idx="59">
                  <c:v>3.3090443177845791E-2</c:v>
                </c:pt>
                <c:pt idx="60">
                  <c:v>2.0429936026239701E-2</c:v>
                </c:pt>
                <c:pt idx="61">
                  <c:v>1.594233918003489E-2</c:v>
                </c:pt>
                <c:pt idx="62">
                  <c:v>2.6561543645322629E-2</c:v>
                </c:pt>
                <c:pt idx="63">
                  <c:v>3.5068893654044378E-2</c:v>
                </c:pt>
                <c:pt idx="64">
                  <c:v>3.0967228847484721E-2</c:v>
                </c:pt>
                <c:pt idx="65">
                  <c:v>2.602705616299417E-2</c:v>
                </c:pt>
                <c:pt idx="66">
                  <c:v>2.587150374122359E-2</c:v>
                </c:pt>
                <c:pt idx="67">
                  <c:v>2.691260699372984E-2</c:v>
                </c:pt>
                <c:pt idx="68">
                  <c:v>2.5874418970458959E-2</c:v>
                </c:pt>
                <c:pt idx="69">
                  <c:v>2.3193315376484971E-2</c:v>
                </c:pt>
                <c:pt idx="70">
                  <c:v>2.2686657383630061E-2</c:v>
                </c:pt>
                <c:pt idx="71">
                  <c:v>2.6189284143623481E-2</c:v>
                </c:pt>
                <c:pt idx="72">
                  <c:v>2.7336338114147821E-2</c:v>
                </c:pt>
                <c:pt idx="73">
                  <c:v>2.7740990571672709E-2</c:v>
                </c:pt>
                <c:pt idx="74">
                  <c:v>2.877527311984417E-2</c:v>
                </c:pt>
                <c:pt idx="75">
                  <c:v>2.8510329318482429E-2</c:v>
                </c:pt>
                <c:pt idx="76">
                  <c:v>2.7909474603405621E-2</c:v>
                </c:pt>
                <c:pt idx="77">
                  <c:v>2.354699792786898E-2</c:v>
                </c:pt>
                <c:pt idx="78">
                  <c:v>2.3516397046911521E-2</c:v>
                </c:pt>
                <c:pt idx="79">
                  <c:v>2.2115174941799771E-2</c:v>
                </c:pt>
                <c:pt idx="80">
                  <c:v>2.2268202762568419E-2</c:v>
                </c:pt>
                <c:pt idx="81">
                  <c:v>2.1244426266941788E-2</c:v>
                </c:pt>
                <c:pt idx="82">
                  <c:v>3.1177386289303839E-2</c:v>
                </c:pt>
                <c:pt idx="83">
                  <c:v>2.630647686699077E-2</c:v>
                </c:pt>
                <c:pt idx="84">
                  <c:v>2.5524833007679371E-2</c:v>
                </c:pt>
                <c:pt idx="85">
                  <c:v>2.6871534411513371E-2</c:v>
                </c:pt>
                <c:pt idx="86">
                  <c:v>2.6338851413823881E-2</c:v>
                </c:pt>
                <c:pt idx="87">
                  <c:v>2.464870108961555E-2</c:v>
                </c:pt>
                <c:pt idx="88">
                  <c:v>2.6238033764437702E-2</c:v>
                </c:pt>
                <c:pt idx="89">
                  <c:v>3.0191859532939729E-2</c:v>
                </c:pt>
                <c:pt idx="90">
                  <c:v>3.071685169632082E-2</c:v>
                </c:pt>
                <c:pt idx="91">
                  <c:v>3.1790352756617277E-2</c:v>
                </c:pt>
                <c:pt idx="92">
                  <c:v>2.9789485452214989E-2</c:v>
                </c:pt>
                <c:pt idx="93">
                  <c:v>2.7419432969366012E-2</c:v>
                </c:pt>
                <c:pt idx="94">
                  <c:v>2.5375304588112151E-2</c:v>
                </c:pt>
                <c:pt idx="95">
                  <c:v>2.727143524464504E-2</c:v>
                </c:pt>
                <c:pt idx="96">
                  <c:v>2.430072520573312E-2</c:v>
                </c:pt>
                <c:pt idx="97">
                  <c:v>2.5953063658202231E-2</c:v>
                </c:pt>
                <c:pt idx="98">
                  <c:v>2.870484051773789E-2</c:v>
                </c:pt>
                <c:pt idx="99">
                  <c:v>3.0161179689259059E-2</c:v>
                </c:pt>
                <c:pt idx="100">
                  <c:v>3.7558407981539428E-2</c:v>
                </c:pt>
                <c:pt idx="101">
                  <c:v>3.5796970668813113E-2</c:v>
                </c:pt>
              </c:numCache>
            </c:numRef>
          </c:yVal>
          <c:smooth val="0"/>
          <c:extLst>
            <c:ext xmlns:c16="http://schemas.microsoft.com/office/drawing/2014/chart" uri="{C3380CC4-5D6E-409C-BE32-E72D297353CC}">
              <c16:uniqueId val="{00000000-096C-4121-9522-6AB7243CCAAE}"/>
            </c:ext>
          </c:extLst>
        </c:ser>
        <c:ser>
          <c:idx val="1"/>
          <c:order val="1"/>
          <c:tx>
            <c:strRef>
              <c:f>Sheet1!$B$10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6:$A$157</c:f>
              <c:numCache>
                <c:formatCode>General</c:formatCode>
                <c:ptCount val="52"/>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numCache>
            </c:numRef>
          </c:xVal>
          <c:yVal>
            <c:numRef>
              <c:f>Sheet1!$B$106:$B$157</c:f>
              <c:numCache>
                <c:formatCode>General</c:formatCode>
                <c:ptCount val="52"/>
                <c:pt idx="0">
                  <c:v>3.3379430772150658E-2</c:v>
                </c:pt>
                <c:pt idx="1">
                  <c:v>3.5297770608354727E-2</c:v>
                </c:pt>
                <c:pt idx="2">
                  <c:v>3.603152077608085E-2</c:v>
                </c:pt>
                <c:pt idx="3">
                  <c:v>3.0978674639028671E-2</c:v>
                </c:pt>
                <c:pt idx="4">
                  <c:v>2.8133515753956471E-2</c:v>
                </c:pt>
                <c:pt idx="5">
                  <c:v>2.7512069607189622E-2</c:v>
                </c:pt>
                <c:pt idx="6">
                  <c:v>2.753590860107619E-2</c:v>
                </c:pt>
                <c:pt idx="7">
                  <c:v>2.7306049137985969E-2</c:v>
                </c:pt>
                <c:pt idx="8">
                  <c:v>2.683860754587173E-2</c:v>
                </c:pt>
                <c:pt idx="9">
                  <c:v>2.8577136215520639E-2</c:v>
                </c:pt>
                <c:pt idx="10">
                  <c:v>2.9045708307140341E-2</c:v>
                </c:pt>
                <c:pt idx="11">
                  <c:v>3.0151694267354031E-2</c:v>
                </c:pt>
                <c:pt idx="12">
                  <c:v>3.1278274774940933E-2</c:v>
                </c:pt>
                <c:pt idx="13">
                  <c:v>3.2623144271831599E-2</c:v>
                </c:pt>
                <c:pt idx="14">
                  <c:v>3.2081452766552027E-2</c:v>
                </c:pt>
                <c:pt idx="15">
                  <c:v>2.8476513020004542E-2</c:v>
                </c:pt>
                <c:pt idx="16">
                  <c:v>2.889792926206242E-2</c:v>
                </c:pt>
                <c:pt idx="17">
                  <c:v>2.8572345272906731E-2</c:v>
                </c:pt>
                <c:pt idx="18">
                  <c:v>2.758215728763419E-2</c:v>
                </c:pt>
                <c:pt idx="19">
                  <c:v>2.6684207925807661E-2</c:v>
                </c:pt>
                <c:pt idx="20">
                  <c:v>2.507409816863837E-2</c:v>
                </c:pt>
                <c:pt idx="21">
                  <c:v>3.7053775555914388E-2</c:v>
                </c:pt>
                <c:pt idx="22">
                  <c:v>4.1201839145334811E-2</c:v>
                </c:pt>
                <c:pt idx="23">
                  <c:v>3.952108516249337E-2</c:v>
                </c:pt>
                <c:pt idx="24">
                  <c:v>3.301132678213544E-2</c:v>
                </c:pt>
                <c:pt idx="25">
                  <c:v>3.4672282379825628E-2</c:v>
                </c:pt>
                <c:pt idx="26">
                  <c:v>3.6478521099227869E-2</c:v>
                </c:pt>
                <c:pt idx="27">
                  <c:v>3.1719960612283417E-2</c:v>
                </c:pt>
                <c:pt idx="28">
                  <c:v>2.9844699099281859E-2</c:v>
                </c:pt>
                <c:pt idx="29">
                  <c:v>2.824703792935155E-2</c:v>
                </c:pt>
                <c:pt idx="30">
                  <c:v>2.3926861689124789E-2</c:v>
                </c:pt>
                <c:pt idx="31">
                  <c:v>2.077067140814904E-2</c:v>
                </c:pt>
                <c:pt idx="32">
                  <c:v>2.3460558709885782E-2</c:v>
                </c:pt>
                <c:pt idx="33">
                  <c:v>3.042796286207031E-2</c:v>
                </c:pt>
                <c:pt idx="34">
                  <c:v>3.1037706913624011E-2</c:v>
                </c:pt>
                <c:pt idx="35">
                  <c:v>2.928997264422914E-2</c:v>
                </c:pt>
                <c:pt idx="36">
                  <c:v>2.9697936908540851E-2</c:v>
                </c:pt>
                <c:pt idx="37">
                  <c:v>3.0248130900335801E-2</c:v>
                </c:pt>
                <c:pt idx="38">
                  <c:v>3.5070387750061743E-2</c:v>
                </c:pt>
                <c:pt idx="39">
                  <c:v>3.120833777020552E-2</c:v>
                </c:pt>
                <c:pt idx="40">
                  <c:v>2.682679016675503E-2</c:v>
                </c:pt>
                <c:pt idx="41">
                  <c:v>2.4203784771293649E-2</c:v>
                </c:pt>
                <c:pt idx="42">
                  <c:v>2.4098053977022381E-2</c:v>
                </c:pt>
                <c:pt idx="43">
                  <c:v>2.4523754132153151E-2</c:v>
                </c:pt>
                <c:pt idx="44">
                  <c:v>2.2379504666963371E-2</c:v>
                </c:pt>
                <c:pt idx="45">
                  <c:v>2.104065524243157E-2</c:v>
                </c:pt>
                <c:pt idx="46">
                  <c:v>2.202824012890214E-2</c:v>
                </c:pt>
                <c:pt idx="47">
                  <c:v>2.3321641522021069E-2</c:v>
                </c:pt>
                <c:pt idx="48">
                  <c:v>2.5721900660138009E-2</c:v>
                </c:pt>
                <c:pt idx="49">
                  <c:v>2.4967370312040962E-2</c:v>
                </c:pt>
                <c:pt idx="50">
                  <c:v>2.603335979145837E-2</c:v>
                </c:pt>
                <c:pt idx="51">
                  <c:v>2.5702227757022279E-2</c:v>
                </c:pt>
              </c:numCache>
            </c:numRef>
          </c:yVal>
          <c:smooth val="0"/>
          <c:extLst>
            <c:ext xmlns:c16="http://schemas.microsoft.com/office/drawing/2014/chart" uri="{C3380CC4-5D6E-409C-BE32-E72D297353CC}">
              <c16:uniqueId val="{00000002-096C-4121-9522-6AB7243CCAAE}"/>
            </c:ext>
          </c:extLst>
        </c:ser>
        <c:ser>
          <c:idx val="2"/>
          <c:order val="2"/>
          <c:tx>
            <c:strRef>
              <c:f>Sheet1!$B$15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0:$A$161</c:f>
              <c:numCache>
                <c:formatCode>General</c:formatCode>
                <c:ptCount val="2"/>
                <c:pt idx="0">
                  <c:v>0</c:v>
                </c:pt>
                <c:pt idx="1">
                  <c:v>0.1108820277239114</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5-096C-4121-9522-6AB7243CCAAE}"/>
            </c:ext>
          </c:extLst>
        </c:ser>
        <c:ser>
          <c:idx val="3"/>
          <c:order val="3"/>
          <c:tx>
            <c:strRef>
              <c:f>Sheet1!$B$16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0.1108820277239114</c:v>
                </c:pt>
                <c:pt idx="1">
                  <c:v>0.1108820277239114</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8:$A$169</c:f>
              <c:numCache>
                <c:formatCode>General</c:formatCode>
                <c:ptCount val="2"/>
                <c:pt idx="0">
                  <c:v>0</c:v>
                </c:pt>
                <c:pt idx="1">
                  <c:v>0.11732114474802791</c:v>
                </c:pt>
              </c:numCache>
            </c:numRef>
          </c:xVal>
          <c:yVal>
            <c:numRef>
              <c:f>Sheet1!$B$168:$B$169</c:f>
              <c:numCache>
                <c:formatCode>General</c:formatCode>
                <c:ptCount val="2"/>
                <c:pt idx="0">
                  <c:v>3.1101577984060609E-2</c:v>
                </c:pt>
                <c:pt idx="1">
                  <c:v>3.1101577984060609E-2</c:v>
                </c:pt>
              </c:numCache>
            </c:numRef>
          </c:yVal>
          <c:smooth val="0"/>
          <c:extLst>
            <c:ext xmlns:c16="http://schemas.microsoft.com/office/drawing/2014/chart" uri="{C3380CC4-5D6E-409C-BE32-E72D297353CC}">
              <c16:uniqueId val="{0000000D-096C-4121-9522-6AB7243CCAAE}"/>
            </c:ext>
          </c:extLst>
        </c:ser>
        <c:ser>
          <c:idx val="5"/>
          <c:order val="5"/>
          <c:tx>
            <c:strRef>
              <c:f>Sheet1!$B$17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0.11732114474802791</c:v>
                </c:pt>
                <c:pt idx="1">
                  <c:v>0.11732114474802791</c:v>
                </c:pt>
              </c:numCache>
            </c:numRef>
          </c:xVal>
          <c:yVal>
            <c:numRef>
              <c:f>Sheet1!$B$172:$B$173</c:f>
              <c:numCache>
                <c:formatCode>General</c:formatCode>
                <c:ptCount val="2"/>
                <c:pt idx="0">
                  <c:v>3.1101577984060609E-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6:$A$177</c:f>
              <c:numCache>
                <c:formatCode>General</c:formatCode>
                <c:ptCount val="2"/>
                <c:pt idx="0">
                  <c:v>0</c:v>
                </c:pt>
                <c:pt idx="1">
                  <c:v>0.13512234665834599</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5-096C-4121-9522-6AB7243CCAAE}"/>
            </c:ext>
          </c:extLst>
        </c:ser>
        <c:ser>
          <c:idx val="7"/>
          <c:order val="7"/>
          <c:tx>
            <c:strRef>
              <c:f>Sheet1!$B$17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0:$A$181</c:f>
              <c:numCache>
                <c:formatCode>General</c:formatCode>
                <c:ptCount val="2"/>
                <c:pt idx="0">
                  <c:v>0.13512234665834599</c:v>
                </c:pt>
                <c:pt idx="1">
                  <c:v>0.13512234665834599</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4:$A$238</c:f>
              <c:numCache>
                <c:formatCode>General</c:formatCode>
                <c:ptCount val="55"/>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pt idx="52">
                  <c:v>0.11732114474802791</c:v>
                </c:pt>
                <c:pt idx="53">
                  <c:v>0.1108820277239114</c:v>
                </c:pt>
                <c:pt idx="54">
                  <c:v>0.13512234665834599</c:v>
                </c:pt>
              </c:numCache>
            </c:numRef>
          </c:xVal>
          <c:yVal>
            <c:numRef>
              <c:f>Sheet1!$B$184:$B$238</c:f>
              <c:numCache>
                <c:formatCode>General</c:formatCode>
                <c:ptCount val="55"/>
                <c:pt idx="0">
                  <c:v>3.1620668745252142E-2</c:v>
                </c:pt>
                <c:pt idx="1">
                  <c:v>3.1654790245678951E-2</c:v>
                </c:pt>
                <c:pt idx="2">
                  <c:v>3.2783325344754151E-2</c:v>
                </c:pt>
                <c:pt idx="3">
                  <c:v>3.022688607526958E-2</c:v>
                </c:pt>
                <c:pt idx="4">
                  <c:v>2.8540776744242852E-2</c:v>
                </c:pt>
                <c:pt idx="5">
                  <c:v>2.8198639317480349E-2</c:v>
                </c:pt>
                <c:pt idx="6">
                  <c:v>2.8149354774764782E-2</c:v>
                </c:pt>
                <c:pt idx="7">
                  <c:v>2.8199004366077019E-2</c:v>
                </c:pt>
                <c:pt idx="8">
                  <c:v>3.0157282303857849E-2</c:v>
                </c:pt>
                <c:pt idx="9">
                  <c:v>2.9717490317624731E-2</c:v>
                </c:pt>
                <c:pt idx="10">
                  <c:v>2.880162617160174E-2</c:v>
                </c:pt>
                <c:pt idx="11">
                  <c:v>3.0799476543192809E-2</c:v>
                </c:pt>
                <c:pt idx="12">
                  <c:v>2.8080121278043681E-2</c:v>
                </c:pt>
                <c:pt idx="13">
                  <c:v>2.8247092051713919E-2</c:v>
                </c:pt>
                <c:pt idx="14">
                  <c:v>2.639540124703324E-2</c:v>
                </c:pt>
                <c:pt idx="15">
                  <c:v>1.9220157910636009E-2</c:v>
                </c:pt>
                <c:pt idx="16">
                  <c:v>2.9292926757015069E-2</c:v>
                </c:pt>
                <c:pt idx="17">
                  <c:v>2.9541107656935999E-2</c:v>
                </c:pt>
                <c:pt idx="18">
                  <c:v>3.1154431279754719E-2</c:v>
                </c:pt>
                <c:pt idx="19">
                  <c:v>2.9461129531890291E-2</c:v>
                </c:pt>
                <c:pt idx="20">
                  <c:v>3.0313783713891131E-2</c:v>
                </c:pt>
                <c:pt idx="21">
                  <c:v>3.3508822667282862E-2</c:v>
                </c:pt>
                <c:pt idx="22">
                  <c:v>3.4739165058279807E-2</c:v>
                </c:pt>
                <c:pt idx="23">
                  <c:v>3.3561500120319547E-2</c:v>
                </c:pt>
                <c:pt idx="24">
                  <c:v>3.0961282548418428E-2</c:v>
                </c:pt>
                <c:pt idx="25">
                  <c:v>3.325613118609181E-2</c:v>
                </c:pt>
                <c:pt idx="26">
                  <c:v>3.230935798656305E-2</c:v>
                </c:pt>
                <c:pt idx="27">
                  <c:v>3.0186042242885399E-2</c:v>
                </c:pt>
                <c:pt idx="28">
                  <c:v>2.9826699740302571E-2</c:v>
                </c:pt>
                <c:pt idx="29">
                  <c:v>2.8461825588360749E-2</c:v>
                </c:pt>
                <c:pt idx="30">
                  <c:v>2.6667445839888119E-2</c:v>
                </c:pt>
                <c:pt idx="31">
                  <c:v>2.9333797528733729E-2</c:v>
                </c:pt>
                <c:pt idx="32">
                  <c:v>2.8469462201818171E-2</c:v>
                </c:pt>
                <c:pt idx="33">
                  <c:v>3.1278574864500211E-2</c:v>
                </c:pt>
                <c:pt idx="34">
                  <c:v>3.362517184260494E-2</c:v>
                </c:pt>
                <c:pt idx="35">
                  <c:v>3.1259339751075838E-2</c:v>
                </c:pt>
                <c:pt idx="36">
                  <c:v>3.2466678789921898E-2</c:v>
                </c:pt>
                <c:pt idx="37">
                  <c:v>3.336561461501103E-2</c:v>
                </c:pt>
                <c:pt idx="38">
                  <c:v>3.1897061212580187E-2</c:v>
                </c:pt>
                <c:pt idx="39">
                  <c:v>3.0591232179052279E-2</c:v>
                </c:pt>
                <c:pt idx="40">
                  <c:v>2.6490890509876141E-2</c:v>
                </c:pt>
                <c:pt idx="41">
                  <c:v>2.5005655171483909E-2</c:v>
                </c:pt>
                <c:pt idx="42">
                  <c:v>2.471524594195228E-2</c:v>
                </c:pt>
                <c:pt idx="43">
                  <c:v>2.5740688254943609E-2</c:v>
                </c:pt>
                <c:pt idx="44">
                  <c:v>2.534241769031121E-2</c:v>
                </c:pt>
                <c:pt idx="45">
                  <c:v>2.5785004878787769E-2</c:v>
                </c:pt>
                <c:pt idx="46">
                  <c:v>2.6712805427711591E-2</c:v>
                </c:pt>
                <c:pt idx="47">
                  <c:v>2.6016063432124481E-2</c:v>
                </c:pt>
                <c:pt idx="48">
                  <c:v>2.645901837190287E-2</c:v>
                </c:pt>
                <c:pt idx="49">
                  <c:v>2.253097533810856E-2</c:v>
                </c:pt>
                <c:pt idx="50">
                  <c:v>2.3407974477709061E-2</c:v>
                </c:pt>
                <c:pt idx="51">
                  <c:v>2.5267129597052979E-2</c:v>
                </c:pt>
                <c:pt idx="52">
                  <c:v>3.1101577984060599E-2</c:v>
                </c:pt>
                <c:pt idx="53">
                  <c:v>3.3390590546211449E-2</c:v>
                </c:pt>
                <c:pt idx="54">
                  <c:v>2.47735092998775E-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18089307194123574"/>
          <c:min val="7.5697543274504286E-2"/>
        </c:scaling>
        <c:delete val="0"/>
        <c:axPos val="b"/>
        <c:title>
          <c:tx>
            <c:rich>
              <a:bodyPr rot="0" spcFirstLastPara="1" vertOverflow="ellipsis" vert="horz" wrap="square" anchor="ctr" anchorCtr="1"/>
              <a:lstStyle/>
              <a:p>
                <a:pPr>
                  <a:defRPr sz="800" b="0">
                    <a:solidFill>
                      <a:srgbClr val="575555"/>
                    </a:solidFill>
                    <a:latin typeface="Nexa Bold"/>
                  </a:defRPr>
                </a:pPr>
                <a:r>
                  <a:rPr lang="en-US"/>
                  <a:t>Price Ix vs. Gillette Fusion5</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1291069944164441</c:v>
                </c:pt>
                <c:pt idx="1">
                  <c:v>0.13485892486555889</c:v>
                </c:pt>
                <c:pt idx="2">
                  <c:v>0.13361697278764331</c:v>
                </c:pt>
                <c:pt idx="3">
                  <c:v>0.13181455947245191</c:v>
                </c:pt>
                <c:pt idx="4">
                  <c:v>0.13079849733141291</c:v>
                </c:pt>
                <c:pt idx="5">
                  <c:v>0.12786527339341361</c:v>
                </c:pt>
                <c:pt idx="6">
                  <c:v>0.13389772495720559</c:v>
                </c:pt>
                <c:pt idx="7">
                  <c:v>0.1359519354250221</c:v>
                </c:pt>
                <c:pt idx="8">
                  <c:v>0.13408395448492219</c:v>
                </c:pt>
                <c:pt idx="9">
                  <c:v>0.1272173036352085</c:v>
                </c:pt>
                <c:pt idx="10">
                  <c:v>0.12580154817273331</c:v>
                </c:pt>
                <c:pt idx="11">
                  <c:v>0.1247833670603628</c:v>
                </c:pt>
                <c:pt idx="12">
                  <c:v>0.12616612542700109</c:v>
                </c:pt>
                <c:pt idx="13">
                  <c:v>0.13426073846412021</c:v>
                </c:pt>
                <c:pt idx="14">
                  <c:v>0.13040345544745011</c:v>
                </c:pt>
                <c:pt idx="15">
                  <c:v>0.12568196098787579</c:v>
                </c:pt>
                <c:pt idx="16">
                  <c:v>0.1284543866213313</c:v>
                </c:pt>
                <c:pt idx="17">
                  <c:v>0.13252000199740169</c:v>
                </c:pt>
                <c:pt idx="18">
                  <c:v>0.12612196270786419</c:v>
                </c:pt>
                <c:pt idx="19">
                  <c:v>0.13496886950214251</c:v>
                </c:pt>
                <c:pt idx="20">
                  <c:v>0.13064933940560819</c:v>
                </c:pt>
                <c:pt idx="21">
                  <c:v>0.12635635491031241</c:v>
                </c:pt>
                <c:pt idx="22">
                  <c:v>0.12863609693980929</c:v>
                </c:pt>
                <c:pt idx="23">
                  <c:v>0.13116494310893009</c:v>
                </c:pt>
                <c:pt idx="24">
                  <c:v>0.1278058186678292</c:v>
                </c:pt>
                <c:pt idx="25">
                  <c:v>0.1235932293079324</c:v>
                </c:pt>
                <c:pt idx="26">
                  <c:v>0.12290934252239009</c:v>
                </c:pt>
                <c:pt idx="27">
                  <c:v>0.12109503765009599</c:v>
                </c:pt>
                <c:pt idx="28">
                  <c:v>0.12207135397276341</c:v>
                </c:pt>
                <c:pt idx="29">
                  <c:v>0.1263122981136704</c:v>
                </c:pt>
                <c:pt idx="30">
                  <c:v>0.1263263635992006</c:v>
                </c:pt>
                <c:pt idx="31">
                  <c:v>0.12476889875077329</c:v>
                </c:pt>
                <c:pt idx="32">
                  <c:v>0.12674353123399981</c:v>
                </c:pt>
                <c:pt idx="33">
                  <c:v>0.12588695742723971</c:v>
                </c:pt>
                <c:pt idx="34">
                  <c:v>0.12390000002667199</c:v>
                </c:pt>
                <c:pt idx="35">
                  <c:v>0.12440850519118039</c:v>
                </c:pt>
                <c:pt idx="36">
                  <c:v>0.12336288941275771</c:v>
                </c:pt>
                <c:pt idx="37">
                  <c:v>0.1236579395008299</c:v>
                </c:pt>
                <c:pt idx="38">
                  <c:v>0.1244360084590832</c:v>
                </c:pt>
                <c:pt idx="39">
                  <c:v>0.12224083915887329</c:v>
                </c:pt>
                <c:pt idx="40">
                  <c:v>0.1219327444047168</c:v>
                </c:pt>
                <c:pt idx="41">
                  <c:v>0.1250560323566518</c:v>
                </c:pt>
                <c:pt idx="42">
                  <c:v>0.12745512740440279</c:v>
                </c:pt>
                <c:pt idx="43">
                  <c:v>0.1211984894858895</c:v>
                </c:pt>
                <c:pt idx="44">
                  <c:v>0.1258670226690102</c:v>
                </c:pt>
                <c:pt idx="45">
                  <c:v>0.1272339848348821</c:v>
                </c:pt>
                <c:pt idx="46">
                  <c:v>0.13490346412193621</c:v>
                </c:pt>
                <c:pt idx="47">
                  <c:v>0.1232399985423943</c:v>
                </c:pt>
                <c:pt idx="48">
                  <c:v>0.12311641114157899</c:v>
                </c:pt>
                <c:pt idx="49">
                  <c:v>0.1234350759255986</c:v>
                </c:pt>
                <c:pt idx="50">
                  <c:v>0.12419744604278141</c:v>
                </c:pt>
                <c:pt idx="51">
                  <c:v>0.13145508336915421</c:v>
                </c:pt>
                <c:pt idx="52">
                  <c:v>0.13109930113357529</c:v>
                </c:pt>
                <c:pt idx="53">
                  <c:v>0.13568928560863899</c:v>
                </c:pt>
                <c:pt idx="54">
                  <c:v>0.1285210371531505</c:v>
                </c:pt>
                <c:pt idx="55">
                  <c:v>0.1300753516373136</c:v>
                </c:pt>
                <c:pt idx="56">
                  <c:v>0.12489749950473671</c:v>
                </c:pt>
                <c:pt idx="57">
                  <c:v>0.10266521645136149</c:v>
                </c:pt>
                <c:pt idx="58">
                  <c:v>9.4621929093130358E-2</c:v>
                </c:pt>
                <c:pt idx="59">
                  <c:v>9.8212612965823731E-2</c:v>
                </c:pt>
                <c:pt idx="60">
                  <c:v>0.1102654339127445</c:v>
                </c:pt>
                <c:pt idx="61">
                  <c:v>0.1086326326560431</c:v>
                </c:pt>
                <c:pt idx="62">
                  <c:v>0.10273100071317991</c:v>
                </c:pt>
                <c:pt idx="63">
                  <c:v>0.1056131313298932</c:v>
                </c:pt>
                <c:pt idx="64">
                  <c:v>0.116037952360732</c:v>
                </c:pt>
                <c:pt idx="65">
                  <c:v>0.13065683342069531</c:v>
                </c:pt>
                <c:pt idx="66">
                  <c:v>0.132712182958446</c:v>
                </c:pt>
                <c:pt idx="67">
                  <c:v>0.12498087731066</c:v>
                </c:pt>
                <c:pt idx="68">
                  <c:v>0.1318623648264734</c:v>
                </c:pt>
                <c:pt idx="69">
                  <c:v>0.13405085209231629</c:v>
                </c:pt>
                <c:pt idx="70">
                  <c:v>0.12663942767242409</c:v>
                </c:pt>
                <c:pt idx="71">
                  <c:v>0.13715997078444109</c:v>
                </c:pt>
                <c:pt idx="72">
                  <c:v>0.1312699287114284</c:v>
                </c:pt>
                <c:pt idx="73">
                  <c:v>0.1290474255800157</c:v>
                </c:pt>
                <c:pt idx="74">
                  <c:v>0.12976627424972709</c:v>
                </c:pt>
                <c:pt idx="75">
                  <c:v>0.12686829869724861</c:v>
                </c:pt>
                <c:pt idx="76">
                  <c:v>0.1253623579280761</c:v>
                </c:pt>
                <c:pt idx="77">
                  <c:v>0.12968156222074531</c:v>
                </c:pt>
                <c:pt idx="78">
                  <c:v>0.12750329032649099</c:v>
                </c:pt>
                <c:pt idx="79">
                  <c:v>0.12461050546445129</c:v>
                </c:pt>
                <c:pt idx="80">
                  <c:v>0.12900335189603049</c:v>
                </c:pt>
                <c:pt idx="81">
                  <c:v>0.12741746962889991</c:v>
                </c:pt>
                <c:pt idx="82">
                  <c:v>0.1227246355993528</c:v>
                </c:pt>
                <c:pt idx="83">
                  <c:v>0.12325497363003669</c:v>
                </c:pt>
                <c:pt idx="84">
                  <c:v>0.1237777050026681</c:v>
                </c:pt>
                <c:pt idx="85">
                  <c:v>0.1227618684932686</c:v>
                </c:pt>
                <c:pt idx="86">
                  <c:v>0.12625273778634091</c:v>
                </c:pt>
                <c:pt idx="87">
                  <c:v>0.12848401925218161</c:v>
                </c:pt>
                <c:pt idx="88">
                  <c:v>0.12808991008793849</c:v>
                </c:pt>
                <c:pt idx="89">
                  <c:v>0.12669599383578639</c:v>
                </c:pt>
                <c:pt idx="90">
                  <c:v>0.128457244567205</c:v>
                </c:pt>
                <c:pt idx="91">
                  <c:v>0.1287495738807907</c:v>
                </c:pt>
                <c:pt idx="92">
                  <c:v>0.12753778198649329</c:v>
                </c:pt>
                <c:pt idx="93">
                  <c:v>0.12858384689357691</c:v>
                </c:pt>
                <c:pt idx="94">
                  <c:v>0.13053873342212541</c:v>
                </c:pt>
                <c:pt idx="95">
                  <c:v>0.1283681251237693</c:v>
                </c:pt>
                <c:pt idx="96">
                  <c:v>0.12712219330013799</c:v>
                </c:pt>
                <c:pt idx="97">
                  <c:v>0.12537888942730019</c:v>
                </c:pt>
                <c:pt idx="98">
                  <c:v>0.12745921704595151</c:v>
                </c:pt>
                <c:pt idx="99">
                  <c:v>0.1212266665697815</c:v>
                </c:pt>
                <c:pt idx="100">
                  <c:v>0.1141728668578047</c:v>
                </c:pt>
                <c:pt idx="101">
                  <c:v>0.115957494325048</c:v>
                </c:pt>
              </c:numCache>
            </c:numRef>
          </c:xVal>
          <c:yVal>
            <c:numRef>
              <c:f>Sheet1!$B$2:$B$103</c:f>
              <c:numCache>
                <c:formatCode>General</c:formatCode>
                <c:ptCount val="102"/>
                <c:pt idx="0">
                  <c:v>3.1549194168607013E-2</c:v>
                </c:pt>
                <c:pt idx="1">
                  <c:v>2.5925076493376501E-2</c:v>
                </c:pt>
                <c:pt idx="2">
                  <c:v>1.9457371147598559E-2</c:v>
                </c:pt>
                <c:pt idx="3">
                  <c:v>2.1005226955186751E-2</c:v>
                </c:pt>
                <c:pt idx="4">
                  <c:v>2.3683174888924512E-2</c:v>
                </c:pt>
                <c:pt idx="5">
                  <c:v>2.481491169212223E-2</c:v>
                </c:pt>
                <c:pt idx="6">
                  <c:v>2.2966901329024649E-2</c:v>
                </c:pt>
                <c:pt idx="7">
                  <c:v>2.1693356757167159E-2</c:v>
                </c:pt>
                <c:pt idx="8">
                  <c:v>2.508474647577718E-2</c:v>
                </c:pt>
                <c:pt idx="9">
                  <c:v>3.2219360006132687E-2</c:v>
                </c:pt>
                <c:pt idx="10">
                  <c:v>3.3455366889535383E-2</c:v>
                </c:pt>
                <c:pt idx="11">
                  <c:v>3.077420503855852E-2</c:v>
                </c:pt>
                <c:pt idx="12">
                  <c:v>3.166311843777065E-2</c:v>
                </c:pt>
                <c:pt idx="13">
                  <c:v>2.9573633835338661E-2</c:v>
                </c:pt>
                <c:pt idx="14">
                  <c:v>2.943829474961886E-2</c:v>
                </c:pt>
                <c:pt idx="15">
                  <c:v>3.2326555355538883E-2</c:v>
                </c:pt>
                <c:pt idx="16">
                  <c:v>3.045418321235838E-2</c:v>
                </c:pt>
                <c:pt idx="17">
                  <c:v>3.0177244147381321E-2</c:v>
                </c:pt>
                <c:pt idx="18">
                  <c:v>3.0949579617420529E-2</c:v>
                </c:pt>
                <c:pt idx="19">
                  <c:v>3.3044676701229417E-2</c:v>
                </c:pt>
                <c:pt idx="20">
                  <c:v>3.4502368865567047E-2</c:v>
                </c:pt>
                <c:pt idx="21">
                  <c:v>3.8171203781773647E-2</c:v>
                </c:pt>
                <c:pt idx="22">
                  <c:v>3.2633840746857157E-2</c:v>
                </c:pt>
                <c:pt idx="23">
                  <c:v>3.22851825867847E-2</c:v>
                </c:pt>
                <c:pt idx="24">
                  <c:v>3.4293774474369272E-2</c:v>
                </c:pt>
                <c:pt idx="25">
                  <c:v>3.3493331489235549E-2</c:v>
                </c:pt>
                <c:pt idx="26">
                  <c:v>3.2256296982208908E-2</c:v>
                </c:pt>
                <c:pt idx="27">
                  <c:v>3.256327154323236E-2</c:v>
                </c:pt>
                <c:pt idx="28">
                  <c:v>3.0215972855570969E-2</c:v>
                </c:pt>
                <c:pt idx="29">
                  <c:v>2.971323515475446E-2</c:v>
                </c:pt>
                <c:pt idx="30">
                  <c:v>2.9886044202056931E-2</c:v>
                </c:pt>
                <c:pt idx="31">
                  <c:v>3.0113049153545669E-2</c:v>
                </c:pt>
                <c:pt idx="32">
                  <c:v>3.0121682992946059E-2</c:v>
                </c:pt>
                <c:pt idx="33">
                  <c:v>2.8704102443482309E-2</c:v>
                </c:pt>
                <c:pt idx="34">
                  <c:v>3.0602403901330309E-2</c:v>
                </c:pt>
                <c:pt idx="35">
                  <c:v>3.1456536502498793E-2</c:v>
                </c:pt>
                <c:pt idx="36">
                  <c:v>3.1516667937295108E-2</c:v>
                </c:pt>
                <c:pt idx="37">
                  <c:v>3.3226585884057157E-2</c:v>
                </c:pt>
                <c:pt idx="38">
                  <c:v>3.3016326225624587E-2</c:v>
                </c:pt>
                <c:pt idx="39">
                  <c:v>3.0075909553288729E-2</c:v>
                </c:pt>
                <c:pt idx="40">
                  <c:v>3.030822714314705E-2</c:v>
                </c:pt>
                <c:pt idx="41">
                  <c:v>3.1273537834975489E-2</c:v>
                </c:pt>
                <c:pt idx="42">
                  <c:v>3.005901690014778E-2</c:v>
                </c:pt>
                <c:pt idx="43">
                  <c:v>3.0573863083611631E-2</c:v>
                </c:pt>
                <c:pt idx="44">
                  <c:v>3.254448153409624E-2</c:v>
                </c:pt>
                <c:pt idx="45">
                  <c:v>3.2420025270644671E-2</c:v>
                </c:pt>
                <c:pt idx="46">
                  <c:v>3.0841270586476861E-2</c:v>
                </c:pt>
                <c:pt idx="47">
                  <c:v>3.4545476528939613E-2</c:v>
                </c:pt>
                <c:pt idx="48">
                  <c:v>3.9378011399146942E-2</c:v>
                </c:pt>
                <c:pt idx="49">
                  <c:v>3.4585845792310457E-2</c:v>
                </c:pt>
                <c:pt idx="50">
                  <c:v>3.6889295123608737E-2</c:v>
                </c:pt>
                <c:pt idx="51">
                  <c:v>3.516974061970235E-2</c:v>
                </c:pt>
                <c:pt idx="52">
                  <c:v>3.3440411726256947E-2</c:v>
                </c:pt>
                <c:pt idx="53">
                  <c:v>3.0775515895011849E-2</c:v>
                </c:pt>
                <c:pt idx="54">
                  <c:v>2.856172806220978E-2</c:v>
                </c:pt>
                <c:pt idx="55">
                  <c:v>2.9260191711765832E-2</c:v>
                </c:pt>
                <c:pt idx="56">
                  <c:v>3.1178692703543051E-2</c:v>
                </c:pt>
                <c:pt idx="57">
                  <c:v>3.7031471681131703E-2</c:v>
                </c:pt>
                <c:pt idx="58">
                  <c:v>3.9909501581123753E-2</c:v>
                </c:pt>
                <c:pt idx="59">
                  <c:v>3.3090443177845791E-2</c:v>
                </c:pt>
                <c:pt idx="60">
                  <c:v>2.0429936026239701E-2</c:v>
                </c:pt>
                <c:pt idx="61">
                  <c:v>1.594233918003489E-2</c:v>
                </c:pt>
                <c:pt idx="62">
                  <c:v>2.6561543645322629E-2</c:v>
                </c:pt>
                <c:pt idx="63">
                  <c:v>3.5068893654044378E-2</c:v>
                </c:pt>
                <c:pt idx="64">
                  <c:v>3.0967228847484721E-2</c:v>
                </c:pt>
                <c:pt idx="65">
                  <c:v>2.602705616299417E-2</c:v>
                </c:pt>
                <c:pt idx="66">
                  <c:v>2.587150374122359E-2</c:v>
                </c:pt>
                <c:pt idx="67">
                  <c:v>2.691260699372984E-2</c:v>
                </c:pt>
                <c:pt idx="68">
                  <c:v>2.5874418970458959E-2</c:v>
                </c:pt>
                <c:pt idx="69">
                  <c:v>2.3193315376484971E-2</c:v>
                </c:pt>
                <c:pt idx="70">
                  <c:v>2.2686657383630061E-2</c:v>
                </c:pt>
                <c:pt idx="71">
                  <c:v>2.6189284143623481E-2</c:v>
                </c:pt>
                <c:pt idx="72">
                  <c:v>2.7336338114147821E-2</c:v>
                </c:pt>
                <c:pt idx="73">
                  <c:v>2.7740990571672709E-2</c:v>
                </c:pt>
                <c:pt idx="74">
                  <c:v>2.877527311984417E-2</c:v>
                </c:pt>
                <c:pt idx="75">
                  <c:v>2.8510329318482429E-2</c:v>
                </c:pt>
                <c:pt idx="76">
                  <c:v>2.7909474603405621E-2</c:v>
                </c:pt>
                <c:pt idx="77">
                  <c:v>2.354699792786898E-2</c:v>
                </c:pt>
                <c:pt idx="78">
                  <c:v>2.3516397046911521E-2</c:v>
                </c:pt>
                <c:pt idx="79">
                  <c:v>2.2115174941799771E-2</c:v>
                </c:pt>
                <c:pt idx="80">
                  <c:v>2.2268202762568419E-2</c:v>
                </c:pt>
                <c:pt idx="81">
                  <c:v>2.1244426266941788E-2</c:v>
                </c:pt>
                <c:pt idx="82">
                  <c:v>3.1177386289303839E-2</c:v>
                </c:pt>
                <c:pt idx="83">
                  <c:v>2.630647686699077E-2</c:v>
                </c:pt>
                <c:pt idx="84">
                  <c:v>2.5524833007679371E-2</c:v>
                </c:pt>
                <c:pt idx="85">
                  <c:v>2.6871534411513371E-2</c:v>
                </c:pt>
                <c:pt idx="86">
                  <c:v>2.6338851413823881E-2</c:v>
                </c:pt>
                <c:pt idx="87">
                  <c:v>2.464870108961555E-2</c:v>
                </c:pt>
                <c:pt idx="88">
                  <c:v>2.6238033764437702E-2</c:v>
                </c:pt>
                <c:pt idx="89">
                  <c:v>3.0191859532939729E-2</c:v>
                </c:pt>
                <c:pt idx="90">
                  <c:v>3.071685169632082E-2</c:v>
                </c:pt>
                <c:pt idx="91">
                  <c:v>3.1790352756617277E-2</c:v>
                </c:pt>
                <c:pt idx="92">
                  <c:v>2.9789485452214989E-2</c:v>
                </c:pt>
                <c:pt idx="93">
                  <c:v>2.7419432969366012E-2</c:v>
                </c:pt>
                <c:pt idx="94">
                  <c:v>2.5375304588112151E-2</c:v>
                </c:pt>
                <c:pt idx="95">
                  <c:v>2.727143524464504E-2</c:v>
                </c:pt>
                <c:pt idx="96">
                  <c:v>2.430072520573312E-2</c:v>
                </c:pt>
                <c:pt idx="97">
                  <c:v>2.5953063658202231E-2</c:v>
                </c:pt>
                <c:pt idx="98">
                  <c:v>2.870484051773789E-2</c:v>
                </c:pt>
                <c:pt idx="99">
                  <c:v>3.0161179689259059E-2</c:v>
                </c:pt>
                <c:pt idx="100">
                  <c:v>3.7558407981539428E-2</c:v>
                </c:pt>
                <c:pt idx="101">
                  <c:v>3.5796970668813113E-2</c:v>
                </c:pt>
              </c:numCache>
            </c:numRef>
          </c:yVal>
          <c:smooth val="0"/>
          <c:extLst>
            <c:ext xmlns:c16="http://schemas.microsoft.com/office/drawing/2014/chart" uri="{C3380CC4-5D6E-409C-BE32-E72D297353CC}">
              <c16:uniqueId val="{00000000-096C-4121-9522-6AB7243CCAAE}"/>
            </c:ext>
          </c:extLst>
        </c:ser>
        <c:ser>
          <c:idx val="1"/>
          <c:order val="1"/>
          <c:tx>
            <c:strRef>
              <c:f>Sheet1!$B$10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6:$A$157</c:f>
              <c:numCache>
                <c:formatCode>General</c:formatCode>
                <c:ptCount val="52"/>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numCache>
            </c:numRef>
          </c:xVal>
          <c:yVal>
            <c:numRef>
              <c:f>Sheet1!$B$106:$B$157</c:f>
              <c:numCache>
                <c:formatCode>General</c:formatCode>
                <c:ptCount val="52"/>
                <c:pt idx="0">
                  <c:v>3.3379430772150658E-2</c:v>
                </c:pt>
                <c:pt idx="1">
                  <c:v>3.5297770608354727E-2</c:v>
                </c:pt>
                <c:pt idx="2">
                  <c:v>3.603152077608085E-2</c:v>
                </c:pt>
                <c:pt idx="3">
                  <c:v>3.0978674639028671E-2</c:v>
                </c:pt>
                <c:pt idx="4">
                  <c:v>2.8133515753956471E-2</c:v>
                </c:pt>
                <c:pt idx="5">
                  <c:v>2.7512069607189622E-2</c:v>
                </c:pt>
                <c:pt idx="6">
                  <c:v>2.753590860107619E-2</c:v>
                </c:pt>
                <c:pt idx="7">
                  <c:v>2.7306049137985969E-2</c:v>
                </c:pt>
                <c:pt idx="8">
                  <c:v>2.683860754587173E-2</c:v>
                </c:pt>
                <c:pt idx="9">
                  <c:v>2.8577136215520639E-2</c:v>
                </c:pt>
                <c:pt idx="10">
                  <c:v>2.9045708307140341E-2</c:v>
                </c:pt>
                <c:pt idx="11">
                  <c:v>3.0151694267354031E-2</c:v>
                </c:pt>
                <c:pt idx="12">
                  <c:v>3.1278274774940933E-2</c:v>
                </c:pt>
                <c:pt idx="13">
                  <c:v>3.2623144271831599E-2</c:v>
                </c:pt>
                <c:pt idx="14">
                  <c:v>3.2081452766552027E-2</c:v>
                </c:pt>
                <c:pt idx="15">
                  <c:v>2.8476513020004542E-2</c:v>
                </c:pt>
                <c:pt idx="16">
                  <c:v>2.889792926206242E-2</c:v>
                </c:pt>
                <c:pt idx="17">
                  <c:v>2.8572345272906731E-2</c:v>
                </c:pt>
                <c:pt idx="18">
                  <c:v>2.758215728763419E-2</c:v>
                </c:pt>
                <c:pt idx="19">
                  <c:v>2.6684207925807661E-2</c:v>
                </c:pt>
                <c:pt idx="20">
                  <c:v>2.507409816863837E-2</c:v>
                </c:pt>
                <c:pt idx="21">
                  <c:v>3.7053775555914388E-2</c:v>
                </c:pt>
                <c:pt idx="22">
                  <c:v>4.1201839145334811E-2</c:v>
                </c:pt>
                <c:pt idx="23">
                  <c:v>3.952108516249337E-2</c:v>
                </c:pt>
                <c:pt idx="24">
                  <c:v>3.301132678213544E-2</c:v>
                </c:pt>
                <c:pt idx="25">
                  <c:v>3.4672282379825628E-2</c:v>
                </c:pt>
                <c:pt idx="26">
                  <c:v>3.6478521099227869E-2</c:v>
                </c:pt>
                <c:pt idx="27">
                  <c:v>3.1719960612283417E-2</c:v>
                </c:pt>
                <c:pt idx="28">
                  <c:v>2.9844699099281859E-2</c:v>
                </c:pt>
                <c:pt idx="29">
                  <c:v>2.824703792935155E-2</c:v>
                </c:pt>
                <c:pt idx="30">
                  <c:v>2.3926861689124789E-2</c:v>
                </c:pt>
                <c:pt idx="31">
                  <c:v>2.077067140814904E-2</c:v>
                </c:pt>
                <c:pt idx="32">
                  <c:v>2.3460558709885782E-2</c:v>
                </c:pt>
                <c:pt idx="33">
                  <c:v>3.042796286207031E-2</c:v>
                </c:pt>
                <c:pt idx="34">
                  <c:v>3.1037706913624011E-2</c:v>
                </c:pt>
                <c:pt idx="35">
                  <c:v>2.928997264422914E-2</c:v>
                </c:pt>
                <c:pt idx="36">
                  <c:v>2.9697936908540851E-2</c:v>
                </c:pt>
                <c:pt idx="37">
                  <c:v>3.0248130900335801E-2</c:v>
                </c:pt>
                <c:pt idx="38">
                  <c:v>3.5070387750061743E-2</c:v>
                </c:pt>
                <c:pt idx="39">
                  <c:v>3.120833777020552E-2</c:v>
                </c:pt>
                <c:pt idx="40">
                  <c:v>2.682679016675503E-2</c:v>
                </c:pt>
                <c:pt idx="41">
                  <c:v>2.4203784771293649E-2</c:v>
                </c:pt>
                <c:pt idx="42">
                  <c:v>2.4098053977022381E-2</c:v>
                </c:pt>
                <c:pt idx="43">
                  <c:v>2.4523754132153151E-2</c:v>
                </c:pt>
                <c:pt idx="44">
                  <c:v>2.2379504666963371E-2</c:v>
                </c:pt>
                <c:pt idx="45">
                  <c:v>2.104065524243157E-2</c:v>
                </c:pt>
                <c:pt idx="46">
                  <c:v>2.202824012890214E-2</c:v>
                </c:pt>
                <c:pt idx="47">
                  <c:v>2.3321641522021069E-2</c:v>
                </c:pt>
                <c:pt idx="48">
                  <c:v>2.5721900660138009E-2</c:v>
                </c:pt>
                <c:pt idx="49">
                  <c:v>2.4967370312040962E-2</c:v>
                </c:pt>
                <c:pt idx="50">
                  <c:v>2.603335979145837E-2</c:v>
                </c:pt>
                <c:pt idx="51">
                  <c:v>2.5702227757022279E-2</c:v>
                </c:pt>
              </c:numCache>
            </c:numRef>
          </c:yVal>
          <c:smooth val="0"/>
          <c:extLst>
            <c:ext xmlns:c16="http://schemas.microsoft.com/office/drawing/2014/chart" uri="{C3380CC4-5D6E-409C-BE32-E72D297353CC}">
              <c16:uniqueId val="{00000002-096C-4121-9522-6AB7243CCAAE}"/>
            </c:ext>
          </c:extLst>
        </c:ser>
        <c:ser>
          <c:idx val="2"/>
          <c:order val="2"/>
          <c:tx>
            <c:strRef>
              <c:f>Sheet1!$B$15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0:$A$161</c:f>
              <c:numCache>
                <c:formatCode>General</c:formatCode>
                <c:ptCount val="2"/>
                <c:pt idx="0">
                  <c:v>0</c:v>
                </c:pt>
                <c:pt idx="1">
                  <c:v>0.1108820277239114</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5-096C-4121-9522-6AB7243CCAAE}"/>
            </c:ext>
          </c:extLst>
        </c:ser>
        <c:ser>
          <c:idx val="3"/>
          <c:order val="3"/>
          <c:tx>
            <c:strRef>
              <c:f>Sheet1!$B$16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0.1108820277239114</c:v>
                </c:pt>
                <c:pt idx="1">
                  <c:v>0.1108820277239114</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8:$A$169</c:f>
              <c:numCache>
                <c:formatCode>General</c:formatCode>
                <c:ptCount val="2"/>
                <c:pt idx="0">
                  <c:v>0</c:v>
                </c:pt>
                <c:pt idx="1">
                  <c:v>0.11732114474802791</c:v>
                </c:pt>
              </c:numCache>
            </c:numRef>
          </c:xVal>
          <c:yVal>
            <c:numRef>
              <c:f>Sheet1!$B$168:$B$169</c:f>
              <c:numCache>
                <c:formatCode>General</c:formatCode>
                <c:ptCount val="2"/>
                <c:pt idx="0">
                  <c:v>3.1101577984060609E-2</c:v>
                </c:pt>
                <c:pt idx="1">
                  <c:v>3.1101577984060609E-2</c:v>
                </c:pt>
              </c:numCache>
            </c:numRef>
          </c:yVal>
          <c:smooth val="0"/>
          <c:extLst>
            <c:ext xmlns:c16="http://schemas.microsoft.com/office/drawing/2014/chart" uri="{C3380CC4-5D6E-409C-BE32-E72D297353CC}">
              <c16:uniqueId val="{0000000D-096C-4121-9522-6AB7243CCAAE}"/>
            </c:ext>
          </c:extLst>
        </c:ser>
        <c:ser>
          <c:idx val="5"/>
          <c:order val="5"/>
          <c:tx>
            <c:strRef>
              <c:f>Sheet1!$B$17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0.11732114474802791</c:v>
                </c:pt>
                <c:pt idx="1">
                  <c:v>0.11732114474802791</c:v>
                </c:pt>
              </c:numCache>
            </c:numRef>
          </c:xVal>
          <c:yVal>
            <c:numRef>
              <c:f>Sheet1!$B$172:$B$173</c:f>
              <c:numCache>
                <c:formatCode>General</c:formatCode>
                <c:ptCount val="2"/>
                <c:pt idx="0">
                  <c:v>3.1101577984060609E-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6:$A$177</c:f>
              <c:numCache>
                <c:formatCode>General</c:formatCode>
                <c:ptCount val="2"/>
                <c:pt idx="0">
                  <c:v>0</c:v>
                </c:pt>
                <c:pt idx="1">
                  <c:v>0.13512234665834599</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5-096C-4121-9522-6AB7243CCAAE}"/>
            </c:ext>
          </c:extLst>
        </c:ser>
        <c:ser>
          <c:idx val="7"/>
          <c:order val="7"/>
          <c:tx>
            <c:strRef>
              <c:f>Sheet1!$B$17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0:$A$181</c:f>
              <c:numCache>
                <c:formatCode>General</c:formatCode>
                <c:ptCount val="2"/>
                <c:pt idx="0">
                  <c:v>0.13512234665834599</c:v>
                </c:pt>
                <c:pt idx="1">
                  <c:v>0.13512234665834599</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4:$A$238</c:f>
              <c:numCache>
                <c:formatCode>General</c:formatCode>
                <c:ptCount val="55"/>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pt idx="52">
                  <c:v>0.11732114474802791</c:v>
                </c:pt>
                <c:pt idx="53">
                  <c:v>0.1108820277239114</c:v>
                </c:pt>
                <c:pt idx="54">
                  <c:v>0.13512234665834599</c:v>
                </c:pt>
              </c:numCache>
            </c:numRef>
          </c:xVal>
          <c:yVal>
            <c:numRef>
              <c:f>Sheet1!$B$184:$B$238</c:f>
              <c:numCache>
                <c:formatCode>General</c:formatCode>
                <c:ptCount val="55"/>
                <c:pt idx="0">
                  <c:v>3.1620668745252142E-2</c:v>
                </c:pt>
                <c:pt idx="1">
                  <c:v>3.1654790245678951E-2</c:v>
                </c:pt>
                <c:pt idx="2">
                  <c:v>3.2783325344754151E-2</c:v>
                </c:pt>
                <c:pt idx="3">
                  <c:v>3.022688607526958E-2</c:v>
                </c:pt>
                <c:pt idx="4">
                  <c:v>2.8540776744242852E-2</c:v>
                </c:pt>
                <c:pt idx="5">
                  <c:v>2.8198639317480349E-2</c:v>
                </c:pt>
                <c:pt idx="6">
                  <c:v>2.8149354774764782E-2</c:v>
                </c:pt>
                <c:pt idx="7">
                  <c:v>2.8199004366077019E-2</c:v>
                </c:pt>
                <c:pt idx="8">
                  <c:v>3.0157282303857849E-2</c:v>
                </c:pt>
                <c:pt idx="9">
                  <c:v>2.9717490317624731E-2</c:v>
                </c:pt>
                <c:pt idx="10">
                  <c:v>2.880162617160174E-2</c:v>
                </c:pt>
                <c:pt idx="11">
                  <c:v>3.0799476543192809E-2</c:v>
                </c:pt>
                <c:pt idx="12">
                  <c:v>2.8080121278043681E-2</c:v>
                </c:pt>
                <c:pt idx="13">
                  <c:v>2.8247092051713919E-2</c:v>
                </c:pt>
                <c:pt idx="14">
                  <c:v>2.639540124703324E-2</c:v>
                </c:pt>
                <c:pt idx="15">
                  <c:v>1.9220157910636009E-2</c:v>
                </c:pt>
                <c:pt idx="16">
                  <c:v>2.9292926757015069E-2</c:v>
                </c:pt>
                <c:pt idx="17">
                  <c:v>2.9541107656935999E-2</c:v>
                </c:pt>
                <c:pt idx="18">
                  <c:v>3.1154431279754719E-2</c:v>
                </c:pt>
                <c:pt idx="19">
                  <c:v>2.9461129531890291E-2</c:v>
                </c:pt>
                <c:pt idx="20">
                  <c:v>3.0313783713891131E-2</c:v>
                </c:pt>
                <c:pt idx="21">
                  <c:v>3.3508822667282862E-2</c:v>
                </c:pt>
                <c:pt idx="22">
                  <c:v>3.4739165058279807E-2</c:v>
                </c:pt>
                <c:pt idx="23">
                  <c:v>3.3561500120319547E-2</c:v>
                </c:pt>
                <c:pt idx="24">
                  <c:v>3.0961282548418428E-2</c:v>
                </c:pt>
                <c:pt idx="25">
                  <c:v>3.325613118609181E-2</c:v>
                </c:pt>
                <c:pt idx="26">
                  <c:v>3.230935798656305E-2</c:v>
                </c:pt>
                <c:pt idx="27">
                  <c:v>3.0186042242885399E-2</c:v>
                </c:pt>
                <c:pt idx="28">
                  <c:v>2.9826699740302571E-2</c:v>
                </c:pt>
                <c:pt idx="29">
                  <c:v>2.8461825588360749E-2</c:v>
                </c:pt>
                <c:pt idx="30">
                  <c:v>2.6667445839888119E-2</c:v>
                </c:pt>
                <c:pt idx="31">
                  <c:v>2.9333797528733729E-2</c:v>
                </c:pt>
                <c:pt idx="32">
                  <c:v>2.8469462201818171E-2</c:v>
                </c:pt>
                <c:pt idx="33">
                  <c:v>3.1278574864500211E-2</c:v>
                </c:pt>
                <c:pt idx="34">
                  <c:v>3.362517184260494E-2</c:v>
                </c:pt>
                <c:pt idx="35">
                  <c:v>3.1259339751075838E-2</c:v>
                </c:pt>
                <c:pt idx="36">
                  <c:v>3.2466678789921898E-2</c:v>
                </c:pt>
                <c:pt idx="37">
                  <c:v>3.336561461501103E-2</c:v>
                </c:pt>
                <c:pt idx="38">
                  <c:v>3.1897061212580187E-2</c:v>
                </c:pt>
                <c:pt idx="39">
                  <c:v>3.0591232179052279E-2</c:v>
                </c:pt>
                <c:pt idx="40">
                  <c:v>2.6490890509876141E-2</c:v>
                </c:pt>
                <c:pt idx="41">
                  <c:v>2.5005655171483909E-2</c:v>
                </c:pt>
                <c:pt idx="42">
                  <c:v>2.471524594195228E-2</c:v>
                </c:pt>
                <c:pt idx="43">
                  <c:v>2.5740688254943609E-2</c:v>
                </c:pt>
                <c:pt idx="44">
                  <c:v>2.534241769031121E-2</c:v>
                </c:pt>
                <c:pt idx="45">
                  <c:v>2.5785004878787769E-2</c:v>
                </c:pt>
                <c:pt idx="46">
                  <c:v>2.6712805427711591E-2</c:v>
                </c:pt>
                <c:pt idx="47">
                  <c:v>2.6016063432124481E-2</c:v>
                </c:pt>
                <c:pt idx="48">
                  <c:v>2.645901837190287E-2</c:v>
                </c:pt>
                <c:pt idx="49">
                  <c:v>2.253097533810856E-2</c:v>
                </c:pt>
                <c:pt idx="50">
                  <c:v>2.3407974477709061E-2</c:v>
                </c:pt>
                <c:pt idx="51">
                  <c:v>2.5267129597052979E-2</c:v>
                </c:pt>
                <c:pt idx="52">
                  <c:v>3.1101577984060599E-2</c:v>
                </c:pt>
                <c:pt idx="53">
                  <c:v>3.3390590546211449E-2</c:v>
                </c:pt>
                <c:pt idx="54">
                  <c:v>2.47735092998775E-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18089307194123574"/>
          <c:min val="7.5697543274504286E-2"/>
        </c:scaling>
        <c:delete val="0"/>
        <c:axPos val="b"/>
        <c:title>
          <c:tx>
            <c:rich>
              <a:bodyPr rot="0" spcFirstLastPara="1" vertOverflow="ellipsis" vert="horz" wrap="square" anchor="ctr" anchorCtr="1"/>
              <a:lstStyle/>
              <a:p>
                <a:pPr>
                  <a:defRPr sz="800" b="0">
                    <a:solidFill>
                      <a:srgbClr val="575555"/>
                    </a:solidFill>
                    <a:latin typeface="Nexa Bold"/>
                  </a:defRPr>
                </a:pPr>
                <a:r>
                  <a:rPr lang="en-US"/>
                  <a:t>Price Ix vs. Gillette Fusion5</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3084051742229012</c:v>
                </c:pt>
                <c:pt idx="1">
                  <c:v>0.31591786351078627</c:v>
                </c:pt>
                <c:pt idx="2">
                  <c:v>0.32058023334902946</c:v>
                </c:pt>
                <c:pt idx="3">
                  <c:v>0.31551466024025998</c:v>
                </c:pt>
                <c:pt idx="4">
                  <c:v>0.31248983133575575</c:v>
                </c:pt>
                <c:pt idx="5">
                  <c:v>0.31209899175068745</c:v>
                </c:pt>
                <c:pt idx="6">
                  <c:v>0.31243915630070307</c:v>
                </c:pt>
                <c:pt idx="7">
                  <c:v>0.3133619793471481</c:v>
                </c:pt>
                <c:pt idx="8">
                  <c:v>0.31671907756813417</c:v>
                </c:pt>
                <c:pt idx="9">
                  <c:v>0.31082322826247477</c:v>
                </c:pt>
                <c:pt idx="10">
                  <c:v>0.31047212859141043</c:v>
                </c:pt>
                <c:pt idx="11">
                  <c:v>0.30851195946449417</c:v>
                </c:pt>
                <c:pt idx="12">
                  <c:v>0.30743476600274672</c:v>
                </c:pt>
                <c:pt idx="13">
                  <c:v>0.30557876018361524</c:v>
                </c:pt>
                <c:pt idx="14">
                  <c:v>0.30608180521683359</c:v>
                </c:pt>
                <c:pt idx="15">
                  <c:v>0.30537959003209308</c:v>
                </c:pt>
                <c:pt idx="16">
                  <c:v>0.30479028449342177</c:v>
                </c:pt>
                <c:pt idx="17">
                  <c:v>0.30535697989231286</c:v>
                </c:pt>
                <c:pt idx="18">
                  <c:v>0.30758733419811496</c:v>
                </c:pt>
                <c:pt idx="19">
                  <c:v>0.30384356418742708</c:v>
                </c:pt>
                <c:pt idx="20">
                  <c:v>0.30255871389344829</c:v>
                </c:pt>
                <c:pt idx="21">
                  <c:v>0.30131492720175512</c:v>
                </c:pt>
                <c:pt idx="22">
                  <c:v>0.30402402402402401</c:v>
                </c:pt>
                <c:pt idx="23">
                  <c:v>0.3041818228723267</c:v>
                </c:pt>
                <c:pt idx="24">
                  <c:v>0.30380595989557657</c:v>
                </c:pt>
                <c:pt idx="25">
                  <c:v>0.30266464709715091</c:v>
                </c:pt>
                <c:pt idx="26">
                  <c:v>0.30198090992432275</c:v>
                </c:pt>
                <c:pt idx="27">
                  <c:v>0.30261018186645428</c:v>
                </c:pt>
                <c:pt idx="28">
                  <c:v>0.30379475941413642</c:v>
                </c:pt>
                <c:pt idx="29">
                  <c:v>0.30510575091808745</c:v>
                </c:pt>
                <c:pt idx="30">
                  <c:v>0.30547263681592041</c:v>
                </c:pt>
                <c:pt idx="31">
                  <c:v>0.30191808942530629</c:v>
                </c:pt>
                <c:pt idx="32">
                  <c:v>0.30004016835781272</c:v>
                </c:pt>
                <c:pt idx="33">
                  <c:v>0.30140260803244229</c:v>
                </c:pt>
                <c:pt idx="34">
                  <c:v>0.30315931183998879</c:v>
                </c:pt>
                <c:pt idx="35">
                  <c:v>0.30423707530585153</c:v>
                </c:pt>
                <c:pt idx="36">
                  <c:v>0.30339368848493503</c:v>
                </c:pt>
                <c:pt idx="37">
                  <c:v>0.30312142377964563</c:v>
                </c:pt>
                <c:pt idx="38">
                  <c:v>0.30421477922015827</c:v>
                </c:pt>
                <c:pt idx="39">
                  <c:v>0.30360700245050509</c:v>
                </c:pt>
                <c:pt idx="40">
                  <c:v>0.30482776067799466</c:v>
                </c:pt>
                <c:pt idx="41">
                  <c:v>0.30496561046396053</c:v>
                </c:pt>
                <c:pt idx="42">
                  <c:v>0.30474260101509459</c:v>
                </c:pt>
                <c:pt idx="43">
                  <c:v>0.30487658997567685</c:v>
                </c:pt>
                <c:pt idx="44">
                  <c:v>0.30417377406912238</c:v>
                </c:pt>
                <c:pt idx="45">
                  <c:v>0.30429474182711519</c:v>
                </c:pt>
                <c:pt idx="46">
                  <c:v>0.30416987037597953</c:v>
                </c:pt>
                <c:pt idx="47">
                  <c:v>0.30177142857142858</c:v>
                </c:pt>
                <c:pt idx="48">
                  <c:v>0.30034428178139644</c:v>
                </c:pt>
                <c:pt idx="49">
                  <c:v>0.30020553910468561</c:v>
                </c:pt>
                <c:pt idx="50">
                  <c:v>0.30020393921120919</c:v>
                </c:pt>
                <c:pt idx="51">
                  <c:v>0.30029572161037082</c:v>
                </c:pt>
                <c:pt idx="52">
                  <c:v>0.30085731375024921</c:v>
                </c:pt>
                <c:pt idx="53">
                  <c:v>0.30374794069192751</c:v>
                </c:pt>
                <c:pt idx="54">
                  <c:v>0.30475569923731716</c:v>
                </c:pt>
                <c:pt idx="55">
                  <c:v>0.30484411191281596</c:v>
                </c:pt>
                <c:pt idx="56">
                  <c:v>0.29666067320451317</c:v>
                </c:pt>
                <c:pt idx="57">
                  <c:v>0.25400835544515327</c:v>
                </c:pt>
                <c:pt idx="58">
                  <c:v>0.23382400369980466</c:v>
                </c:pt>
                <c:pt idx="59">
                  <c:v>0.23943026116791946</c:v>
                </c:pt>
                <c:pt idx="60">
                  <c:v>0.25369491863085675</c:v>
                </c:pt>
                <c:pt idx="61">
                  <c:v>0.26335839430757868</c:v>
                </c:pt>
                <c:pt idx="62">
                  <c:v>0.24811366501794199</c:v>
                </c:pt>
                <c:pt idx="63">
                  <c:v>0.25331883600138116</c:v>
                </c:pt>
                <c:pt idx="64">
                  <c:v>0.27606841827999473</c:v>
                </c:pt>
                <c:pt idx="65">
                  <c:v>0.28160478817918266</c:v>
                </c:pt>
                <c:pt idx="66">
                  <c:v>0.29229782021117312</c:v>
                </c:pt>
                <c:pt idx="67">
                  <c:v>0.30127414335954045</c:v>
                </c:pt>
                <c:pt idx="68">
                  <c:v>0.30305886879569066</c:v>
                </c:pt>
                <c:pt idx="69">
                  <c:v>0.30492991022208221</c:v>
                </c:pt>
                <c:pt idx="70">
                  <c:v>0.30628978911194849</c:v>
                </c:pt>
                <c:pt idx="71">
                  <c:v>0.30507690665654685</c:v>
                </c:pt>
                <c:pt idx="72">
                  <c:v>0.30607670596048481</c:v>
                </c:pt>
                <c:pt idx="73">
                  <c:v>0.3116373241246056</c:v>
                </c:pt>
                <c:pt idx="74">
                  <c:v>0.31424842998124136</c:v>
                </c:pt>
                <c:pt idx="75">
                  <c:v>0.31320176754871626</c:v>
                </c:pt>
                <c:pt idx="76">
                  <c:v>0.31380953870863448</c:v>
                </c:pt>
                <c:pt idx="77">
                  <c:v>0.32590348409435188</c:v>
                </c:pt>
                <c:pt idx="78">
                  <c:v>0.33061711871301291</c:v>
                </c:pt>
                <c:pt idx="79">
                  <c:v>0.33376024237416513</c:v>
                </c:pt>
                <c:pt idx="80">
                  <c:v>0.334863282523373</c:v>
                </c:pt>
                <c:pt idx="81">
                  <c:v>0.33732775797715603</c:v>
                </c:pt>
                <c:pt idx="82">
                  <c:v>0.3340239432262419</c:v>
                </c:pt>
                <c:pt idx="83">
                  <c:v>0.32813911724353323</c:v>
                </c:pt>
                <c:pt idx="84">
                  <c:v>0.32451377453380215</c:v>
                </c:pt>
                <c:pt idx="85">
                  <c:v>0.3242920313313794</c:v>
                </c:pt>
                <c:pt idx="86">
                  <c:v>0.32834757834757833</c:v>
                </c:pt>
                <c:pt idx="87">
                  <c:v>0.33024565689467972</c:v>
                </c:pt>
                <c:pt idx="88">
                  <c:v>0.33047076978575868</c:v>
                </c:pt>
                <c:pt idx="89">
                  <c:v>0.32960364974033468</c:v>
                </c:pt>
                <c:pt idx="90">
                  <c:v>0.32877782475231143</c:v>
                </c:pt>
                <c:pt idx="91">
                  <c:v>0.33265505668454848</c:v>
                </c:pt>
                <c:pt idx="92">
                  <c:v>0.33383080669232584</c:v>
                </c:pt>
                <c:pt idx="93">
                  <c:v>0.33445095599479496</c:v>
                </c:pt>
                <c:pt idx="94">
                  <c:v>0.33425385899470356</c:v>
                </c:pt>
                <c:pt idx="95">
                  <c:v>0.33302358553829059</c:v>
                </c:pt>
                <c:pt idx="96">
                  <c:v>0.3331230702831911</c:v>
                </c:pt>
                <c:pt idx="97">
                  <c:v>0.33248279672509923</c:v>
                </c:pt>
                <c:pt idx="98">
                  <c:v>0.33184443040565192</c:v>
                </c:pt>
                <c:pt idx="99">
                  <c:v>0.31234357273380736</c:v>
                </c:pt>
                <c:pt idx="100">
                  <c:v>0.30123106937136429</c:v>
                </c:pt>
                <c:pt idx="101">
                  <c:v>0.30056872662328632</c:v>
                </c:pt>
              </c:numCache>
            </c:numRef>
          </c:xVal>
          <c:yVal>
            <c:numRef>
              <c:f>Sheet1!$B$2:$B$103</c:f>
              <c:numCache>
                <c:formatCode>General</c:formatCode>
                <c:ptCount val="102"/>
                <c:pt idx="0">
                  <c:v>3.1549194168607006E-2</c:v>
                </c:pt>
                <c:pt idx="1">
                  <c:v>2.5925076493376501E-2</c:v>
                </c:pt>
                <c:pt idx="2">
                  <c:v>1.9457371147598559E-2</c:v>
                </c:pt>
                <c:pt idx="3">
                  <c:v>2.1005226955186754E-2</c:v>
                </c:pt>
                <c:pt idx="4">
                  <c:v>2.3683174888924508E-2</c:v>
                </c:pt>
                <c:pt idx="5">
                  <c:v>2.4814911692122233E-2</c:v>
                </c:pt>
                <c:pt idx="6">
                  <c:v>2.2966901329024649E-2</c:v>
                </c:pt>
                <c:pt idx="7">
                  <c:v>2.1693356757167159E-2</c:v>
                </c:pt>
                <c:pt idx="8">
                  <c:v>2.508474647577718E-2</c:v>
                </c:pt>
                <c:pt idx="9">
                  <c:v>3.2219360006132694E-2</c:v>
                </c:pt>
                <c:pt idx="10">
                  <c:v>3.3455366889535383E-2</c:v>
                </c:pt>
                <c:pt idx="11">
                  <c:v>3.0774205038558523E-2</c:v>
                </c:pt>
                <c:pt idx="12">
                  <c:v>3.166311843777065E-2</c:v>
                </c:pt>
                <c:pt idx="13">
                  <c:v>2.9573633835338665E-2</c:v>
                </c:pt>
                <c:pt idx="14">
                  <c:v>2.9438294749618857E-2</c:v>
                </c:pt>
                <c:pt idx="15">
                  <c:v>3.2326555355538883E-2</c:v>
                </c:pt>
                <c:pt idx="16">
                  <c:v>3.0454183212358377E-2</c:v>
                </c:pt>
                <c:pt idx="17">
                  <c:v>3.0177244147381318E-2</c:v>
                </c:pt>
                <c:pt idx="18">
                  <c:v>3.0949579617420526E-2</c:v>
                </c:pt>
                <c:pt idx="19">
                  <c:v>3.3044676701229417E-2</c:v>
                </c:pt>
                <c:pt idx="20">
                  <c:v>3.4502368865567047E-2</c:v>
                </c:pt>
                <c:pt idx="21">
                  <c:v>3.8171203781773647E-2</c:v>
                </c:pt>
                <c:pt idx="22">
                  <c:v>3.2633840746857157E-2</c:v>
                </c:pt>
                <c:pt idx="23">
                  <c:v>3.22851825867847E-2</c:v>
                </c:pt>
                <c:pt idx="24">
                  <c:v>3.4293774474369265E-2</c:v>
                </c:pt>
                <c:pt idx="25">
                  <c:v>3.3493331489235549E-2</c:v>
                </c:pt>
                <c:pt idx="26">
                  <c:v>3.2256296982208908E-2</c:v>
                </c:pt>
                <c:pt idx="27">
                  <c:v>3.256327154323236E-2</c:v>
                </c:pt>
                <c:pt idx="28">
                  <c:v>3.0215972855570965E-2</c:v>
                </c:pt>
                <c:pt idx="29">
                  <c:v>2.971323515475446E-2</c:v>
                </c:pt>
                <c:pt idx="30">
                  <c:v>2.9886044202056927E-2</c:v>
                </c:pt>
                <c:pt idx="31">
                  <c:v>3.0113049153545669E-2</c:v>
                </c:pt>
                <c:pt idx="32">
                  <c:v>3.0121682992946059E-2</c:v>
                </c:pt>
                <c:pt idx="33">
                  <c:v>2.8704102443482309E-2</c:v>
                </c:pt>
                <c:pt idx="34">
                  <c:v>3.0602403901330309E-2</c:v>
                </c:pt>
                <c:pt idx="35">
                  <c:v>3.1456536502498786E-2</c:v>
                </c:pt>
                <c:pt idx="36">
                  <c:v>3.1516667937295108E-2</c:v>
                </c:pt>
                <c:pt idx="37">
                  <c:v>3.3226585884057164E-2</c:v>
                </c:pt>
                <c:pt idx="38">
                  <c:v>3.3016326225624587E-2</c:v>
                </c:pt>
                <c:pt idx="39">
                  <c:v>3.0075909553288729E-2</c:v>
                </c:pt>
                <c:pt idx="40">
                  <c:v>3.0308227143147046E-2</c:v>
                </c:pt>
                <c:pt idx="41">
                  <c:v>3.1273537834975489E-2</c:v>
                </c:pt>
                <c:pt idx="42">
                  <c:v>3.0059016900147784E-2</c:v>
                </c:pt>
                <c:pt idx="43">
                  <c:v>3.0573863083611635E-2</c:v>
                </c:pt>
                <c:pt idx="44">
                  <c:v>3.254448153409624E-2</c:v>
                </c:pt>
                <c:pt idx="45">
                  <c:v>3.2420025270644671E-2</c:v>
                </c:pt>
                <c:pt idx="46">
                  <c:v>3.0841270586476857E-2</c:v>
                </c:pt>
                <c:pt idx="47">
                  <c:v>3.4545476528939606E-2</c:v>
                </c:pt>
                <c:pt idx="48">
                  <c:v>3.9378011399146942E-2</c:v>
                </c:pt>
                <c:pt idx="49">
                  <c:v>3.4585845792310457E-2</c:v>
                </c:pt>
                <c:pt idx="50">
                  <c:v>3.6889295123608744E-2</c:v>
                </c:pt>
                <c:pt idx="51">
                  <c:v>3.516974061970235E-2</c:v>
                </c:pt>
                <c:pt idx="52">
                  <c:v>3.3440411726256954E-2</c:v>
                </c:pt>
                <c:pt idx="53">
                  <c:v>3.0775515895011849E-2</c:v>
                </c:pt>
                <c:pt idx="54">
                  <c:v>2.856172806220978E-2</c:v>
                </c:pt>
                <c:pt idx="55">
                  <c:v>2.9260191711765828E-2</c:v>
                </c:pt>
                <c:pt idx="56">
                  <c:v>3.1178692703543048E-2</c:v>
                </c:pt>
                <c:pt idx="57">
                  <c:v>3.7031471681131703E-2</c:v>
                </c:pt>
                <c:pt idx="58">
                  <c:v>3.9909501581123753E-2</c:v>
                </c:pt>
                <c:pt idx="59">
                  <c:v>3.3090443177845791E-2</c:v>
                </c:pt>
                <c:pt idx="60">
                  <c:v>2.0429936026239697E-2</c:v>
                </c:pt>
                <c:pt idx="61">
                  <c:v>1.5942339180034886E-2</c:v>
                </c:pt>
                <c:pt idx="62">
                  <c:v>2.6561543645322632E-2</c:v>
                </c:pt>
                <c:pt idx="63">
                  <c:v>3.5068893654044385E-2</c:v>
                </c:pt>
                <c:pt idx="64">
                  <c:v>3.0967228847484717E-2</c:v>
                </c:pt>
                <c:pt idx="65">
                  <c:v>2.6027056162994167E-2</c:v>
                </c:pt>
                <c:pt idx="66">
                  <c:v>2.5871503741223587E-2</c:v>
                </c:pt>
                <c:pt idx="67">
                  <c:v>2.691260699372984E-2</c:v>
                </c:pt>
                <c:pt idx="68">
                  <c:v>2.5874418970458959E-2</c:v>
                </c:pt>
                <c:pt idx="69">
                  <c:v>2.3193315376484971E-2</c:v>
                </c:pt>
                <c:pt idx="70">
                  <c:v>2.2686657383630057E-2</c:v>
                </c:pt>
                <c:pt idx="71">
                  <c:v>2.6189284143623485E-2</c:v>
                </c:pt>
                <c:pt idx="72">
                  <c:v>2.7336338114147821E-2</c:v>
                </c:pt>
                <c:pt idx="73">
                  <c:v>2.7740990571672709E-2</c:v>
                </c:pt>
                <c:pt idx="74">
                  <c:v>2.8775273119844166E-2</c:v>
                </c:pt>
                <c:pt idx="75">
                  <c:v>2.8510329318482425E-2</c:v>
                </c:pt>
                <c:pt idx="76">
                  <c:v>2.7909474603405617E-2</c:v>
                </c:pt>
                <c:pt idx="77">
                  <c:v>2.354699792786898E-2</c:v>
                </c:pt>
                <c:pt idx="78">
                  <c:v>2.3516397046911525E-2</c:v>
                </c:pt>
                <c:pt idx="79">
                  <c:v>2.2115174941799768E-2</c:v>
                </c:pt>
                <c:pt idx="80">
                  <c:v>2.2268202762568419E-2</c:v>
                </c:pt>
                <c:pt idx="81">
                  <c:v>2.1244426266941792E-2</c:v>
                </c:pt>
                <c:pt idx="82">
                  <c:v>3.1177386289303839E-2</c:v>
                </c:pt>
                <c:pt idx="83">
                  <c:v>2.6306476866990773E-2</c:v>
                </c:pt>
                <c:pt idx="84">
                  <c:v>2.5524833007679375E-2</c:v>
                </c:pt>
                <c:pt idx="85">
                  <c:v>2.6871534411513368E-2</c:v>
                </c:pt>
                <c:pt idx="86">
                  <c:v>2.6338851413823878E-2</c:v>
                </c:pt>
                <c:pt idx="87">
                  <c:v>2.4648701089615546E-2</c:v>
                </c:pt>
                <c:pt idx="88">
                  <c:v>2.6238033764437702E-2</c:v>
                </c:pt>
                <c:pt idx="89">
                  <c:v>3.0191859532939729E-2</c:v>
                </c:pt>
                <c:pt idx="90">
                  <c:v>3.0716851696320817E-2</c:v>
                </c:pt>
                <c:pt idx="91">
                  <c:v>3.1790352756617284E-2</c:v>
                </c:pt>
                <c:pt idx="92">
                  <c:v>2.9789485452214992E-2</c:v>
                </c:pt>
                <c:pt idx="93">
                  <c:v>2.7419432969366012E-2</c:v>
                </c:pt>
                <c:pt idx="94">
                  <c:v>2.5375304588112154E-2</c:v>
                </c:pt>
                <c:pt idx="95">
                  <c:v>2.7271435244645044E-2</c:v>
                </c:pt>
                <c:pt idx="96">
                  <c:v>2.4300725205733124E-2</c:v>
                </c:pt>
                <c:pt idx="97">
                  <c:v>2.5953063658202231E-2</c:v>
                </c:pt>
                <c:pt idx="98">
                  <c:v>2.870484051773789E-2</c:v>
                </c:pt>
                <c:pt idx="99">
                  <c:v>3.0161179689259059E-2</c:v>
                </c:pt>
                <c:pt idx="100">
                  <c:v>3.7558407981539428E-2</c:v>
                </c:pt>
                <c:pt idx="101">
                  <c:v>3.5796970668813106E-2</c:v>
                </c:pt>
              </c:numCache>
            </c:numRef>
          </c:yVal>
          <c:smooth val="0"/>
          <c:extLst>
            <c:ext xmlns:c16="http://schemas.microsoft.com/office/drawing/2014/chart" uri="{C3380CC4-5D6E-409C-BE32-E72D297353CC}">
              <c16:uniqueId val="{00000000-F32D-48B7-BC20-E66FC6253BAD}"/>
            </c:ext>
          </c:extLst>
        </c:ser>
        <c:ser>
          <c:idx val="1"/>
          <c:order val="1"/>
          <c:tx>
            <c:strRef>
              <c:f>Sheet1!$B$10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6:$A$157</c:f>
              <c:numCache>
                <c:formatCode>General</c:formatCode>
                <c:ptCount val="52"/>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numCache>
            </c:numRef>
          </c:xVal>
          <c:yVal>
            <c:numRef>
              <c:f>Sheet1!$B$106:$B$157</c:f>
              <c:numCache>
                <c:formatCode>General</c:formatCode>
                <c:ptCount val="52"/>
                <c:pt idx="0">
                  <c:v>3.3379430772150658E-2</c:v>
                </c:pt>
                <c:pt idx="1">
                  <c:v>3.5297770608354727E-2</c:v>
                </c:pt>
                <c:pt idx="2">
                  <c:v>3.603152077608085E-2</c:v>
                </c:pt>
                <c:pt idx="3">
                  <c:v>3.0978674639028675E-2</c:v>
                </c:pt>
                <c:pt idx="4">
                  <c:v>2.8133515753956471E-2</c:v>
                </c:pt>
                <c:pt idx="5">
                  <c:v>2.7512069607189618E-2</c:v>
                </c:pt>
                <c:pt idx="6">
                  <c:v>2.7535908601076187E-2</c:v>
                </c:pt>
                <c:pt idx="7">
                  <c:v>2.7306049137985969E-2</c:v>
                </c:pt>
                <c:pt idx="8">
                  <c:v>2.6838607545871734E-2</c:v>
                </c:pt>
                <c:pt idx="9">
                  <c:v>2.8577136215520643E-2</c:v>
                </c:pt>
                <c:pt idx="10">
                  <c:v>2.9045708307140341E-2</c:v>
                </c:pt>
                <c:pt idx="11">
                  <c:v>3.0151694267354034E-2</c:v>
                </c:pt>
                <c:pt idx="12">
                  <c:v>3.1278274774940926E-2</c:v>
                </c:pt>
                <c:pt idx="13">
                  <c:v>3.2623144271831599E-2</c:v>
                </c:pt>
                <c:pt idx="14">
                  <c:v>3.2081452766552027E-2</c:v>
                </c:pt>
                <c:pt idx="15">
                  <c:v>2.8476513020004538E-2</c:v>
                </c:pt>
                <c:pt idx="16">
                  <c:v>2.8897929262062423E-2</c:v>
                </c:pt>
                <c:pt idx="17">
                  <c:v>2.8572345272906727E-2</c:v>
                </c:pt>
                <c:pt idx="18">
                  <c:v>2.7582157287634194E-2</c:v>
                </c:pt>
                <c:pt idx="19">
                  <c:v>2.6684207925807661E-2</c:v>
                </c:pt>
                <c:pt idx="20">
                  <c:v>2.5074098168638374E-2</c:v>
                </c:pt>
                <c:pt idx="21">
                  <c:v>3.7053775555914395E-2</c:v>
                </c:pt>
                <c:pt idx="22">
                  <c:v>4.1201839145334811E-2</c:v>
                </c:pt>
                <c:pt idx="23">
                  <c:v>3.952108516249337E-2</c:v>
                </c:pt>
                <c:pt idx="24">
                  <c:v>3.301132678213544E-2</c:v>
                </c:pt>
                <c:pt idx="25">
                  <c:v>3.4672282379825628E-2</c:v>
                </c:pt>
                <c:pt idx="26">
                  <c:v>3.6478521099227869E-2</c:v>
                </c:pt>
                <c:pt idx="27">
                  <c:v>3.1719960612283417E-2</c:v>
                </c:pt>
                <c:pt idx="28">
                  <c:v>2.9844699099281863E-2</c:v>
                </c:pt>
                <c:pt idx="29">
                  <c:v>2.8247037929351546E-2</c:v>
                </c:pt>
                <c:pt idx="30">
                  <c:v>2.3926861689124793E-2</c:v>
                </c:pt>
                <c:pt idx="31">
                  <c:v>2.0770671408149036E-2</c:v>
                </c:pt>
                <c:pt idx="32">
                  <c:v>2.3460558709885785E-2</c:v>
                </c:pt>
                <c:pt idx="33">
                  <c:v>3.0427962862070307E-2</c:v>
                </c:pt>
                <c:pt idx="34">
                  <c:v>3.1037706913624008E-2</c:v>
                </c:pt>
                <c:pt idx="35">
                  <c:v>2.928997264422914E-2</c:v>
                </c:pt>
                <c:pt idx="36">
                  <c:v>2.9697936908540855E-2</c:v>
                </c:pt>
                <c:pt idx="37">
                  <c:v>3.0248130900335804E-2</c:v>
                </c:pt>
                <c:pt idx="38">
                  <c:v>3.5070387750061743E-2</c:v>
                </c:pt>
                <c:pt idx="39">
                  <c:v>3.1208337770205517E-2</c:v>
                </c:pt>
                <c:pt idx="40">
                  <c:v>2.6826790166755026E-2</c:v>
                </c:pt>
                <c:pt idx="41">
                  <c:v>2.4203784771293646E-2</c:v>
                </c:pt>
                <c:pt idx="42">
                  <c:v>2.4098053977022377E-2</c:v>
                </c:pt>
                <c:pt idx="43">
                  <c:v>2.4523754132153155E-2</c:v>
                </c:pt>
                <c:pt idx="44">
                  <c:v>2.2379504666963371E-2</c:v>
                </c:pt>
                <c:pt idx="45">
                  <c:v>2.104065524243157E-2</c:v>
                </c:pt>
                <c:pt idx="46">
                  <c:v>2.2028240128902143E-2</c:v>
                </c:pt>
                <c:pt idx="47">
                  <c:v>2.3321641522021073E-2</c:v>
                </c:pt>
                <c:pt idx="48">
                  <c:v>2.5721900660138006E-2</c:v>
                </c:pt>
                <c:pt idx="49">
                  <c:v>2.4967370312040958E-2</c:v>
                </c:pt>
                <c:pt idx="50">
                  <c:v>2.6033359791458374E-2</c:v>
                </c:pt>
                <c:pt idx="51">
                  <c:v>2.5702227757022279E-2</c:v>
                </c:pt>
              </c:numCache>
            </c:numRef>
          </c:yVal>
          <c:smooth val="0"/>
          <c:extLst>
            <c:ext xmlns:c16="http://schemas.microsoft.com/office/drawing/2014/chart" uri="{C3380CC4-5D6E-409C-BE32-E72D297353CC}">
              <c16:uniqueId val="{00000002-F32D-48B7-BC20-E66FC6253BAD}"/>
            </c:ext>
          </c:extLst>
        </c:ser>
        <c:ser>
          <c:idx val="2"/>
          <c:order val="2"/>
          <c:tx>
            <c:strRef>
              <c:f>Sheet1!$B$159</c:f>
              <c:strCache>
                <c:ptCount val="1"/>
                <c:pt idx="0">
                  <c:v>Custom Linep3yQ</c:v>
                </c:pt>
              </c:strCache>
            </c:strRef>
          </c:tx>
          <c:spPr>
            <a:ln w="19050" cap="rnd">
              <a:solidFill>
                <a:srgbClr val="C00000"/>
              </a:solidFill>
              <a:prstDash val="sysDot"/>
              <a:round/>
            </a:ln>
            <a:effectLst/>
          </c:spPr>
          <c:marker>
            <c:symbol val="none"/>
          </c:marker>
          <c:xVal>
            <c:numRef>
              <c:f>Sheet1!$A$160:$A$161</c:f>
              <c:numCache>
                <c:formatCode>General</c:formatCode>
                <c:ptCount val="2"/>
                <c:pt idx="0">
                  <c:v>0</c:v>
                </c:pt>
                <c:pt idx="1">
                  <c:v>0.27575744047645689</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3-F32D-48B7-BC20-E66FC6253BAD}"/>
            </c:ext>
          </c:extLst>
        </c:ser>
        <c:ser>
          <c:idx val="3"/>
          <c:order val="3"/>
          <c:tx>
            <c:strRef>
              <c:f>Sheet1!$B$16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0.27575744047645689</c:v>
                </c:pt>
                <c:pt idx="1">
                  <c:v>0.27575744047645689</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8:$A$169</c:f>
              <c:numCache>
                <c:formatCode>General</c:formatCode>
                <c:ptCount val="2"/>
                <c:pt idx="0">
                  <c:v>0</c:v>
                </c:pt>
                <c:pt idx="1">
                  <c:v>0.28987004975079905</c:v>
                </c:pt>
              </c:numCache>
            </c:numRef>
          </c:xVal>
          <c:yVal>
            <c:numRef>
              <c:f>Sheet1!$B$168:$B$169</c:f>
              <c:numCache>
                <c:formatCode>General</c:formatCode>
                <c:ptCount val="2"/>
                <c:pt idx="0">
                  <c:v>3.1101577984060606E-2</c:v>
                </c:pt>
                <c:pt idx="1">
                  <c:v>3.1101577984060606E-2</c:v>
                </c:pt>
              </c:numCache>
            </c:numRef>
          </c:yVal>
          <c:smooth val="0"/>
          <c:extLst>
            <c:ext xmlns:c16="http://schemas.microsoft.com/office/drawing/2014/chart" uri="{C3380CC4-5D6E-409C-BE32-E72D297353CC}">
              <c16:uniqueId val="{0000000A-F32D-48B7-BC20-E66FC6253BAD}"/>
            </c:ext>
          </c:extLst>
        </c:ser>
        <c:ser>
          <c:idx val="5"/>
          <c:order val="5"/>
          <c:tx>
            <c:strRef>
              <c:f>Sheet1!$B$17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0.28987004975079905</c:v>
                </c:pt>
                <c:pt idx="1">
                  <c:v>0.28987004975079905</c:v>
                </c:pt>
              </c:numCache>
            </c:numRef>
          </c:xVal>
          <c:yVal>
            <c:numRef>
              <c:f>Sheet1!$B$172:$B$173</c:f>
              <c:numCache>
                <c:formatCode>General</c:formatCode>
                <c:ptCount val="2"/>
                <c:pt idx="0">
                  <c:v>3.1101577984060606E-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6:$A$177</c:f>
              <c:numCache>
                <c:formatCode>General</c:formatCode>
                <c:ptCount val="2"/>
                <c:pt idx="0">
                  <c:v>0</c:v>
                </c:pt>
                <c:pt idx="1">
                  <c:v>0.32888493428125432</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1-F32D-48B7-BC20-E66FC6253BAD}"/>
            </c:ext>
          </c:extLst>
        </c:ser>
        <c:ser>
          <c:idx val="7"/>
          <c:order val="7"/>
          <c:tx>
            <c:strRef>
              <c:f>Sheet1!$B$17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0:$A$181</c:f>
              <c:numCache>
                <c:formatCode>General</c:formatCode>
                <c:ptCount val="2"/>
                <c:pt idx="0">
                  <c:v>0.32888493428125432</c:v>
                </c:pt>
                <c:pt idx="1">
                  <c:v>0.32888493428125432</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4:$A$238</c:f>
              <c:numCache>
                <c:formatCode>General</c:formatCode>
                <c:ptCount val="55"/>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pt idx="52">
                  <c:v>0.28987004975079905</c:v>
                </c:pt>
                <c:pt idx="53">
                  <c:v>0.27575744047645689</c:v>
                </c:pt>
                <c:pt idx="54">
                  <c:v>0.32888493428125432</c:v>
                </c:pt>
              </c:numCache>
            </c:numRef>
          </c:xVal>
          <c:yVal>
            <c:numRef>
              <c:f>Sheet1!$B$184:$B$238</c:f>
              <c:numCache>
                <c:formatCode>General</c:formatCode>
                <c:ptCount val="55"/>
                <c:pt idx="0">
                  <c:v>2.9413873016704839E-2</c:v>
                </c:pt>
                <c:pt idx="1">
                  <c:v>2.9896344890080709E-2</c:v>
                </c:pt>
                <c:pt idx="2">
                  <c:v>3.0155656486461964E-2</c:v>
                </c:pt>
                <c:pt idx="3">
                  <c:v>2.7109900331363727E-2</c:v>
                </c:pt>
                <c:pt idx="4">
                  <c:v>2.4371775225560388E-2</c:v>
                </c:pt>
                <c:pt idx="5">
                  <c:v>2.4094268404047922E-2</c:v>
                </c:pt>
                <c:pt idx="6">
                  <c:v>2.4322183284519114E-2</c:v>
                </c:pt>
                <c:pt idx="7">
                  <c:v>2.5263903460272262E-2</c:v>
                </c:pt>
                <c:pt idx="8">
                  <c:v>2.7533717749061021E-2</c:v>
                </c:pt>
                <c:pt idx="9">
                  <c:v>2.9136059572005948E-2</c:v>
                </c:pt>
                <c:pt idx="10">
                  <c:v>2.8439725189245424E-2</c:v>
                </c:pt>
                <c:pt idx="11">
                  <c:v>2.8481575446516888E-2</c:v>
                </c:pt>
                <c:pt idx="12">
                  <c:v>3.0108594349578348E-2</c:v>
                </c:pt>
                <c:pt idx="13">
                  <c:v>3.169054387055209E-2</c:v>
                </c:pt>
                <c:pt idx="14">
                  <c:v>3.1465934595702259E-2</c:v>
                </c:pt>
                <c:pt idx="15">
                  <c:v>3.1477667841337743E-2</c:v>
                </c:pt>
                <c:pt idx="16">
                  <c:v>3.1573121681829512E-2</c:v>
                </c:pt>
                <c:pt idx="17">
                  <c:v>3.1532924296196564E-2</c:v>
                </c:pt>
                <c:pt idx="18">
                  <c:v>3.0515660900336583E-2</c:v>
                </c:pt>
                <c:pt idx="19">
                  <c:v>3.0211789143868836E-2</c:v>
                </c:pt>
                <c:pt idx="20">
                  <c:v>2.8955614795748236E-2</c:v>
                </c:pt>
                <c:pt idx="21">
                  <c:v>3.2772131418724967E-2</c:v>
                </c:pt>
                <c:pt idx="22">
                  <c:v>3.3542665870490845E-2</c:v>
                </c:pt>
                <c:pt idx="23">
                  <c:v>3.3435184307609174E-2</c:v>
                </c:pt>
                <c:pt idx="24">
                  <c:v>3.268271460365052E-2</c:v>
                </c:pt>
                <c:pt idx="25">
                  <c:v>3.3870059534782497E-2</c:v>
                </c:pt>
                <c:pt idx="26">
                  <c:v>3.3073079926514877E-2</c:v>
                </c:pt>
                <c:pt idx="27">
                  <c:v>3.1808643842456727E-2</c:v>
                </c:pt>
                <c:pt idx="28">
                  <c:v>3.0502176751221188E-2</c:v>
                </c:pt>
                <c:pt idx="29">
                  <c:v>2.7906678470255915E-2</c:v>
                </c:pt>
                <c:pt idx="30">
                  <c:v>2.5033266393526828E-2</c:v>
                </c:pt>
                <c:pt idx="31">
                  <c:v>2.630903103630991E-2</c:v>
                </c:pt>
                <c:pt idx="32">
                  <c:v>2.8693045313762239E-2</c:v>
                </c:pt>
                <c:pt idx="33">
                  <c:v>3.2596808075387743E-2</c:v>
                </c:pt>
                <c:pt idx="34">
                  <c:v>3.3462836223474769E-2</c:v>
                </c:pt>
                <c:pt idx="35">
                  <c:v>3.1780988069129081E-2</c:v>
                </c:pt>
                <c:pt idx="36">
                  <c:v>3.2997078119396075E-2</c:v>
                </c:pt>
                <c:pt idx="37">
                  <c:v>3.4241810296995578E-2</c:v>
                </c:pt>
                <c:pt idx="38">
                  <c:v>3.5259393566231922E-2</c:v>
                </c:pt>
                <c:pt idx="39">
                  <c:v>3.2524924643797831E-2</c:v>
                </c:pt>
                <c:pt idx="40">
                  <c:v>2.8308242375685959E-2</c:v>
                </c:pt>
                <c:pt idx="41">
                  <c:v>2.54404048951909E-2</c:v>
                </c:pt>
                <c:pt idx="42">
                  <c:v>2.3287513921568817E-2</c:v>
                </c:pt>
                <c:pt idx="43">
                  <c:v>2.3365554652546534E-2</c:v>
                </c:pt>
                <c:pt idx="44">
                  <c:v>2.3054756675168077E-2</c:v>
                </c:pt>
                <c:pt idx="45">
                  <c:v>2.3566114628330095E-2</c:v>
                </c:pt>
                <c:pt idx="46">
                  <c:v>2.5888630394799238E-2</c:v>
                </c:pt>
                <c:pt idx="47">
                  <c:v>2.6265547596405793E-2</c:v>
                </c:pt>
                <c:pt idx="48">
                  <c:v>2.7412822111043234E-2</c:v>
                </c:pt>
                <c:pt idx="49">
                  <c:v>2.5962622488181153E-2</c:v>
                </c:pt>
                <c:pt idx="50">
                  <c:v>2.4525712064247307E-2</c:v>
                </c:pt>
                <c:pt idx="51">
                  <c:v>2.4473274634488791E-2</c:v>
                </c:pt>
                <c:pt idx="52">
                  <c:v>3.1101577984060602E-2</c:v>
                </c:pt>
                <c:pt idx="53">
                  <c:v>3.3390590546211449E-2</c:v>
                </c:pt>
                <c:pt idx="54">
                  <c:v>2.4773509299877497E-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40737801608579088"/>
          <c:min val="0.18705920295984374"/>
        </c:scaling>
        <c:delete val="0"/>
        <c:axPos val="b"/>
        <c:title>
          <c:tx>
            <c:rich>
              <a:bodyPr rot="0" spcFirstLastPara="1" vertOverflow="ellipsis" vert="horz" wrap="square" anchor="ctr" anchorCtr="1"/>
              <a:lstStyle/>
              <a:p>
                <a:pPr>
                  <a:defRPr sz="800" b="0">
                    <a:latin typeface="Nexa Bold"/>
                  </a:defRPr>
                </a:pPr>
                <a:r>
                  <a:rPr lang="en-US"/>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3084051742229012</c:v>
                </c:pt>
                <c:pt idx="1">
                  <c:v>0.31591786351078627</c:v>
                </c:pt>
                <c:pt idx="2">
                  <c:v>0.32058023334902946</c:v>
                </c:pt>
                <c:pt idx="3">
                  <c:v>0.31551466024025998</c:v>
                </c:pt>
                <c:pt idx="4">
                  <c:v>0.31248983133575575</c:v>
                </c:pt>
                <c:pt idx="5">
                  <c:v>0.31209899175068745</c:v>
                </c:pt>
                <c:pt idx="6">
                  <c:v>0.31243915630070307</c:v>
                </c:pt>
                <c:pt idx="7">
                  <c:v>0.3133619793471481</c:v>
                </c:pt>
                <c:pt idx="8">
                  <c:v>0.31671907756813417</c:v>
                </c:pt>
                <c:pt idx="9">
                  <c:v>0.31082322826247477</c:v>
                </c:pt>
                <c:pt idx="10">
                  <c:v>0.31047212859141043</c:v>
                </c:pt>
                <c:pt idx="11">
                  <c:v>0.30851195946449417</c:v>
                </c:pt>
                <c:pt idx="12">
                  <c:v>0.30743476600274672</c:v>
                </c:pt>
                <c:pt idx="13">
                  <c:v>0.30557876018361524</c:v>
                </c:pt>
                <c:pt idx="14">
                  <c:v>0.30608180521683359</c:v>
                </c:pt>
                <c:pt idx="15">
                  <c:v>0.30537959003209308</c:v>
                </c:pt>
                <c:pt idx="16">
                  <c:v>0.30479028449342177</c:v>
                </c:pt>
                <c:pt idx="17">
                  <c:v>0.30535697989231286</c:v>
                </c:pt>
                <c:pt idx="18">
                  <c:v>0.30758733419811496</c:v>
                </c:pt>
                <c:pt idx="19">
                  <c:v>0.30384356418742708</c:v>
                </c:pt>
                <c:pt idx="20">
                  <c:v>0.30255871389344829</c:v>
                </c:pt>
                <c:pt idx="21">
                  <c:v>0.30131492720175512</c:v>
                </c:pt>
                <c:pt idx="22">
                  <c:v>0.30402402402402401</c:v>
                </c:pt>
                <c:pt idx="23">
                  <c:v>0.3041818228723267</c:v>
                </c:pt>
                <c:pt idx="24">
                  <c:v>0.30380595989557657</c:v>
                </c:pt>
                <c:pt idx="25">
                  <c:v>0.30266464709715091</c:v>
                </c:pt>
                <c:pt idx="26">
                  <c:v>0.30198090992432275</c:v>
                </c:pt>
                <c:pt idx="27">
                  <c:v>0.30261018186645428</c:v>
                </c:pt>
                <c:pt idx="28">
                  <c:v>0.30379475941413642</c:v>
                </c:pt>
                <c:pt idx="29">
                  <c:v>0.30510575091808745</c:v>
                </c:pt>
                <c:pt idx="30">
                  <c:v>0.30547263681592041</c:v>
                </c:pt>
                <c:pt idx="31">
                  <c:v>0.30191808942530629</c:v>
                </c:pt>
                <c:pt idx="32">
                  <c:v>0.30004016835781272</c:v>
                </c:pt>
                <c:pt idx="33">
                  <c:v>0.30140260803244229</c:v>
                </c:pt>
                <c:pt idx="34">
                  <c:v>0.30315931183998879</c:v>
                </c:pt>
                <c:pt idx="35">
                  <c:v>0.30423707530585153</c:v>
                </c:pt>
                <c:pt idx="36">
                  <c:v>0.30339368848493503</c:v>
                </c:pt>
                <c:pt idx="37">
                  <c:v>0.30312142377964563</c:v>
                </c:pt>
                <c:pt idx="38">
                  <c:v>0.30421477922015827</c:v>
                </c:pt>
                <c:pt idx="39">
                  <c:v>0.30360700245050509</c:v>
                </c:pt>
                <c:pt idx="40">
                  <c:v>0.30482776067799466</c:v>
                </c:pt>
                <c:pt idx="41">
                  <c:v>0.30496561046396053</c:v>
                </c:pt>
                <c:pt idx="42">
                  <c:v>0.30474260101509459</c:v>
                </c:pt>
                <c:pt idx="43">
                  <c:v>0.30487658997567685</c:v>
                </c:pt>
                <c:pt idx="44">
                  <c:v>0.30417377406912238</c:v>
                </c:pt>
                <c:pt idx="45">
                  <c:v>0.30429474182711519</c:v>
                </c:pt>
                <c:pt idx="46">
                  <c:v>0.30416987037597953</c:v>
                </c:pt>
                <c:pt idx="47">
                  <c:v>0.30177142857142858</c:v>
                </c:pt>
                <c:pt idx="48">
                  <c:v>0.30034428178139644</c:v>
                </c:pt>
                <c:pt idx="49">
                  <c:v>0.30020553910468561</c:v>
                </c:pt>
                <c:pt idx="50">
                  <c:v>0.30020393921120919</c:v>
                </c:pt>
                <c:pt idx="51">
                  <c:v>0.30029572161037082</c:v>
                </c:pt>
                <c:pt idx="52">
                  <c:v>0.30085731375024921</c:v>
                </c:pt>
                <c:pt idx="53">
                  <c:v>0.30374794069192751</c:v>
                </c:pt>
                <c:pt idx="54">
                  <c:v>0.30475569923731716</c:v>
                </c:pt>
                <c:pt idx="55">
                  <c:v>0.30484411191281596</c:v>
                </c:pt>
                <c:pt idx="56">
                  <c:v>0.29666067320451317</c:v>
                </c:pt>
                <c:pt idx="57">
                  <c:v>0.25400835544515327</c:v>
                </c:pt>
                <c:pt idx="58">
                  <c:v>0.23382400369980466</c:v>
                </c:pt>
                <c:pt idx="59">
                  <c:v>0.23943026116791946</c:v>
                </c:pt>
                <c:pt idx="60">
                  <c:v>0.25369491863085675</c:v>
                </c:pt>
                <c:pt idx="61">
                  <c:v>0.26335839430757868</c:v>
                </c:pt>
                <c:pt idx="62">
                  <c:v>0.24811366501794199</c:v>
                </c:pt>
                <c:pt idx="63">
                  <c:v>0.25331883600138116</c:v>
                </c:pt>
                <c:pt idx="64">
                  <c:v>0.27606841827999473</c:v>
                </c:pt>
                <c:pt idx="65">
                  <c:v>0.28160478817918266</c:v>
                </c:pt>
                <c:pt idx="66">
                  <c:v>0.29229782021117312</c:v>
                </c:pt>
                <c:pt idx="67">
                  <c:v>0.30127414335954045</c:v>
                </c:pt>
                <c:pt idx="68">
                  <c:v>0.30305886879569066</c:v>
                </c:pt>
                <c:pt idx="69">
                  <c:v>0.30492991022208221</c:v>
                </c:pt>
                <c:pt idx="70">
                  <c:v>0.30628978911194849</c:v>
                </c:pt>
                <c:pt idx="71">
                  <c:v>0.30507690665654685</c:v>
                </c:pt>
                <c:pt idx="72">
                  <c:v>0.30607670596048481</c:v>
                </c:pt>
                <c:pt idx="73">
                  <c:v>0.3116373241246056</c:v>
                </c:pt>
                <c:pt idx="74">
                  <c:v>0.31424842998124136</c:v>
                </c:pt>
                <c:pt idx="75">
                  <c:v>0.31320176754871626</c:v>
                </c:pt>
                <c:pt idx="76">
                  <c:v>0.31380953870863448</c:v>
                </c:pt>
                <c:pt idx="77">
                  <c:v>0.32590348409435188</c:v>
                </c:pt>
                <c:pt idx="78">
                  <c:v>0.33061711871301291</c:v>
                </c:pt>
                <c:pt idx="79">
                  <c:v>0.33376024237416513</c:v>
                </c:pt>
                <c:pt idx="80">
                  <c:v>0.334863282523373</c:v>
                </c:pt>
                <c:pt idx="81">
                  <c:v>0.33732775797715603</c:v>
                </c:pt>
                <c:pt idx="82">
                  <c:v>0.3340239432262419</c:v>
                </c:pt>
                <c:pt idx="83">
                  <c:v>0.32813911724353323</c:v>
                </c:pt>
                <c:pt idx="84">
                  <c:v>0.32451377453380215</c:v>
                </c:pt>
                <c:pt idx="85">
                  <c:v>0.3242920313313794</c:v>
                </c:pt>
                <c:pt idx="86">
                  <c:v>0.32834757834757833</c:v>
                </c:pt>
                <c:pt idx="87">
                  <c:v>0.33024565689467972</c:v>
                </c:pt>
                <c:pt idx="88">
                  <c:v>0.33047076978575868</c:v>
                </c:pt>
                <c:pt idx="89">
                  <c:v>0.32960364974033468</c:v>
                </c:pt>
                <c:pt idx="90">
                  <c:v>0.32877782475231143</c:v>
                </c:pt>
                <c:pt idx="91">
                  <c:v>0.33265505668454848</c:v>
                </c:pt>
                <c:pt idx="92">
                  <c:v>0.33383080669232584</c:v>
                </c:pt>
                <c:pt idx="93">
                  <c:v>0.33445095599479496</c:v>
                </c:pt>
                <c:pt idx="94">
                  <c:v>0.33425385899470356</c:v>
                </c:pt>
                <c:pt idx="95">
                  <c:v>0.33302358553829059</c:v>
                </c:pt>
                <c:pt idx="96">
                  <c:v>0.3331230702831911</c:v>
                </c:pt>
                <c:pt idx="97">
                  <c:v>0.33248279672509923</c:v>
                </c:pt>
                <c:pt idx="98">
                  <c:v>0.33184443040565192</c:v>
                </c:pt>
                <c:pt idx="99">
                  <c:v>0.31234357273380736</c:v>
                </c:pt>
                <c:pt idx="100">
                  <c:v>0.30123106937136429</c:v>
                </c:pt>
                <c:pt idx="101">
                  <c:v>0.30056872662328632</c:v>
                </c:pt>
              </c:numCache>
            </c:numRef>
          </c:xVal>
          <c:yVal>
            <c:numRef>
              <c:f>Sheet1!$B$2:$B$103</c:f>
              <c:numCache>
                <c:formatCode>General</c:formatCode>
                <c:ptCount val="102"/>
                <c:pt idx="0">
                  <c:v>3.1549194168607006E-2</c:v>
                </c:pt>
                <c:pt idx="1">
                  <c:v>2.5925076493376501E-2</c:v>
                </c:pt>
                <c:pt idx="2">
                  <c:v>1.9457371147598559E-2</c:v>
                </c:pt>
                <c:pt idx="3">
                  <c:v>2.1005226955186754E-2</c:v>
                </c:pt>
                <c:pt idx="4">
                  <c:v>2.3683174888924508E-2</c:v>
                </c:pt>
                <c:pt idx="5">
                  <c:v>2.4814911692122233E-2</c:v>
                </c:pt>
                <c:pt idx="6">
                  <c:v>2.2966901329024649E-2</c:v>
                </c:pt>
                <c:pt idx="7">
                  <c:v>2.1693356757167159E-2</c:v>
                </c:pt>
                <c:pt idx="8">
                  <c:v>2.508474647577718E-2</c:v>
                </c:pt>
                <c:pt idx="9">
                  <c:v>3.2219360006132694E-2</c:v>
                </c:pt>
                <c:pt idx="10">
                  <c:v>3.3455366889535383E-2</c:v>
                </c:pt>
                <c:pt idx="11">
                  <c:v>3.0774205038558523E-2</c:v>
                </c:pt>
                <c:pt idx="12">
                  <c:v>3.166311843777065E-2</c:v>
                </c:pt>
                <c:pt idx="13">
                  <c:v>2.9573633835338665E-2</c:v>
                </c:pt>
                <c:pt idx="14">
                  <c:v>2.9438294749618857E-2</c:v>
                </c:pt>
                <c:pt idx="15">
                  <c:v>3.2326555355538883E-2</c:v>
                </c:pt>
                <c:pt idx="16">
                  <c:v>3.0454183212358377E-2</c:v>
                </c:pt>
                <c:pt idx="17">
                  <c:v>3.0177244147381318E-2</c:v>
                </c:pt>
                <c:pt idx="18">
                  <c:v>3.0949579617420526E-2</c:v>
                </c:pt>
                <c:pt idx="19">
                  <c:v>3.3044676701229417E-2</c:v>
                </c:pt>
                <c:pt idx="20">
                  <c:v>3.4502368865567047E-2</c:v>
                </c:pt>
                <c:pt idx="21">
                  <c:v>3.8171203781773647E-2</c:v>
                </c:pt>
                <c:pt idx="22">
                  <c:v>3.2633840746857157E-2</c:v>
                </c:pt>
                <c:pt idx="23">
                  <c:v>3.22851825867847E-2</c:v>
                </c:pt>
                <c:pt idx="24">
                  <c:v>3.4293774474369265E-2</c:v>
                </c:pt>
                <c:pt idx="25">
                  <c:v>3.3493331489235549E-2</c:v>
                </c:pt>
                <c:pt idx="26">
                  <c:v>3.2256296982208908E-2</c:v>
                </c:pt>
                <c:pt idx="27">
                  <c:v>3.256327154323236E-2</c:v>
                </c:pt>
                <c:pt idx="28">
                  <c:v>3.0215972855570965E-2</c:v>
                </c:pt>
                <c:pt idx="29">
                  <c:v>2.971323515475446E-2</c:v>
                </c:pt>
                <c:pt idx="30">
                  <c:v>2.9886044202056927E-2</c:v>
                </c:pt>
                <c:pt idx="31">
                  <c:v>3.0113049153545669E-2</c:v>
                </c:pt>
                <c:pt idx="32">
                  <c:v>3.0121682992946059E-2</c:v>
                </c:pt>
                <c:pt idx="33">
                  <c:v>2.8704102443482309E-2</c:v>
                </c:pt>
                <c:pt idx="34">
                  <c:v>3.0602403901330309E-2</c:v>
                </c:pt>
                <c:pt idx="35">
                  <c:v>3.1456536502498786E-2</c:v>
                </c:pt>
                <c:pt idx="36">
                  <c:v>3.1516667937295108E-2</c:v>
                </c:pt>
                <c:pt idx="37">
                  <c:v>3.3226585884057164E-2</c:v>
                </c:pt>
                <c:pt idx="38">
                  <c:v>3.3016326225624587E-2</c:v>
                </c:pt>
                <c:pt idx="39">
                  <c:v>3.0075909553288729E-2</c:v>
                </c:pt>
                <c:pt idx="40">
                  <c:v>3.0308227143147046E-2</c:v>
                </c:pt>
                <c:pt idx="41">
                  <c:v>3.1273537834975489E-2</c:v>
                </c:pt>
                <c:pt idx="42">
                  <c:v>3.0059016900147784E-2</c:v>
                </c:pt>
                <c:pt idx="43">
                  <c:v>3.0573863083611635E-2</c:v>
                </c:pt>
                <c:pt idx="44">
                  <c:v>3.254448153409624E-2</c:v>
                </c:pt>
                <c:pt idx="45">
                  <c:v>3.2420025270644671E-2</c:v>
                </c:pt>
                <c:pt idx="46">
                  <c:v>3.0841270586476857E-2</c:v>
                </c:pt>
                <c:pt idx="47">
                  <c:v>3.4545476528939606E-2</c:v>
                </c:pt>
                <c:pt idx="48">
                  <c:v>3.9378011399146942E-2</c:v>
                </c:pt>
                <c:pt idx="49">
                  <c:v>3.4585845792310457E-2</c:v>
                </c:pt>
                <c:pt idx="50">
                  <c:v>3.6889295123608744E-2</c:v>
                </c:pt>
                <c:pt idx="51">
                  <c:v>3.516974061970235E-2</c:v>
                </c:pt>
                <c:pt idx="52">
                  <c:v>3.3440411726256954E-2</c:v>
                </c:pt>
                <c:pt idx="53">
                  <c:v>3.0775515895011849E-2</c:v>
                </c:pt>
                <c:pt idx="54">
                  <c:v>2.856172806220978E-2</c:v>
                </c:pt>
                <c:pt idx="55">
                  <c:v>2.9260191711765828E-2</c:v>
                </c:pt>
                <c:pt idx="56">
                  <c:v>3.1178692703543048E-2</c:v>
                </c:pt>
                <c:pt idx="57">
                  <c:v>3.7031471681131703E-2</c:v>
                </c:pt>
                <c:pt idx="58">
                  <c:v>3.9909501581123753E-2</c:v>
                </c:pt>
                <c:pt idx="59">
                  <c:v>3.3090443177845791E-2</c:v>
                </c:pt>
                <c:pt idx="60">
                  <c:v>2.0429936026239697E-2</c:v>
                </c:pt>
                <c:pt idx="61">
                  <c:v>1.5942339180034886E-2</c:v>
                </c:pt>
                <c:pt idx="62">
                  <c:v>2.6561543645322632E-2</c:v>
                </c:pt>
                <c:pt idx="63">
                  <c:v>3.5068893654044385E-2</c:v>
                </c:pt>
                <c:pt idx="64">
                  <c:v>3.0967228847484717E-2</c:v>
                </c:pt>
                <c:pt idx="65">
                  <c:v>2.6027056162994167E-2</c:v>
                </c:pt>
                <c:pt idx="66">
                  <c:v>2.5871503741223587E-2</c:v>
                </c:pt>
                <c:pt idx="67">
                  <c:v>2.691260699372984E-2</c:v>
                </c:pt>
                <c:pt idx="68">
                  <c:v>2.5874418970458959E-2</c:v>
                </c:pt>
                <c:pt idx="69">
                  <c:v>2.3193315376484971E-2</c:v>
                </c:pt>
                <c:pt idx="70">
                  <c:v>2.2686657383630057E-2</c:v>
                </c:pt>
                <c:pt idx="71">
                  <c:v>2.6189284143623485E-2</c:v>
                </c:pt>
                <c:pt idx="72">
                  <c:v>2.7336338114147821E-2</c:v>
                </c:pt>
                <c:pt idx="73">
                  <c:v>2.7740990571672709E-2</c:v>
                </c:pt>
                <c:pt idx="74">
                  <c:v>2.8775273119844166E-2</c:v>
                </c:pt>
                <c:pt idx="75">
                  <c:v>2.8510329318482425E-2</c:v>
                </c:pt>
                <c:pt idx="76">
                  <c:v>2.7909474603405617E-2</c:v>
                </c:pt>
                <c:pt idx="77">
                  <c:v>2.354699792786898E-2</c:v>
                </c:pt>
                <c:pt idx="78">
                  <c:v>2.3516397046911525E-2</c:v>
                </c:pt>
                <c:pt idx="79">
                  <c:v>2.2115174941799768E-2</c:v>
                </c:pt>
                <c:pt idx="80">
                  <c:v>2.2268202762568419E-2</c:v>
                </c:pt>
                <c:pt idx="81">
                  <c:v>2.1244426266941792E-2</c:v>
                </c:pt>
                <c:pt idx="82">
                  <c:v>3.1177386289303839E-2</c:v>
                </c:pt>
                <c:pt idx="83">
                  <c:v>2.6306476866990773E-2</c:v>
                </c:pt>
                <c:pt idx="84">
                  <c:v>2.5524833007679375E-2</c:v>
                </c:pt>
                <c:pt idx="85">
                  <c:v>2.6871534411513368E-2</c:v>
                </c:pt>
                <c:pt idx="86">
                  <c:v>2.6338851413823878E-2</c:v>
                </c:pt>
                <c:pt idx="87">
                  <c:v>2.4648701089615546E-2</c:v>
                </c:pt>
                <c:pt idx="88">
                  <c:v>2.6238033764437702E-2</c:v>
                </c:pt>
                <c:pt idx="89">
                  <c:v>3.0191859532939729E-2</c:v>
                </c:pt>
                <c:pt idx="90">
                  <c:v>3.0716851696320817E-2</c:v>
                </c:pt>
                <c:pt idx="91">
                  <c:v>3.1790352756617284E-2</c:v>
                </c:pt>
                <c:pt idx="92">
                  <c:v>2.9789485452214992E-2</c:v>
                </c:pt>
                <c:pt idx="93">
                  <c:v>2.7419432969366012E-2</c:v>
                </c:pt>
                <c:pt idx="94">
                  <c:v>2.5375304588112154E-2</c:v>
                </c:pt>
                <c:pt idx="95">
                  <c:v>2.7271435244645044E-2</c:v>
                </c:pt>
                <c:pt idx="96">
                  <c:v>2.4300725205733124E-2</c:v>
                </c:pt>
                <c:pt idx="97">
                  <c:v>2.5953063658202231E-2</c:v>
                </c:pt>
                <c:pt idx="98">
                  <c:v>2.870484051773789E-2</c:v>
                </c:pt>
                <c:pt idx="99">
                  <c:v>3.0161179689259059E-2</c:v>
                </c:pt>
                <c:pt idx="100">
                  <c:v>3.7558407981539428E-2</c:v>
                </c:pt>
                <c:pt idx="101">
                  <c:v>3.5796970668813106E-2</c:v>
                </c:pt>
              </c:numCache>
            </c:numRef>
          </c:yVal>
          <c:smooth val="0"/>
          <c:extLst>
            <c:ext xmlns:c16="http://schemas.microsoft.com/office/drawing/2014/chart" uri="{C3380CC4-5D6E-409C-BE32-E72D297353CC}">
              <c16:uniqueId val="{00000000-F32D-48B7-BC20-E66FC6253BAD}"/>
            </c:ext>
          </c:extLst>
        </c:ser>
        <c:ser>
          <c:idx val="1"/>
          <c:order val="1"/>
          <c:tx>
            <c:strRef>
              <c:f>Sheet1!$B$10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6:$A$157</c:f>
              <c:numCache>
                <c:formatCode>General</c:formatCode>
                <c:ptCount val="52"/>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numCache>
            </c:numRef>
          </c:xVal>
          <c:yVal>
            <c:numRef>
              <c:f>Sheet1!$B$106:$B$157</c:f>
              <c:numCache>
                <c:formatCode>General</c:formatCode>
                <c:ptCount val="52"/>
                <c:pt idx="0">
                  <c:v>3.3379430772150658E-2</c:v>
                </c:pt>
                <c:pt idx="1">
                  <c:v>3.5297770608354727E-2</c:v>
                </c:pt>
                <c:pt idx="2">
                  <c:v>3.603152077608085E-2</c:v>
                </c:pt>
                <c:pt idx="3">
                  <c:v>3.0978674639028675E-2</c:v>
                </c:pt>
                <c:pt idx="4">
                  <c:v>2.8133515753956471E-2</c:v>
                </c:pt>
                <c:pt idx="5">
                  <c:v>2.7512069607189618E-2</c:v>
                </c:pt>
                <c:pt idx="6">
                  <c:v>2.7535908601076187E-2</c:v>
                </c:pt>
                <c:pt idx="7">
                  <c:v>2.7306049137985969E-2</c:v>
                </c:pt>
                <c:pt idx="8">
                  <c:v>2.6838607545871734E-2</c:v>
                </c:pt>
                <c:pt idx="9">
                  <c:v>2.8577136215520643E-2</c:v>
                </c:pt>
                <c:pt idx="10">
                  <c:v>2.9045708307140341E-2</c:v>
                </c:pt>
                <c:pt idx="11">
                  <c:v>3.0151694267354034E-2</c:v>
                </c:pt>
                <c:pt idx="12">
                  <c:v>3.1278274774940926E-2</c:v>
                </c:pt>
                <c:pt idx="13">
                  <c:v>3.2623144271831599E-2</c:v>
                </c:pt>
                <c:pt idx="14">
                  <c:v>3.2081452766552027E-2</c:v>
                </c:pt>
                <c:pt idx="15">
                  <c:v>2.8476513020004538E-2</c:v>
                </c:pt>
                <c:pt idx="16">
                  <c:v>2.8897929262062423E-2</c:v>
                </c:pt>
                <c:pt idx="17">
                  <c:v>2.8572345272906727E-2</c:v>
                </c:pt>
                <c:pt idx="18">
                  <c:v>2.7582157287634194E-2</c:v>
                </c:pt>
                <c:pt idx="19">
                  <c:v>2.6684207925807661E-2</c:v>
                </c:pt>
                <c:pt idx="20">
                  <c:v>2.5074098168638374E-2</c:v>
                </c:pt>
                <c:pt idx="21">
                  <c:v>3.7053775555914395E-2</c:v>
                </c:pt>
                <c:pt idx="22">
                  <c:v>4.1201839145334811E-2</c:v>
                </c:pt>
                <c:pt idx="23">
                  <c:v>3.952108516249337E-2</c:v>
                </c:pt>
                <c:pt idx="24">
                  <c:v>3.301132678213544E-2</c:v>
                </c:pt>
                <c:pt idx="25">
                  <c:v>3.4672282379825628E-2</c:v>
                </c:pt>
                <c:pt idx="26">
                  <c:v>3.6478521099227869E-2</c:v>
                </c:pt>
                <c:pt idx="27">
                  <c:v>3.1719960612283417E-2</c:v>
                </c:pt>
                <c:pt idx="28">
                  <c:v>2.9844699099281863E-2</c:v>
                </c:pt>
                <c:pt idx="29">
                  <c:v>2.8247037929351546E-2</c:v>
                </c:pt>
                <c:pt idx="30">
                  <c:v>2.3926861689124793E-2</c:v>
                </c:pt>
                <c:pt idx="31">
                  <c:v>2.0770671408149036E-2</c:v>
                </c:pt>
                <c:pt idx="32">
                  <c:v>2.3460558709885785E-2</c:v>
                </c:pt>
                <c:pt idx="33">
                  <c:v>3.0427962862070307E-2</c:v>
                </c:pt>
                <c:pt idx="34">
                  <c:v>3.1037706913624008E-2</c:v>
                </c:pt>
                <c:pt idx="35">
                  <c:v>2.928997264422914E-2</c:v>
                </c:pt>
                <c:pt idx="36">
                  <c:v>2.9697936908540855E-2</c:v>
                </c:pt>
                <c:pt idx="37">
                  <c:v>3.0248130900335804E-2</c:v>
                </c:pt>
                <c:pt idx="38">
                  <c:v>3.5070387750061743E-2</c:v>
                </c:pt>
                <c:pt idx="39">
                  <c:v>3.1208337770205517E-2</c:v>
                </c:pt>
                <c:pt idx="40">
                  <c:v>2.6826790166755026E-2</c:v>
                </c:pt>
                <c:pt idx="41">
                  <c:v>2.4203784771293646E-2</c:v>
                </c:pt>
                <c:pt idx="42">
                  <c:v>2.4098053977022377E-2</c:v>
                </c:pt>
                <c:pt idx="43">
                  <c:v>2.4523754132153155E-2</c:v>
                </c:pt>
                <c:pt idx="44">
                  <c:v>2.2379504666963371E-2</c:v>
                </c:pt>
                <c:pt idx="45">
                  <c:v>2.104065524243157E-2</c:v>
                </c:pt>
                <c:pt idx="46">
                  <c:v>2.2028240128902143E-2</c:v>
                </c:pt>
                <c:pt idx="47">
                  <c:v>2.3321641522021073E-2</c:v>
                </c:pt>
                <c:pt idx="48">
                  <c:v>2.5721900660138006E-2</c:v>
                </c:pt>
                <c:pt idx="49">
                  <c:v>2.4967370312040958E-2</c:v>
                </c:pt>
                <c:pt idx="50">
                  <c:v>2.6033359791458374E-2</c:v>
                </c:pt>
                <c:pt idx="51">
                  <c:v>2.5702227757022279E-2</c:v>
                </c:pt>
              </c:numCache>
            </c:numRef>
          </c:yVal>
          <c:smooth val="0"/>
          <c:extLst>
            <c:ext xmlns:c16="http://schemas.microsoft.com/office/drawing/2014/chart" uri="{C3380CC4-5D6E-409C-BE32-E72D297353CC}">
              <c16:uniqueId val="{00000002-F32D-48B7-BC20-E66FC6253BAD}"/>
            </c:ext>
          </c:extLst>
        </c:ser>
        <c:ser>
          <c:idx val="2"/>
          <c:order val="2"/>
          <c:tx>
            <c:strRef>
              <c:f>Sheet1!$B$159</c:f>
              <c:strCache>
                <c:ptCount val="1"/>
                <c:pt idx="0">
                  <c:v>Custom Linep3yQ</c:v>
                </c:pt>
              </c:strCache>
            </c:strRef>
          </c:tx>
          <c:spPr>
            <a:ln w="19050" cap="rnd">
              <a:solidFill>
                <a:srgbClr val="C00000"/>
              </a:solidFill>
              <a:prstDash val="sysDot"/>
              <a:round/>
            </a:ln>
            <a:effectLst/>
          </c:spPr>
          <c:marker>
            <c:symbol val="none"/>
          </c:marker>
          <c:xVal>
            <c:numRef>
              <c:f>Sheet1!$A$160:$A$161</c:f>
              <c:numCache>
                <c:formatCode>General</c:formatCode>
                <c:ptCount val="2"/>
                <c:pt idx="0">
                  <c:v>0</c:v>
                </c:pt>
                <c:pt idx="1">
                  <c:v>0.27575744047645689</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3-F32D-48B7-BC20-E66FC6253BAD}"/>
            </c:ext>
          </c:extLst>
        </c:ser>
        <c:ser>
          <c:idx val="3"/>
          <c:order val="3"/>
          <c:tx>
            <c:strRef>
              <c:f>Sheet1!$B$16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0.27575744047645689</c:v>
                </c:pt>
                <c:pt idx="1">
                  <c:v>0.27575744047645689</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8:$A$169</c:f>
              <c:numCache>
                <c:formatCode>General</c:formatCode>
                <c:ptCount val="2"/>
                <c:pt idx="0">
                  <c:v>0</c:v>
                </c:pt>
                <c:pt idx="1">
                  <c:v>0.28987004975079905</c:v>
                </c:pt>
              </c:numCache>
            </c:numRef>
          </c:xVal>
          <c:yVal>
            <c:numRef>
              <c:f>Sheet1!$B$168:$B$169</c:f>
              <c:numCache>
                <c:formatCode>General</c:formatCode>
                <c:ptCount val="2"/>
                <c:pt idx="0">
                  <c:v>3.1101577984060606E-2</c:v>
                </c:pt>
                <c:pt idx="1">
                  <c:v>3.1101577984060606E-2</c:v>
                </c:pt>
              </c:numCache>
            </c:numRef>
          </c:yVal>
          <c:smooth val="0"/>
          <c:extLst>
            <c:ext xmlns:c16="http://schemas.microsoft.com/office/drawing/2014/chart" uri="{C3380CC4-5D6E-409C-BE32-E72D297353CC}">
              <c16:uniqueId val="{0000000A-F32D-48B7-BC20-E66FC6253BAD}"/>
            </c:ext>
          </c:extLst>
        </c:ser>
        <c:ser>
          <c:idx val="5"/>
          <c:order val="5"/>
          <c:tx>
            <c:strRef>
              <c:f>Sheet1!$B$17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0.28987004975079905</c:v>
                </c:pt>
                <c:pt idx="1">
                  <c:v>0.28987004975079905</c:v>
                </c:pt>
              </c:numCache>
            </c:numRef>
          </c:xVal>
          <c:yVal>
            <c:numRef>
              <c:f>Sheet1!$B$172:$B$173</c:f>
              <c:numCache>
                <c:formatCode>General</c:formatCode>
                <c:ptCount val="2"/>
                <c:pt idx="0">
                  <c:v>3.1101577984060606E-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6:$A$177</c:f>
              <c:numCache>
                <c:formatCode>General</c:formatCode>
                <c:ptCount val="2"/>
                <c:pt idx="0">
                  <c:v>0</c:v>
                </c:pt>
                <c:pt idx="1">
                  <c:v>0.32888493428125432</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1-F32D-48B7-BC20-E66FC6253BAD}"/>
            </c:ext>
          </c:extLst>
        </c:ser>
        <c:ser>
          <c:idx val="7"/>
          <c:order val="7"/>
          <c:tx>
            <c:strRef>
              <c:f>Sheet1!$B$17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0:$A$181</c:f>
              <c:numCache>
                <c:formatCode>General</c:formatCode>
                <c:ptCount val="2"/>
                <c:pt idx="0">
                  <c:v>0.32888493428125432</c:v>
                </c:pt>
                <c:pt idx="1">
                  <c:v>0.32888493428125432</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4:$A$238</c:f>
              <c:numCache>
                <c:formatCode>General</c:formatCode>
                <c:ptCount val="55"/>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pt idx="52">
                  <c:v>0.28987004975079905</c:v>
                </c:pt>
                <c:pt idx="53">
                  <c:v>0.27575744047645689</c:v>
                </c:pt>
                <c:pt idx="54">
                  <c:v>0.32888493428125432</c:v>
                </c:pt>
              </c:numCache>
            </c:numRef>
          </c:xVal>
          <c:yVal>
            <c:numRef>
              <c:f>Sheet1!$B$184:$B$238</c:f>
              <c:numCache>
                <c:formatCode>General</c:formatCode>
                <c:ptCount val="55"/>
                <c:pt idx="0">
                  <c:v>2.9413873016704839E-2</c:v>
                </c:pt>
                <c:pt idx="1">
                  <c:v>2.9896344890080709E-2</c:v>
                </c:pt>
                <c:pt idx="2">
                  <c:v>3.0155656486461964E-2</c:v>
                </c:pt>
                <c:pt idx="3">
                  <c:v>2.7109900331363727E-2</c:v>
                </c:pt>
                <c:pt idx="4">
                  <c:v>2.4371775225560388E-2</c:v>
                </c:pt>
                <c:pt idx="5">
                  <c:v>2.4094268404047922E-2</c:v>
                </c:pt>
                <c:pt idx="6">
                  <c:v>2.4322183284519114E-2</c:v>
                </c:pt>
                <c:pt idx="7">
                  <c:v>2.5263903460272262E-2</c:v>
                </c:pt>
                <c:pt idx="8">
                  <c:v>2.7533717749061021E-2</c:v>
                </c:pt>
                <c:pt idx="9">
                  <c:v>2.9136059572005948E-2</c:v>
                </c:pt>
                <c:pt idx="10">
                  <c:v>2.8439725189245424E-2</c:v>
                </c:pt>
                <c:pt idx="11">
                  <c:v>2.8481575446516888E-2</c:v>
                </c:pt>
                <c:pt idx="12">
                  <c:v>3.0108594349578348E-2</c:v>
                </c:pt>
                <c:pt idx="13">
                  <c:v>3.169054387055209E-2</c:v>
                </c:pt>
                <c:pt idx="14">
                  <c:v>3.1465934595702259E-2</c:v>
                </c:pt>
                <c:pt idx="15">
                  <c:v>3.1477667841337743E-2</c:v>
                </c:pt>
                <c:pt idx="16">
                  <c:v>3.1573121681829512E-2</c:v>
                </c:pt>
                <c:pt idx="17">
                  <c:v>3.1532924296196564E-2</c:v>
                </c:pt>
                <c:pt idx="18">
                  <c:v>3.0515660900336583E-2</c:v>
                </c:pt>
                <c:pt idx="19">
                  <c:v>3.0211789143868836E-2</c:v>
                </c:pt>
                <c:pt idx="20">
                  <c:v>2.8955614795748236E-2</c:v>
                </c:pt>
                <c:pt idx="21">
                  <c:v>3.2772131418724967E-2</c:v>
                </c:pt>
                <c:pt idx="22">
                  <c:v>3.3542665870490845E-2</c:v>
                </c:pt>
                <c:pt idx="23">
                  <c:v>3.3435184307609174E-2</c:v>
                </c:pt>
                <c:pt idx="24">
                  <c:v>3.268271460365052E-2</c:v>
                </c:pt>
                <c:pt idx="25">
                  <c:v>3.3870059534782497E-2</c:v>
                </c:pt>
                <c:pt idx="26">
                  <c:v>3.3073079926514877E-2</c:v>
                </c:pt>
                <c:pt idx="27">
                  <c:v>3.1808643842456727E-2</c:v>
                </c:pt>
                <c:pt idx="28">
                  <c:v>3.0502176751221188E-2</c:v>
                </c:pt>
                <c:pt idx="29">
                  <c:v>2.7906678470255915E-2</c:v>
                </c:pt>
                <c:pt idx="30">
                  <c:v>2.5033266393526828E-2</c:v>
                </c:pt>
                <c:pt idx="31">
                  <c:v>2.630903103630991E-2</c:v>
                </c:pt>
                <c:pt idx="32">
                  <c:v>2.8693045313762239E-2</c:v>
                </c:pt>
                <c:pt idx="33">
                  <c:v>3.2596808075387743E-2</c:v>
                </c:pt>
                <c:pt idx="34">
                  <c:v>3.3462836223474769E-2</c:v>
                </c:pt>
                <c:pt idx="35">
                  <c:v>3.1780988069129081E-2</c:v>
                </c:pt>
                <c:pt idx="36">
                  <c:v>3.2997078119396075E-2</c:v>
                </c:pt>
                <c:pt idx="37">
                  <c:v>3.4241810296995578E-2</c:v>
                </c:pt>
                <c:pt idx="38">
                  <c:v>3.5259393566231922E-2</c:v>
                </c:pt>
                <c:pt idx="39">
                  <c:v>3.2524924643797831E-2</c:v>
                </c:pt>
                <c:pt idx="40">
                  <c:v>2.8308242375685959E-2</c:v>
                </c:pt>
                <c:pt idx="41">
                  <c:v>2.54404048951909E-2</c:v>
                </c:pt>
                <c:pt idx="42">
                  <c:v>2.3287513921568817E-2</c:v>
                </c:pt>
                <c:pt idx="43">
                  <c:v>2.3365554652546534E-2</c:v>
                </c:pt>
                <c:pt idx="44">
                  <c:v>2.3054756675168077E-2</c:v>
                </c:pt>
                <c:pt idx="45">
                  <c:v>2.3566114628330095E-2</c:v>
                </c:pt>
                <c:pt idx="46">
                  <c:v>2.5888630394799238E-2</c:v>
                </c:pt>
                <c:pt idx="47">
                  <c:v>2.6265547596405793E-2</c:v>
                </c:pt>
                <c:pt idx="48">
                  <c:v>2.7412822111043234E-2</c:v>
                </c:pt>
                <c:pt idx="49">
                  <c:v>2.5962622488181153E-2</c:v>
                </c:pt>
                <c:pt idx="50">
                  <c:v>2.4525712064247307E-2</c:v>
                </c:pt>
                <c:pt idx="51">
                  <c:v>2.4473274634488791E-2</c:v>
                </c:pt>
                <c:pt idx="52">
                  <c:v>3.1101577984060602E-2</c:v>
                </c:pt>
                <c:pt idx="53">
                  <c:v>3.3390590546211449E-2</c:v>
                </c:pt>
                <c:pt idx="54">
                  <c:v>2.4773509299877497E-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40737801608579088"/>
          <c:min val="0.18705920295984374"/>
        </c:scaling>
        <c:delete val="0"/>
        <c:axPos val="b"/>
        <c:title>
          <c:tx>
            <c:rich>
              <a:bodyPr rot="0" spcFirstLastPara="1" vertOverflow="ellipsis" vert="horz" wrap="square" anchor="ctr" anchorCtr="1"/>
              <a:lstStyle/>
              <a:p>
                <a:pPr>
                  <a:defRPr sz="800" b="0">
                    <a:latin typeface="Nexa Bold"/>
                  </a:defRPr>
                </a:pPr>
                <a:r>
                  <a:rPr lang="en-US"/>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1291069944164441</c:v>
                </c:pt>
                <c:pt idx="1">
                  <c:v>0.13485892486555889</c:v>
                </c:pt>
                <c:pt idx="2">
                  <c:v>0.13361697278764331</c:v>
                </c:pt>
                <c:pt idx="3">
                  <c:v>0.13181455947245191</c:v>
                </c:pt>
                <c:pt idx="4">
                  <c:v>0.13079849733141291</c:v>
                </c:pt>
                <c:pt idx="5">
                  <c:v>0.12786527339341361</c:v>
                </c:pt>
                <c:pt idx="6">
                  <c:v>0.13389772495720559</c:v>
                </c:pt>
                <c:pt idx="7">
                  <c:v>0.1359519354250221</c:v>
                </c:pt>
                <c:pt idx="8">
                  <c:v>0.13408395448492219</c:v>
                </c:pt>
                <c:pt idx="9">
                  <c:v>0.1272173036352085</c:v>
                </c:pt>
                <c:pt idx="10">
                  <c:v>0.12580154817273331</c:v>
                </c:pt>
                <c:pt idx="11">
                  <c:v>0.1247833670603628</c:v>
                </c:pt>
                <c:pt idx="12">
                  <c:v>0.12616612542700109</c:v>
                </c:pt>
                <c:pt idx="13">
                  <c:v>0.13426073846412021</c:v>
                </c:pt>
                <c:pt idx="14">
                  <c:v>0.13040345544745011</c:v>
                </c:pt>
                <c:pt idx="15">
                  <c:v>0.12568196098787579</c:v>
                </c:pt>
                <c:pt idx="16">
                  <c:v>0.1284543866213313</c:v>
                </c:pt>
                <c:pt idx="17">
                  <c:v>0.13252000199740169</c:v>
                </c:pt>
                <c:pt idx="18">
                  <c:v>0.12612196270786419</c:v>
                </c:pt>
                <c:pt idx="19">
                  <c:v>0.13496886950214251</c:v>
                </c:pt>
                <c:pt idx="20">
                  <c:v>0.13064933940560819</c:v>
                </c:pt>
                <c:pt idx="21">
                  <c:v>0.12635635491031241</c:v>
                </c:pt>
                <c:pt idx="22">
                  <c:v>0.12863609693980929</c:v>
                </c:pt>
                <c:pt idx="23">
                  <c:v>0.13116494310893009</c:v>
                </c:pt>
                <c:pt idx="24">
                  <c:v>0.1278058186678292</c:v>
                </c:pt>
                <c:pt idx="25">
                  <c:v>0.1235932293079324</c:v>
                </c:pt>
                <c:pt idx="26">
                  <c:v>0.12290934252239009</c:v>
                </c:pt>
                <c:pt idx="27">
                  <c:v>0.12109503765009599</c:v>
                </c:pt>
                <c:pt idx="28">
                  <c:v>0.12207135397276341</c:v>
                </c:pt>
                <c:pt idx="29">
                  <c:v>0.1263122981136704</c:v>
                </c:pt>
                <c:pt idx="30">
                  <c:v>0.1263263635992006</c:v>
                </c:pt>
                <c:pt idx="31">
                  <c:v>0.12476889875077329</c:v>
                </c:pt>
                <c:pt idx="32">
                  <c:v>0.12674353123399981</c:v>
                </c:pt>
                <c:pt idx="33">
                  <c:v>0.12588695742723971</c:v>
                </c:pt>
                <c:pt idx="34">
                  <c:v>0.12390000002667199</c:v>
                </c:pt>
                <c:pt idx="35">
                  <c:v>0.12440850519118039</c:v>
                </c:pt>
                <c:pt idx="36">
                  <c:v>0.12336288941275771</c:v>
                </c:pt>
                <c:pt idx="37">
                  <c:v>0.1236579395008299</c:v>
                </c:pt>
                <c:pt idx="38">
                  <c:v>0.1244360084590832</c:v>
                </c:pt>
                <c:pt idx="39">
                  <c:v>0.12224083915887329</c:v>
                </c:pt>
                <c:pt idx="40">
                  <c:v>0.1219327444047168</c:v>
                </c:pt>
                <c:pt idx="41">
                  <c:v>0.1250560323566518</c:v>
                </c:pt>
                <c:pt idx="42">
                  <c:v>0.12745512740440279</c:v>
                </c:pt>
                <c:pt idx="43">
                  <c:v>0.1211984894858895</c:v>
                </c:pt>
                <c:pt idx="44">
                  <c:v>0.1258670226690102</c:v>
                </c:pt>
                <c:pt idx="45">
                  <c:v>0.1272339848348821</c:v>
                </c:pt>
                <c:pt idx="46">
                  <c:v>0.13490346412193621</c:v>
                </c:pt>
                <c:pt idx="47">
                  <c:v>0.1232399985423943</c:v>
                </c:pt>
                <c:pt idx="48">
                  <c:v>0.12311641114157899</c:v>
                </c:pt>
                <c:pt idx="49">
                  <c:v>0.1234350759255986</c:v>
                </c:pt>
                <c:pt idx="50">
                  <c:v>0.12419744604278141</c:v>
                </c:pt>
                <c:pt idx="51">
                  <c:v>0.13145508336915421</c:v>
                </c:pt>
                <c:pt idx="52">
                  <c:v>0.13109930113357529</c:v>
                </c:pt>
                <c:pt idx="53">
                  <c:v>0.13568928560863899</c:v>
                </c:pt>
                <c:pt idx="54">
                  <c:v>0.1285210371531505</c:v>
                </c:pt>
                <c:pt idx="55">
                  <c:v>0.1300753516373136</c:v>
                </c:pt>
                <c:pt idx="56">
                  <c:v>0.12489749950473671</c:v>
                </c:pt>
                <c:pt idx="57">
                  <c:v>0.10266521645136149</c:v>
                </c:pt>
                <c:pt idx="58">
                  <c:v>9.4621929093130358E-2</c:v>
                </c:pt>
                <c:pt idx="59">
                  <c:v>9.8212612965823731E-2</c:v>
                </c:pt>
                <c:pt idx="60">
                  <c:v>0.1102654339127445</c:v>
                </c:pt>
                <c:pt idx="61">
                  <c:v>0.1086326326560431</c:v>
                </c:pt>
                <c:pt idx="62">
                  <c:v>0.10273100071317991</c:v>
                </c:pt>
                <c:pt idx="63">
                  <c:v>0.1056131313298932</c:v>
                </c:pt>
                <c:pt idx="64">
                  <c:v>0.116037952360732</c:v>
                </c:pt>
                <c:pt idx="65">
                  <c:v>0.13065683342069531</c:v>
                </c:pt>
                <c:pt idx="66">
                  <c:v>0.132712182958446</c:v>
                </c:pt>
                <c:pt idx="67">
                  <c:v>0.12498087731066</c:v>
                </c:pt>
                <c:pt idx="68">
                  <c:v>0.1318623648264734</c:v>
                </c:pt>
                <c:pt idx="69">
                  <c:v>0.13405085209231629</c:v>
                </c:pt>
                <c:pt idx="70">
                  <c:v>0.12663942767242409</c:v>
                </c:pt>
                <c:pt idx="71">
                  <c:v>0.13715997078444109</c:v>
                </c:pt>
                <c:pt idx="72">
                  <c:v>0.1312699287114284</c:v>
                </c:pt>
                <c:pt idx="73">
                  <c:v>0.1290474255800157</c:v>
                </c:pt>
                <c:pt idx="74">
                  <c:v>0.12976627424972709</c:v>
                </c:pt>
                <c:pt idx="75">
                  <c:v>0.12686829869724861</c:v>
                </c:pt>
                <c:pt idx="76">
                  <c:v>0.1253623579280761</c:v>
                </c:pt>
                <c:pt idx="77">
                  <c:v>0.12968156222074531</c:v>
                </c:pt>
                <c:pt idx="78">
                  <c:v>0.12750329032649099</c:v>
                </c:pt>
                <c:pt idx="79">
                  <c:v>0.12461050546445129</c:v>
                </c:pt>
                <c:pt idx="80">
                  <c:v>0.12900335189603049</c:v>
                </c:pt>
                <c:pt idx="81">
                  <c:v>0.12741746962889991</c:v>
                </c:pt>
                <c:pt idx="82">
                  <c:v>0.1227246355993528</c:v>
                </c:pt>
                <c:pt idx="83">
                  <c:v>0.12325497363003669</c:v>
                </c:pt>
                <c:pt idx="84">
                  <c:v>0.1237777050026681</c:v>
                </c:pt>
                <c:pt idx="85">
                  <c:v>0.1227618684932686</c:v>
                </c:pt>
                <c:pt idx="86">
                  <c:v>0.12625273778634091</c:v>
                </c:pt>
                <c:pt idx="87">
                  <c:v>0.12848401925218161</c:v>
                </c:pt>
                <c:pt idx="88">
                  <c:v>0.12808991008793849</c:v>
                </c:pt>
                <c:pt idx="89">
                  <c:v>0.12669599383578639</c:v>
                </c:pt>
                <c:pt idx="90">
                  <c:v>0.128457244567205</c:v>
                </c:pt>
                <c:pt idx="91">
                  <c:v>0.1287495738807907</c:v>
                </c:pt>
                <c:pt idx="92">
                  <c:v>0.12753778198649329</c:v>
                </c:pt>
                <c:pt idx="93">
                  <c:v>0.12858384689357691</c:v>
                </c:pt>
                <c:pt idx="94">
                  <c:v>0.13053873342212541</c:v>
                </c:pt>
                <c:pt idx="95">
                  <c:v>0.1283681251237693</c:v>
                </c:pt>
                <c:pt idx="96">
                  <c:v>0.12712219330013799</c:v>
                </c:pt>
                <c:pt idx="97">
                  <c:v>0.12537888942730019</c:v>
                </c:pt>
                <c:pt idx="98">
                  <c:v>0.12745921704595151</c:v>
                </c:pt>
                <c:pt idx="99">
                  <c:v>0.1212266665697815</c:v>
                </c:pt>
                <c:pt idx="100">
                  <c:v>0.1141728668578047</c:v>
                </c:pt>
                <c:pt idx="101">
                  <c:v>0.115957494325048</c:v>
                </c:pt>
              </c:numCache>
            </c:numRef>
          </c:xVal>
          <c:yVal>
            <c:numRef>
              <c:f>Sheet1!$B$2:$B$103</c:f>
              <c:numCache>
                <c:formatCode>General</c:formatCode>
                <c:ptCount val="102"/>
                <c:pt idx="0">
                  <c:v>3.1549194168607013E-2</c:v>
                </c:pt>
                <c:pt idx="1">
                  <c:v>2.5925076493376501E-2</c:v>
                </c:pt>
                <c:pt idx="2">
                  <c:v>1.9457371147598559E-2</c:v>
                </c:pt>
                <c:pt idx="3">
                  <c:v>2.1005226955186751E-2</c:v>
                </c:pt>
                <c:pt idx="4">
                  <c:v>2.3683174888924512E-2</c:v>
                </c:pt>
                <c:pt idx="5">
                  <c:v>2.481491169212223E-2</c:v>
                </c:pt>
                <c:pt idx="6">
                  <c:v>2.2966901329024649E-2</c:v>
                </c:pt>
                <c:pt idx="7">
                  <c:v>2.1693356757167159E-2</c:v>
                </c:pt>
                <c:pt idx="8">
                  <c:v>2.508474647577718E-2</c:v>
                </c:pt>
                <c:pt idx="9">
                  <c:v>3.2219360006132687E-2</c:v>
                </c:pt>
                <c:pt idx="10">
                  <c:v>3.3455366889535383E-2</c:v>
                </c:pt>
                <c:pt idx="11">
                  <c:v>3.077420503855852E-2</c:v>
                </c:pt>
                <c:pt idx="12">
                  <c:v>3.166311843777065E-2</c:v>
                </c:pt>
                <c:pt idx="13">
                  <c:v>2.9573633835338661E-2</c:v>
                </c:pt>
                <c:pt idx="14">
                  <c:v>2.943829474961886E-2</c:v>
                </c:pt>
                <c:pt idx="15">
                  <c:v>3.2326555355538883E-2</c:v>
                </c:pt>
                <c:pt idx="16">
                  <c:v>3.045418321235838E-2</c:v>
                </c:pt>
                <c:pt idx="17">
                  <c:v>3.0177244147381321E-2</c:v>
                </c:pt>
                <c:pt idx="18">
                  <c:v>3.0949579617420529E-2</c:v>
                </c:pt>
                <c:pt idx="19">
                  <c:v>3.3044676701229417E-2</c:v>
                </c:pt>
                <c:pt idx="20">
                  <c:v>3.4502368865567047E-2</c:v>
                </c:pt>
                <c:pt idx="21">
                  <c:v>3.8171203781773647E-2</c:v>
                </c:pt>
                <c:pt idx="22">
                  <c:v>3.2633840746857157E-2</c:v>
                </c:pt>
                <c:pt idx="23">
                  <c:v>3.22851825867847E-2</c:v>
                </c:pt>
                <c:pt idx="24">
                  <c:v>3.4293774474369272E-2</c:v>
                </c:pt>
                <c:pt idx="25">
                  <c:v>3.3493331489235549E-2</c:v>
                </c:pt>
                <c:pt idx="26">
                  <c:v>3.2256296982208908E-2</c:v>
                </c:pt>
                <c:pt idx="27">
                  <c:v>3.256327154323236E-2</c:v>
                </c:pt>
                <c:pt idx="28">
                  <c:v>3.0215972855570969E-2</c:v>
                </c:pt>
                <c:pt idx="29">
                  <c:v>2.971323515475446E-2</c:v>
                </c:pt>
                <c:pt idx="30">
                  <c:v>2.9886044202056931E-2</c:v>
                </c:pt>
                <c:pt idx="31">
                  <c:v>3.0113049153545669E-2</c:v>
                </c:pt>
                <c:pt idx="32">
                  <c:v>3.0121682992946059E-2</c:v>
                </c:pt>
                <c:pt idx="33">
                  <c:v>2.8704102443482309E-2</c:v>
                </c:pt>
                <c:pt idx="34">
                  <c:v>3.0602403901330309E-2</c:v>
                </c:pt>
                <c:pt idx="35">
                  <c:v>3.1456536502498793E-2</c:v>
                </c:pt>
                <c:pt idx="36">
                  <c:v>3.1516667937295108E-2</c:v>
                </c:pt>
                <c:pt idx="37">
                  <c:v>3.3226585884057157E-2</c:v>
                </c:pt>
                <c:pt idx="38">
                  <c:v>3.3016326225624587E-2</c:v>
                </c:pt>
                <c:pt idx="39">
                  <c:v>3.0075909553288729E-2</c:v>
                </c:pt>
                <c:pt idx="40">
                  <c:v>3.030822714314705E-2</c:v>
                </c:pt>
                <c:pt idx="41">
                  <c:v>3.1273537834975489E-2</c:v>
                </c:pt>
                <c:pt idx="42">
                  <c:v>3.005901690014778E-2</c:v>
                </c:pt>
                <c:pt idx="43">
                  <c:v>3.0573863083611631E-2</c:v>
                </c:pt>
                <c:pt idx="44">
                  <c:v>3.254448153409624E-2</c:v>
                </c:pt>
                <c:pt idx="45">
                  <c:v>3.2420025270644671E-2</c:v>
                </c:pt>
                <c:pt idx="46">
                  <c:v>3.0841270586476861E-2</c:v>
                </c:pt>
                <c:pt idx="47">
                  <c:v>3.4545476528939613E-2</c:v>
                </c:pt>
                <c:pt idx="48">
                  <c:v>3.9378011399146942E-2</c:v>
                </c:pt>
                <c:pt idx="49">
                  <c:v>3.4585845792310457E-2</c:v>
                </c:pt>
                <c:pt idx="50">
                  <c:v>3.6889295123608737E-2</c:v>
                </c:pt>
                <c:pt idx="51">
                  <c:v>3.516974061970235E-2</c:v>
                </c:pt>
                <c:pt idx="52">
                  <c:v>3.3440411726256947E-2</c:v>
                </c:pt>
                <c:pt idx="53">
                  <c:v>3.0775515895011849E-2</c:v>
                </c:pt>
                <c:pt idx="54">
                  <c:v>2.856172806220978E-2</c:v>
                </c:pt>
                <c:pt idx="55">
                  <c:v>2.9260191711765832E-2</c:v>
                </c:pt>
                <c:pt idx="56">
                  <c:v>3.1178692703543051E-2</c:v>
                </c:pt>
                <c:pt idx="57">
                  <c:v>3.7031471681131703E-2</c:v>
                </c:pt>
                <c:pt idx="58">
                  <c:v>3.9909501581123753E-2</c:v>
                </c:pt>
                <c:pt idx="59">
                  <c:v>3.3090443177845791E-2</c:v>
                </c:pt>
                <c:pt idx="60">
                  <c:v>2.0429936026239701E-2</c:v>
                </c:pt>
                <c:pt idx="61">
                  <c:v>1.594233918003489E-2</c:v>
                </c:pt>
                <c:pt idx="62">
                  <c:v>2.6561543645322629E-2</c:v>
                </c:pt>
                <c:pt idx="63">
                  <c:v>3.5068893654044378E-2</c:v>
                </c:pt>
                <c:pt idx="64">
                  <c:v>3.0967228847484721E-2</c:v>
                </c:pt>
                <c:pt idx="65">
                  <c:v>2.602705616299417E-2</c:v>
                </c:pt>
                <c:pt idx="66">
                  <c:v>2.587150374122359E-2</c:v>
                </c:pt>
                <c:pt idx="67">
                  <c:v>2.691260699372984E-2</c:v>
                </c:pt>
                <c:pt idx="68">
                  <c:v>2.5874418970458959E-2</c:v>
                </c:pt>
                <c:pt idx="69">
                  <c:v>2.3193315376484971E-2</c:v>
                </c:pt>
                <c:pt idx="70">
                  <c:v>2.2686657383630061E-2</c:v>
                </c:pt>
                <c:pt idx="71">
                  <c:v>2.6189284143623481E-2</c:v>
                </c:pt>
                <c:pt idx="72">
                  <c:v>2.7336338114147821E-2</c:v>
                </c:pt>
                <c:pt idx="73">
                  <c:v>2.7740990571672709E-2</c:v>
                </c:pt>
                <c:pt idx="74">
                  <c:v>2.877527311984417E-2</c:v>
                </c:pt>
                <c:pt idx="75">
                  <c:v>2.8510329318482429E-2</c:v>
                </c:pt>
                <c:pt idx="76">
                  <c:v>2.7909474603405621E-2</c:v>
                </c:pt>
                <c:pt idx="77">
                  <c:v>2.354699792786898E-2</c:v>
                </c:pt>
                <c:pt idx="78">
                  <c:v>2.3516397046911521E-2</c:v>
                </c:pt>
                <c:pt idx="79">
                  <c:v>2.2115174941799771E-2</c:v>
                </c:pt>
                <c:pt idx="80">
                  <c:v>2.2268202762568419E-2</c:v>
                </c:pt>
                <c:pt idx="81">
                  <c:v>2.1244426266941788E-2</c:v>
                </c:pt>
                <c:pt idx="82">
                  <c:v>3.1177386289303839E-2</c:v>
                </c:pt>
                <c:pt idx="83">
                  <c:v>2.630647686699077E-2</c:v>
                </c:pt>
                <c:pt idx="84">
                  <c:v>2.5524833007679371E-2</c:v>
                </c:pt>
                <c:pt idx="85">
                  <c:v>2.6871534411513371E-2</c:v>
                </c:pt>
                <c:pt idx="86">
                  <c:v>2.6338851413823881E-2</c:v>
                </c:pt>
                <c:pt idx="87">
                  <c:v>2.464870108961555E-2</c:v>
                </c:pt>
                <c:pt idx="88">
                  <c:v>2.6238033764437702E-2</c:v>
                </c:pt>
                <c:pt idx="89">
                  <c:v>3.0191859532939729E-2</c:v>
                </c:pt>
                <c:pt idx="90">
                  <c:v>3.071685169632082E-2</c:v>
                </c:pt>
                <c:pt idx="91">
                  <c:v>3.1790352756617277E-2</c:v>
                </c:pt>
                <c:pt idx="92">
                  <c:v>2.9789485452214989E-2</c:v>
                </c:pt>
                <c:pt idx="93">
                  <c:v>2.7419432969366012E-2</c:v>
                </c:pt>
                <c:pt idx="94">
                  <c:v>2.5375304588112151E-2</c:v>
                </c:pt>
                <c:pt idx="95">
                  <c:v>2.727143524464504E-2</c:v>
                </c:pt>
                <c:pt idx="96">
                  <c:v>2.430072520573312E-2</c:v>
                </c:pt>
                <c:pt idx="97">
                  <c:v>2.5953063658202231E-2</c:v>
                </c:pt>
                <c:pt idx="98">
                  <c:v>2.870484051773789E-2</c:v>
                </c:pt>
                <c:pt idx="99">
                  <c:v>3.0161179689259059E-2</c:v>
                </c:pt>
                <c:pt idx="100">
                  <c:v>3.7558407981539428E-2</c:v>
                </c:pt>
                <c:pt idx="101">
                  <c:v>3.5796970668813113E-2</c:v>
                </c:pt>
              </c:numCache>
            </c:numRef>
          </c:yVal>
          <c:smooth val="0"/>
          <c:extLst>
            <c:ext xmlns:c16="http://schemas.microsoft.com/office/drawing/2014/chart" uri="{C3380CC4-5D6E-409C-BE32-E72D297353CC}">
              <c16:uniqueId val="{00000000-096C-4121-9522-6AB7243CCAAE}"/>
            </c:ext>
          </c:extLst>
        </c:ser>
        <c:ser>
          <c:idx val="1"/>
          <c:order val="1"/>
          <c:tx>
            <c:strRef>
              <c:f>Sheet1!$B$10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6:$A$157</c:f>
              <c:numCache>
                <c:formatCode>General</c:formatCode>
                <c:ptCount val="52"/>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numCache>
            </c:numRef>
          </c:xVal>
          <c:yVal>
            <c:numRef>
              <c:f>Sheet1!$B$106:$B$157</c:f>
              <c:numCache>
                <c:formatCode>General</c:formatCode>
                <c:ptCount val="52"/>
                <c:pt idx="0">
                  <c:v>3.3379430772150658E-2</c:v>
                </c:pt>
                <c:pt idx="1">
                  <c:v>3.5297770608354727E-2</c:v>
                </c:pt>
                <c:pt idx="2">
                  <c:v>3.603152077608085E-2</c:v>
                </c:pt>
                <c:pt idx="3">
                  <c:v>3.0978674639028671E-2</c:v>
                </c:pt>
                <c:pt idx="4">
                  <c:v>2.8133515753956471E-2</c:v>
                </c:pt>
                <c:pt idx="5">
                  <c:v>2.7512069607189622E-2</c:v>
                </c:pt>
                <c:pt idx="6">
                  <c:v>2.753590860107619E-2</c:v>
                </c:pt>
                <c:pt idx="7">
                  <c:v>2.7306049137985969E-2</c:v>
                </c:pt>
                <c:pt idx="8">
                  <c:v>2.683860754587173E-2</c:v>
                </c:pt>
                <c:pt idx="9">
                  <c:v>2.8577136215520639E-2</c:v>
                </c:pt>
                <c:pt idx="10">
                  <c:v>2.9045708307140341E-2</c:v>
                </c:pt>
                <c:pt idx="11">
                  <c:v>3.0151694267354031E-2</c:v>
                </c:pt>
                <c:pt idx="12">
                  <c:v>3.1278274774940933E-2</c:v>
                </c:pt>
                <c:pt idx="13">
                  <c:v>3.2623144271831599E-2</c:v>
                </c:pt>
                <c:pt idx="14">
                  <c:v>3.2081452766552027E-2</c:v>
                </c:pt>
                <c:pt idx="15">
                  <c:v>2.8476513020004542E-2</c:v>
                </c:pt>
                <c:pt idx="16">
                  <c:v>2.889792926206242E-2</c:v>
                </c:pt>
                <c:pt idx="17">
                  <c:v>2.8572345272906731E-2</c:v>
                </c:pt>
                <c:pt idx="18">
                  <c:v>2.758215728763419E-2</c:v>
                </c:pt>
                <c:pt idx="19">
                  <c:v>2.6684207925807661E-2</c:v>
                </c:pt>
                <c:pt idx="20">
                  <c:v>2.507409816863837E-2</c:v>
                </c:pt>
                <c:pt idx="21">
                  <c:v>3.7053775555914388E-2</c:v>
                </c:pt>
                <c:pt idx="22">
                  <c:v>4.1201839145334811E-2</c:v>
                </c:pt>
                <c:pt idx="23">
                  <c:v>3.952108516249337E-2</c:v>
                </c:pt>
                <c:pt idx="24">
                  <c:v>3.301132678213544E-2</c:v>
                </c:pt>
                <c:pt idx="25">
                  <c:v>3.4672282379825628E-2</c:v>
                </c:pt>
                <c:pt idx="26">
                  <c:v>3.6478521099227869E-2</c:v>
                </c:pt>
                <c:pt idx="27">
                  <c:v>3.1719960612283417E-2</c:v>
                </c:pt>
                <c:pt idx="28">
                  <c:v>2.9844699099281859E-2</c:v>
                </c:pt>
                <c:pt idx="29">
                  <c:v>2.824703792935155E-2</c:v>
                </c:pt>
                <c:pt idx="30">
                  <c:v>2.3926861689124789E-2</c:v>
                </c:pt>
                <c:pt idx="31">
                  <c:v>2.077067140814904E-2</c:v>
                </c:pt>
                <c:pt idx="32">
                  <c:v>2.3460558709885782E-2</c:v>
                </c:pt>
                <c:pt idx="33">
                  <c:v>3.042796286207031E-2</c:v>
                </c:pt>
                <c:pt idx="34">
                  <c:v>3.1037706913624011E-2</c:v>
                </c:pt>
                <c:pt idx="35">
                  <c:v>2.928997264422914E-2</c:v>
                </c:pt>
                <c:pt idx="36">
                  <c:v>2.9697936908540851E-2</c:v>
                </c:pt>
                <c:pt idx="37">
                  <c:v>3.0248130900335801E-2</c:v>
                </c:pt>
                <c:pt idx="38">
                  <c:v>3.5070387750061743E-2</c:v>
                </c:pt>
                <c:pt idx="39">
                  <c:v>3.120833777020552E-2</c:v>
                </c:pt>
                <c:pt idx="40">
                  <c:v>2.682679016675503E-2</c:v>
                </c:pt>
                <c:pt idx="41">
                  <c:v>2.4203784771293649E-2</c:v>
                </c:pt>
                <c:pt idx="42">
                  <c:v>2.4098053977022381E-2</c:v>
                </c:pt>
                <c:pt idx="43">
                  <c:v>2.4523754132153151E-2</c:v>
                </c:pt>
                <c:pt idx="44">
                  <c:v>2.2379504666963371E-2</c:v>
                </c:pt>
                <c:pt idx="45">
                  <c:v>2.104065524243157E-2</c:v>
                </c:pt>
                <c:pt idx="46">
                  <c:v>2.202824012890214E-2</c:v>
                </c:pt>
                <c:pt idx="47">
                  <c:v>2.3321641522021069E-2</c:v>
                </c:pt>
                <c:pt idx="48">
                  <c:v>2.5721900660138009E-2</c:v>
                </c:pt>
                <c:pt idx="49">
                  <c:v>2.4967370312040962E-2</c:v>
                </c:pt>
                <c:pt idx="50">
                  <c:v>2.603335979145837E-2</c:v>
                </c:pt>
                <c:pt idx="51">
                  <c:v>2.5702227757022279E-2</c:v>
                </c:pt>
              </c:numCache>
            </c:numRef>
          </c:yVal>
          <c:smooth val="0"/>
          <c:extLst>
            <c:ext xmlns:c16="http://schemas.microsoft.com/office/drawing/2014/chart" uri="{C3380CC4-5D6E-409C-BE32-E72D297353CC}">
              <c16:uniqueId val="{00000002-096C-4121-9522-6AB7243CCAAE}"/>
            </c:ext>
          </c:extLst>
        </c:ser>
        <c:ser>
          <c:idx val="2"/>
          <c:order val="2"/>
          <c:tx>
            <c:strRef>
              <c:f>Sheet1!$B$15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0:$A$161</c:f>
              <c:numCache>
                <c:formatCode>General</c:formatCode>
                <c:ptCount val="2"/>
                <c:pt idx="0">
                  <c:v>0</c:v>
                </c:pt>
                <c:pt idx="1">
                  <c:v>0.1108820277239114</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5-096C-4121-9522-6AB7243CCAAE}"/>
            </c:ext>
          </c:extLst>
        </c:ser>
        <c:ser>
          <c:idx val="3"/>
          <c:order val="3"/>
          <c:tx>
            <c:strRef>
              <c:f>Sheet1!$B$16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0.1108820277239114</c:v>
                </c:pt>
                <c:pt idx="1">
                  <c:v>0.1108820277239114</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8:$A$169</c:f>
              <c:numCache>
                <c:formatCode>General</c:formatCode>
                <c:ptCount val="2"/>
                <c:pt idx="0">
                  <c:v>0</c:v>
                </c:pt>
                <c:pt idx="1">
                  <c:v>0.11732114474802791</c:v>
                </c:pt>
              </c:numCache>
            </c:numRef>
          </c:xVal>
          <c:yVal>
            <c:numRef>
              <c:f>Sheet1!$B$168:$B$169</c:f>
              <c:numCache>
                <c:formatCode>General</c:formatCode>
                <c:ptCount val="2"/>
                <c:pt idx="0">
                  <c:v>3.1101577984060609E-2</c:v>
                </c:pt>
                <c:pt idx="1">
                  <c:v>3.1101577984060609E-2</c:v>
                </c:pt>
              </c:numCache>
            </c:numRef>
          </c:yVal>
          <c:smooth val="0"/>
          <c:extLst>
            <c:ext xmlns:c16="http://schemas.microsoft.com/office/drawing/2014/chart" uri="{C3380CC4-5D6E-409C-BE32-E72D297353CC}">
              <c16:uniqueId val="{0000000D-096C-4121-9522-6AB7243CCAAE}"/>
            </c:ext>
          </c:extLst>
        </c:ser>
        <c:ser>
          <c:idx val="5"/>
          <c:order val="5"/>
          <c:tx>
            <c:strRef>
              <c:f>Sheet1!$B$17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0.11732114474802791</c:v>
                </c:pt>
                <c:pt idx="1">
                  <c:v>0.11732114474802791</c:v>
                </c:pt>
              </c:numCache>
            </c:numRef>
          </c:xVal>
          <c:yVal>
            <c:numRef>
              <c:f>Sheet1!$B$172:$B$173</c:f>
              <c:numCache>
                <c:formatCode>General</c:formatCode>
                <c:ptCount val="2"/>
                <c:pt idx="0">
                  <c:v>3.1101577984060609E-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6:$A$177</c:f>
              <c:numCache>
                <c:formatCode>General</c:formatCode>
                <c:ptCount val="2"/>
                <c:pt idx="0">
                  <c:v>0</c:v>
                </c:pt>
                <c:pt idx="1">
                  <c:v>0.13512234665834599</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5-096C-4121-9522-6AB7243CCAAE}"/>
            </c:ext>
          </c:extLst>
        </c:ser>
        <c:ser>
          <c:idx val="7"/>
          <c:order val="7"/>
          <c:tx>
            <c:strRef>
              <c:f>Sheet1!$B$17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0:$A$181</c:f>
              <c:numCache>
                <c:formatCode>General</c:formatCode>
                <c:ptCount val="2"/>
                <c:pt idx="0">
                  <c:v>0.13512234665834599</c:v>
                </c:pt>
                <c:pt idx="1">
                  <c:v>0.13512234665834599</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4:$A$238</c:f>
              <c:numCache>
                <c:formatCode>General</c:formatCode>
                <c:ptCount val="55"/>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pt idx="52">
                  <c:v>0.11732114474802791</c:v>
                </c:pt>
                <c:pt idx="53">
                  <c:v>0.1108820277239114</c:v>
                </c:pt>
                <c:pt idx="54">
                  <c:v>0.13512234665834599</c:v>
                </c:pt>
              </c:numCache>
            </c:numRef>
          </c:xVal>
          <c:yVal>
            <c:numRef>
              <c:f>Sheet1!$B$184:$B$238</c:f>
              <c:numCache>
                <c:formatCode>General</c:formatCode>
                <c:ptCount val="55"/>
                <c:pt idx="0">
                  <c:v>3.1620668745252142E-2</c:v>
                </c:pt>
                <c:pt idx="1">
                  <c:v>3.1654790245678951E-2</c:v>
                </c:pt>
                <c:pt idx="2">
                  <c:v>3.2783325344754151E-2</c:v>
                </c:pt>
                <c:pt idx="3">
                  <c:v>3.022688607526958E-2</c:v>
                </c:pt>
                <c:pt idx="4">
                  <c:v>2.8540776744242852E-2</c:v>
                </c:pt>
                <c:pt idx="5">
                  <c:v>2.8198639317480349E-2</c:v>
                </c:pt>
                <c:pt idx="6">
                  <c:v>2.8149354774764782E-2</c:v>
                </c:pt>
                <c:pt idx="7">
                  <c:v>2.8199004366077019E-2</c:v>
                </c:pt>
                <c:pt idx="8">
                  <c:v>3.0157282303857849E-2</c:v>
                </c:pt>
                <c:pt idx="9">
                  <c:v>2.9717490317624731E-2</c:v>
                </c:pt>
                <c:pt idx="10">
                  <c:v>2.880162617160174E-2</c:v>
                </c:pt>
                <c:pt idx="11">
                  <c:v>3.0799476543192809E-2</c:v>
                </c:pt>
                <c:pt idx="12">
                  <c:v>2.8080121278043681E-2</c:v>
                </c:pt>
                <c:pt idx="13">
                  <c:v>2.8247092051713919E-2</c:v>
                </c:pt>
                <c:pt idx="14">
                  <c:v>2.639540124703324E-2</c:v>
                </c:pt>
                <c:pt idx="15">
                  <c:v>1.9220157910636009E-2</c:v>
                </c:pt>
                <c:pt idx="16">
                  <c:v>2.9292926757015069E-2</c:v>
                </c:pt>
                <c:pt idx="17">
                  <c:v>2.9541107656935999E-2</c:v>
                </c:pt>
                <c:pt idx="18">
                  <c:v>3.1154431279754719E-2</c:v>
                </c:pt>
                <c:pt idx="19">
                  <c:v>2.9461129531890291E-2</c:v>
                </c:pt>
                <c:pt idx="20">
                  <c:v>3.0313783713891131E-2</c:v>
                </c:pt>
                <c:pt idx="21">
                  <c:v>3.3508822667282862E-2</c:v>
                </c:pt>
                <c:pt idx="22">
                  <c:v>3.4739165058279807E-2</c:v>
                </c:pt>
                <c:pt idx="23">
                  <c:v>3.3561500120319547E-2</c:v>
                </c:pt>
                <c:pt idx="24">
                  <c:v>3.0961282548418428E-2</c:v>
                </c:pt>
                <c:pt idx="25">
                  <c:v>3.325613118609181E-2</c:v>
                </c:pt>
                <c:pt idx="26">
                  <c:v>3.230935798656305E-2</c:v>
                </c:pt>
                <c:pt idx="27">
                  <c:v>3.0186042242885399E-2</c:v>
                </c:pt>
                <c:pt idx="28">
                  <c:v>2.9826699740302571E-2</c:v>
                </c:pt>
                <c:pt idx="29">
                  <c:v>2.8461825588360749E-2</c:v>
                </c:pt>
                <c:pt idx="30">
                  <c:v>2.6667445839888119E-2</c:v>
                </c:pt>
                <c:pt idx="31">
                  <c:v>2.9333797528733729E-2</c:v>
                </c:pt>
                <c:pt idx="32">
                  <c:v>2.8469462201818171E-2</c:v>
                </c:pt>
                <c:pt idx="33">
                  <c:v>3.1278574864500211E-2</c:v>
                </c:pt>
                <c:pt idx="34">
                  <c:v>3.362517184260494E-2</c:v>
                </c:pt>
                <c:pt idx="35">
                  <c:v>3.1259339751075838E-2</c:v>
                </c:pt>
                <c:pt idx="36">
                  <c:v>3.2466678789921898E-2</c:v>
                </c:pt>
                <c:pt idx="37">
                  <c:v>3.336561461501103E-2</c:v>
                </c:pt>
                <c:pt idx="38">
                  <c:v>3.1897061212580187E-2</c:v>
                </c:pt>
                <c:pt idx="39">
                  <c:v>3.0591232179052279E-2</c:v>
                </c:pt>
                <c:pt idx="40">
                  <c:v>2.6490890509876141E-2</c:v>
                </c:pt>
                <c:pt idx="41">
                  <c:v>2.5005655171483909E-2</c:v>
                </c:pt>
                <c:pt idx="42">
                  <c:v>2.471524594195228E-2</c:v>
                </c:pt>
                <c:pt idx="43">
                  <c:v>2.5740688254943609E-2</c:v>
                </c:pt>
                <c:pt idx="44">
                  <c:v>2.534241769031121E-2</c:v>
                </c:pt>
                <c:pt idx="45">
                  <c:v>2.5785004878787769E-2</c:v>
                </c:pt>
                <c:pt idx="46">
                  <c:v>2.6712805427711591E-2</c:v>
                </c:pt>
                <c:pt idx="47">
                  <c:v>2.6016063432124481E-2</c:v>
                </c:pt>
                <c:pt idx="48">
                  <c:v>2.645901837190287E-2</c:v>
                </c:pt>
                <c:pt idx="49">
                  <c:v>2.253097533810856E-2</c:v>
                </c:pt>
                <c:pt idx="50">
                  <c:v>2.3407974477709061E-2</c:v>
                </c:pt>
                <c:pt idx="51">
                  <c:v>2.5267129597052979E-2</c:v>
                </c:pt>
                <c:pt idx="52">
                  <c:v>3.1101577984060599E-2</c:v>
                </c:pt>
                <c:pt idx="53">
                  <c:v>3.3390590546211449E-2</c:v>
                </c:pt>
                <c:pt idx="54">
                  <c:v>2.47735092998775E-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18089307194123574"/>
          <c:min val="7.5697543274504286E-2"/>
        </c:scaling>
        <c:delete val="0"/>
        <c:axPos val="b"/>
        <c:title>
          <c:tx>
            <c:rich>
              <a:bodyPr rot="0" spcFirstLastPara="1" vertOverflow="ellipsis" vert="horz" wrap="square" anchor="ctr" anchorCtr="1"/>
              <a:lstStyle/>
              <a:p>
                <a:pPr>
                  <a:defRPr sz="800" b="0">
                    <a:solidFill>
                      <a:srgbClr val="575555"/>
                    </a:solidFill>
                    <a:latin typeface="Nexa Bold"/>
                  </a:defRPr>
                </a:pPr>
                <a:r>
                  <a:rPr lang="en-US"/>
                  <a:t>Price Ix vs. Gillette Fusion5</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8/11/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1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1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8/11/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1/0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1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1/0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1/0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1/0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1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8/11/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8/1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8/11/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8/11/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chart" Target="../charts/chart2.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chart" Target="../charts/chart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chart" Target="../charts/chart20.xml"/><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chart" Target="../charts/chart1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chart" Target="../charts/chart22.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2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chart" Target="../charts/chart24.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chart" Target="../charts/chart2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chart" Target="../charts/chart26.xml"/><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chart" Target="../charts/chart2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chart" Target="../charts/chart28.xml"/><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chart" Target="../charts/chart2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chart" Target="../charts/chart30.xml"/><Relationship Id="rId2" Type="http://schemas.openxmlformats.org/officeDocument/2006/relationships/slideLayout" Target="../slideLayouts/slideLayout7.xml"/><Relationship Id="rId1" Type="http://schemas.openxmlformats.org/officeDocument/2006/relationships/tags" Target="../tags/tag42.xml"/><Relationship Id="rId6" Type="http://schemas.openxmlformats.org/officeDocument/2006/relationships/chart" Target="../charts/chart2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7" Type="http://schemas.openxmlformats.org/officeDocument/2006/relationships/chart" Target="../charts/chart32.xml"/><Relationship Id="rId2" Type="http://schemas.openxmlformats.org/officeDocument/2006/relationships/slideLayout" Target="../slideLayouts/slideLayout7.xml"/><Relationship Id="rId1" Type="http://schemas.openxmlformats.org/officeDocument/2006/relationships/tags" Target="../tags/tag43.xml"/><Relationship Id="rId6" Type="http://schemas.openxmlformats.org/officeDocument/2006/relationships/chart" Target="../charts/chart3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chart" Target="../charts/chart34.xml"/><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chart" Target="../charts/chart3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openxmlformats.org/officeDocument/2006/relationships/chart" Target="../charts/chart36.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chart" Target="../charts/chart3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openxmlformats.org/officeDocument/2006/relationships/chart" Target="../charts/chart38.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chart" Target="../charts/chart3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chart" Target="../charts/chart4.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7" Type="http://schemas.openxmlformats.org/officeDocument/2006/relationships/chart" Target="../charts/chart40.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chart" Target="../charts/chart3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7" Type="http://schemas.openxmlformats.org/officeDocument/2006/relationships/chart" Target="../charts/chart42.xml"/><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chart" Target="../charts/chart4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7" Type="http://schemas.openxmlformats.org/officeDocument/2006/relationships/chart" Target="../charts/chart44.xml"/><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chart" Target="../charts/chart4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chart" Target="../charts/chart46.xml"/><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chart" Target="../charts/chart4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7" Type="http://schemas.openxmlformats.org/officeDocument/2006/relationships/chart" Target="../charts/chart48.xml"/><Relationship Id="rId2"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chart" Target="../charts/chart4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7" Type="http://schemas.openxmlformats.org/officeDocument/2006/relationships/chart" Target="../charts/chart50.xml"/><Relationship Id="rId2" Type="http://schemas.openxmlformats.org/officeDocument/2006/relationships/slideLayout" Target="../slideLayouts/slideLayout7.xml"/><Relationship Id="rId1" Type="http://schemas.openxmlformats.org/officeDocument/2006/relationships/tags" Target="../tags/tag52.xml"/><Relationship Id="rId6" Type="http://schemas.openxmlformats.org/officeDocument/2006/relationships/chart" Target="../charts/chart4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7" Type="http://schemas.openxmlformats.org/officeDocument/2006/relationships/chart" Target="../charts/chart52.xml"/><Relationship Id="rId2" Type="http://schemas.openxmlformats.org/officeDocument/2006/relationships/slideLayout" Target="../slideLayouts/slideLayout7.xml"/><Relationship Id="rId1" Type="http://schemas.openxmlformats.org/officeDocument/2006/relationships/tags" Target="../tags/tag53.xml"/><Relationship Id="rId6" Type="http://schemas.openxmlformats.org/officeDocument/2006/relationships/chart" Target="../charts/chart5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7" Type="http://schemas.openxmlformats.org/officeDocument/2006/relationships/chart" Target="../charts/chart54.xml"/><Relationship Id="rId2" Type="http://schemas.openxmlformats.org/officeDocument/2006/relationships/slideLayout" Target="../slideLayouts/slideLayout7.xml"/><Relationship Id="rId1" Type="http://schemas.openxmlformats.org/officeDocument/2006/relationships/tags" Target="../tags/tag54.xml"/><Relationship Id="rId6" Type="http://schemas.openxmlformats.org/officeDocument/2006/relationships/chart" Target="../charts/chart5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7" Type="http://schemas.openxmlformats.org/officeDocument/2006/relationships/chart" Target="../charts/chart56.xml"/><Relationship Id="rId2" Type="http://schemas.openxmlformats.org/officeDocument/2006/relationships/slideLayout" Target="../slideLayouts/slideLayout7.xml"/><Relationship Id="rId1" Type="http://schemas.openxmlformats.org/officeDocument/2006/relationships/tags" Target="../tags/tag55.xml"/><Relationship Id="rId6" Type="http://schemas.openxmlformats.org/officeDocument/2006/relationships/chart" Target="../charts/chart5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7" Type="http://schemas.openxmlformats.org/officeDocument/2006/relationships/chart" Target="../charts/chart58.xml"/><Relationship Id="rId2" Type="http://schemas.openxmlformats.org/officeDocument/2006/relationships/slideLayout" Target="../slideLayouts/slideLayout7.xml"/><Relationship Id="rId1" Type="http://schemas.openxmlformats.org/officeDocument/2006/relationships/tags" Target="../tags/tag56.xml"/><Relationship Id="rId6" Type="http://schemas.openxmlformats.org/officeDocument/2006/relationships/chart" Target="../charts/chart5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chart" Target="../charts/chart6.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7" Type="http://schemas.openxmlformats.org/officeDocument/2006/relationships/chart" Target="../charts/chart60.xml"/><Relationship Id="rId2" Type="http://schemas.openxmlformats.org/officeDocument/2006/relationships/slideLayout" Target="../slideLayouts/slideLayout7.xml"/><Relationship Id="rId1" Type="http://schemas.openxmlformats.org/officeDocument/2006/relationships/tags" Target="../tags/tag57.xml"/><Relationship Id="rId6" Type="http://schemas.openxmlformats.org/officeDocument/2006/relationships/chart" Target="../charts/chart5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7" Type="http://schemas.openxmlformats.org/officeDocument/2006/relationships/chart" Target="../charts/chart62.xml"/><Relationship Id="rId2" Type="http://schemas.openxmlformats.org/officeDocument/2006/relationships/slideLayout" Target="../slideLayouts/slideLayout7.xml"/><Relationship Id="rId1" Type="http://schemas.openxmlformats.org/officeDocument/2006/relationships/tags" Target="../tags/tag58.xml"/><Relationship Id="rId6" Type="http://schemas.openxmlformats.org/officeDocument/2006/relationships/chart" Target="../charts/chart6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7" Type="http://schemas.openxmlformats.org/officeDocument/2006/relationships/chart" Target="../charts/chart64.xml"/><Relationship Id="rId2" Type="http://schemas.openxmlformats.org/officeDocument/2006/relationships/slideLayout" Target="../slideLayouts/slideLayout7.xml"/><Relationship Id="rId1" Type="http://schemas.openxmlformats.org/officeDocument/2006/relationships/tags" Target="../tags/tag59.xml"/><Relationship Id="rId6" Type="http://schemas.openxmlformats.org/officeDocument/2006/relationships/chart" Target="../charts/chart6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7" Type="http://schemas.openxmlformats.org/officeDocument/2006/relationships/chart" Target="../charts/chart66.xml"/><Relationship Id="rId2" Type="http://schemas.openxmlformats.org/officeDocument/2006/relationships/slideLayout" Target="../slideLayouts/slideLayout7.xml"/><Relationship Id="rId1" Type="http://schemas.openxmlformats.org/officeDocument/2006/relationships/tags" Target="../tags/tag60.xml"/><Relationship Id="rId6" Type="http://schemas.openxmlformats.org/officeDocument/2006/relationships/chart" Target="../charts/chart6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7" Type="http://schemas.openxmlformats.org/officeDocument/2006/relationships/chart" Target="../charts/chart68.xml"/><Relationship Id="rId2" Type="http://schemas.openxmlformats.org/officeDocument/2006/relationships/slideLayout" Target="../slideLayouts/slideLayout7.xml"/><Relationship Id="rId1" Type="http://schemas.openxmlformats.org/officeDocument/2006/relationships/tags" Target="../tags/tag61.xml"/><Relationship Id="rId6" Type="http://schemas.openxmlformats.org/officeDocument/2006/relationships/chart" Target="../charts/chart6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7" Type="http://schemas.openxmlformats.org/officeDocument/2006/relationships/chart" Target="../charts/chart70.xml"/><Relationship Id="rId2" Type="http://schemas.openxmlformats.org/officeDocument/2006/relationships/slideLayout" Target="../slideLayouts/slideLayout7.xml"/><Relationship Id="rId1" Type="http://schemas.openxmlformats.org/officeDocument/2006/relationships/tags" Target="../tags/tag62.xml"/><Relationship Id="rId6" Type="http://schemas.openxmlformats.org/officeDocument/2006/relationships/chart" Target="../charts/chart6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chart" Target="../charts/chart8.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chart" Target="../charts/chart10.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chart" Target="../charts/chart12.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1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chart" Target="../charts/chart14.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1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chart" Target="../charts/chart16.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1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chart" Target="../charts/chart18.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17.xml"/><Relationship Id="rId5" Type="http://schemas.openxmlformats.org/officeDocument/2006/relationships/image" Target="../media/image28.emf"/><Relationship Id="rId4" Type="http://schemas.openxmlformats.org/officeDocument/2006/relationships/oleObject" Target="../embeddings/oleObject2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rPr lang="en-US"/>
              <a:t>DATA SOURCE: Trade Panel/Retailer Data | Ending Feb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Price Correlation | Xtreme 3 vs Fusion | Male Shaving | National | Weekly Price vs. Share analysis</a:t>
            </a:r>
          </a:p>
          <a:p>
            <a:r>
              <a:rPr lang="en-US" dirty="0"/>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ok"/>
                <a:ea typeface="+mn-ea"/>
                <a:cs typeface="Dubai Light"/>
              </a:rPr>
              <a:t>--- P3M Average</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A097"/>
                </a:solidFill>
                <a:effectLst/>
                <a:uLnTx/>
                <a:uFillTx/>
                <a:latin typeface="Nexa Book"/>
                <a:ea typeface="+mn-ea"/>
                <a:cs typeface="Dubai Light"/>
              </a:rPr>
              <a:t>--- P12M Quarterly Highest</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00000"/>
                </a:solidFill>
                <a:effectLst/>
                <a:uLnTx/>
                <a:uFillTx/>
                <a:latin typeface="Nexa Book"/>
                <a:ea typeface="+mn-ea"/>
                <a:cs typeface="Dubai Light"/>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92799082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rPr lang="en-US"/>
              <a:t>DATA SOURCE: Trade Panel/Retailer Data | Ending Feb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Price Correlation | Xtreme 3 vs Fusion | Male Shaving | National | Weekly Price vs. Share analysis</a:t>
            </a:r>
          </a:p>
          <a:p>
            <a:r>
              <a:rPr lang="en-US" dirty="0"/>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ok"/>
                <a:ea typeface="+mn-ea"/>
                <a:cs typeface="Dubai Light"/>
              </a:rPr>
              <a:t>--- P3M Average</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A097"/>
                </a:solidFill>
                <a:effectLst/>
                <a:uLnTx/>
                <a:uFillTx/>
                <a:latin typeface="Nexa Book"/>
                <a:ea typeface="+mn-ea"/>
                <a:cs typeface="Dubai Light"/>
              </a:rPr>
              <a:t>--- P12M Quarterly Highest</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00000"/>
                </a:solidFill>
                <a:effectLst/>
                <a:uLnTx/>
                <a:uFillTx/>
                <a:latin typeface="Nexa Book"/>
                <a:ea typeface="+mn-ea"/>
                <a:cs typeface="Dubai Light"/>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5003427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rPr lang="en-US"/>
              <a:t>DATA SOURCE: Trade Panel/Retailer Data | Ending Feb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Price Correlation | Xtreme 3 vs Fusion | Male Shaving | National | Weekly Price vs. Share analysis</a:t>
            </a:r>
          </a:p>
          <a:p>
            <a:r>
              <a:rPr lang="en-US" dirty="0"/>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ok"/>
                <a:ea typeface="+mn-ea"/>
                <a:cs typeface="Dubai Light"/>
              </a:rPr>
              <a:t>--- P3M Average</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A097"/>
                </a:solidFill>
                <a:effectLst/>
                <a:uLnTx/>
                <a:uFillTx/>
                <a:latin typeface="Nexa Book"/>
                <a:ea typeface="+mn-ea"/>
                <a:cs typeface="Dubai Light"/>
              </a:rPr>
              <a:t>--- P12M Quarterly Highest</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00000"/>
                </a:solidFill>
                <a:effectLst/>
                <a:uLnTx/>
                <a:uFillTx/>
                <a:latin typeface="Nexa Book"/>
                <a:ea typeface="+mn-ea"/>
                <a:cs typeface="Dubai Light"/>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45304921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rPr lang="en-US"/>
              <a:t>DATA SOURCE: Trade Panel/Retailer Data | Ending Feb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Price Correlation | Xtreme 3 vs Fusion | Male Shaving | National | Weekly Price vs. Share analysis</a:t>
            </a:r>
          </a:p>
          <a:p>
            <a:r>
              <a:rPr lang="en-US" dirty="0"/>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ok"/>
                <a:ea typeface="+mn-ea"/>
                <a:cs typeface="Dubai Light"/>
              </a:rPr>
              <a:t>--- P3M Average</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A097"/>
                </a:solidFill>
                <a:effectLst/>
                <a:uLnTx/>
                <a:uFillTx/>
                <a:latin typeface="Nexa Book"/>
                <a:ea typeface="+mn-ea"/>
                <a:cs typeface="Dubai Light"/>
              </a:rPr>
              <a:t>--- P12M Quarterly Highest</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00000"/>
                </a:solidFill>
                <a:effectLst/>
                <a:uLnTx/>
                <a:uFillTx/>
                <a:latin typeface="Nexa Book"/>
                <a:ea typeface="+mn-ea"/>
                <a:cs typeface="Dubai Light"/>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96696844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rPr lang="en-US"/>
              <a:t>DATA SOURCE: Trade Panel/Retailer Data | Ending Feb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Price Correlation | Xtreme 3 vs Fusion | Male Shaving | National | Weekly Price vs. Share analysis</a:t>
            </a:r>
          </a:p>
          <a:p>
            <a:r>
              <a:rPr lang="en-US" dirty="0"/>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ok"/>
                <a:ea typeface="+mn-ea"/>
                <a:cs typeface="Dubai Light"/>
              </a:rPr>
              <a:t>--- P3M Average</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A097"/>
                </a:solidFill>
                <a:effectLst/>
                <a:uLnTx/>
                <a:uFillTx/>
                <a:latin typeface="Nexa Book"/>
                <a:ea typeface="+mn-ea"/>
                <a:cs typeface="Dubai Light"/>
              </a:rPr>
              <a:t>--- P12M Quarterly Highest</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00000"/>
                </a:solidFill>
                <a:effectLst/>
                <a:uLnTx/>
                <a:uFillTx/>
                <a:latin typeface="Nexa Book"/>
                <a:ea typeface="+mn-ea"/>
                <a:cs typeface="Dubai Light"/>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76405728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rPr lang="en-US"/>
              <a:t>DATA SOURCE: Trade Panel/Retailer Data | Ending Feb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Price Correlation | Xtreme 3 vs Fusion | Male Shaving | National | Weekly Price vs. Share analysis</a:t>
            </a:r>
          </a:p>
          <a:p>
            <a:r>
              <a:rPr lang="en-US" dirty="0"/>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ok"/>
                <a:ea typeface="+mn-ea"/>
                <a:cs typeface="Dubai Light"/>
              </a:rPr>
              <a:t>--- P3M Average</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A097"/>
                </a:solidFill>
                <a:effectLst/>
                <a:uLnTx/>
                <a:uFillTx/>
                <a:latin typeface="Nexa Book"/>
                <a:ea typeface="+mn-ea"/>
                <a:cs typeface="Dubai Light"/>
              </a:rPr>
              <a:t>--- P12M Quarterly Highest</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00000"/>
                </a:solidFill>
                <a:effectLst/>
                <a:uLnTx/>
                <a:uFillTx/>
                <a:latin typeface="Nexa Book"/>
                <a:ea typeface="+mn-ea"/>
                <a:cs typeface="Dubai Light"/>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81975880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rPr lang="en-US"/>
              <a:t>DATA SOURCE: Trade Panel/Retailer Data | Ending Feb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Price Correlation | Xtreme 3 vs Fusion | Male Shaving | National | Weekly Price vs. Share analysis</a:t>
            </a:r>
          </a:p>
          <a:p>
            <a:r>
              <a:rPr lang="en-US" dirty="0"/>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ok"/>
                <a:ea typeface="+mn-ea"/>
                <a:cs typeface="Dubai Light"/>
              </a:rPr>
              <a:t>--- P3M Average</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A097"/>
                </a:solidFill>
                <a:effectLst/>
                <a:uLnTx/>
                <a:uFillTx/>
                <a:latin typeface="Nexa Book"/>
                <a:ea typeface="+mn-ea"/>
                <a:cs typeface="Dubai Light"/>
              </a:rPr>
              <a:t>--- P12M Quarterly Highest</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00000"/>
                </a:solidFill>
                <a:effectLst/>
                <a:uLnTx/>
                <a:uFillTx/>
                <a:latin typeface="Nexa Book"/>
                <a:ea typeface="+mn-ea"/>
                <a:cs typeface="Dubai Light"/>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7937275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rPr lang="en-US"/>
              <a:t>DATA SOURCE: Trade Panel/Retailer Data | Ending Feb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Price Correlation | Xtreme 3 vs Fusion | Male Shaving | National | Weekly Price vs. Share analysis</a:t>
            </a:r>
          </a:p>
          <a:p>
            <a:r>
              <a:rPr lang="en-US" dirty="0"/>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ok"/>
                <a:ea typeface="+mn-ea"/>
                <a:cs typeface="Dubai Light"/>
              </a:rPr>
              <a:t>--- P3M Average</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A097"/>
                </a:solidFill>
                <a:effectLst/>
                <a:uLnTx/>
                <a:uFillTx/>
                <a:latin typeface="Nexa Book"/>
                <a:ea typeface="+mn-ea"/>
                <a:cs typeface="Dubai Light"/>
              </a:rPr>
              <a:t>--- P12M Quarterly Highest</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00000"/>
                </a:solidFill>
                <a:effectLst/>
                <a:uLnTx/>
                <a:uFillTx/>
                <a:latin typeface="Nexa Book"/>
                <a:ea typeface="+mn-ea"/>
                <a:cs typeface="Dubai Light"/>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84482044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rPr lang="en-US"/>
              <a:t>DATA SOURCE: Trade Panel/Retailer Data | Ending Feb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Price Correlation | Xtreme 3 vs Fusion | Male Shaving | National | Weekly Price vs. Share analysis</a:t>
            </a:r>
          </a:p>
          <a:p>
            <a:r>
              <a:rPr lang="en-US" dirty="0"/>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ok"/>
                <a:ea typeface="+mn-ea"/>
                <a:cs typeface="Dubai Light"/>
              </a:rPr>
              <a:t>--- P3M Average</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A097"/>
                </a:solidFill>
                <a:effectLst/>
                <a:uLnTx/>
                <a:uFillTx/>
                <a:latin typeface="Nexa Book"/>
                <a:ea typeface="+mn-ea"/>
                <a:cs typeface="Dubai Light"/>
              </a:rPr>
              <a:t>--- P12M Quarterly Highest</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00000"/>
                </a:solidFill>
                <a:effectLst/>
                <a:uLnTx/>
                <a:uFillTx/>
                <a:latin typeface="Nexa Book"/>
                <a:ea typeface="+mn-ea"/>
                <a:cs typeface="Dubai Light"/>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681670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rPr lang="en-US"/>
              <a:t>DATA SOURCE: Trade Panel/Retailer Data | Ending Feb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Price Correlation | Xtreme 3 vs Fusion | Male Shaving | National | Weekly Price vs. Share analysis</a:t>
            </a:r>
          </a:p>
          <a:p>
            <a:r>
              <a:rPr lang="en-US" dirty="0"/>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ok"/>
                <a:ea typeface="+mn-ea"/>
                <a:cs typeface="Dubai Light"/>
              </a:rPr>
              <a:t>--- P3M Average</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A097"/>
                </a:solidFill>
                <a:effectLst/>
                <a:uLnTx/>
                <a:uFillTx/>
                <a:latin typeface="Nexa Book"/>
                <a:ea typeface="+mn-ea"/>
                <a:cs typeface="Dubai Light"/>
              </a:rPr>
              <a:t>--- P12M Quarterly Highest</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00000"/>
                </a:solidFill>
                <a:effectLst/>
                <a:uLnTx/>
                <a:uFillTx/>
                <a:latin typeface="Nexa Book"/>
                <a:ea typeface="+mn-ea"/>
                <a:cs typeface="Dubai Light"/>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7648030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rPr lang="en-US"/>
              <a:t>DATA SOURCE: Trade Panel/Retailer Data | Ending Feb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Price Correlation | Xtreme 3 vs Fusion | Male Shaving | National | Weekly Price vs. Share analysis</a:t>
            </a:r>
          </a:p>
          <a:p>
            <a:r>
              <a:rPr lang="en-US" dirty="0"/>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ok"/>
                <a:ea typeface="+mn-ea"/>
                <a:cs typeface="Dubai Light"/>
              </a:rPr>
              <a:t>--- P3M Average</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A097"/>
                </a:solidFill>
                <a:effectLst/>
                <a:uLnTx/>
                <a:uFillTx/>
                <a:latin typeface="Nexa Book"/>
                <a:ea typeface="+mn-ea"/>
                <a:cs typeface="Dubai Light"/>
              </a:rPr>
              <a:t>--- P12M Quarterly Highest</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00000"/>
                </a:solidFill>
                <a:effectLst/>
                <a:uLnTx/>
                <a:uFillTx/>
                <a:latin typeface="Nexa Book"/>
                <a:ea typeface="+mn-ea"/>
                <a:cs typeface="Dubai Light"/>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95451218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rPr lang="en-US"/>
              <a:t>DATA SOURCE: Trade Panel/Retailer Data | Ending Feb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Price Correlation | Xtreme 3 vs Fusion | Male Shaving | National | Weekly Price vs. Share analysis</a:t>
            </a:r>
          </a:p>
          <a:p>
            <a:r>
              <a:rPr lang="en-US" dirty="0"/>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ok"/>
                <a:ea typeface="+mn-ea"/>
                <a:cs typeface="Dubai Light"/>
              </a:rPr>
              <a:t>--- P3M Average</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A097"/>
                </a:solidFill>
                <a:effectLst/>
                <a:uLnTx/>
                <a:uFillTx/>
                <a:latin typeface="Nexa Book"/>
                <a:ea typeface="+mn-ea"/>
                <a:cs typeface="Dubai Light"/>
              </a:rPr>
              <a:t>--- P12M Quarterly Highest</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00000"/>
                </a:solidFill>
                <a:effectLst/>
                <a:uLnTx/>
                <a:uFillTx/>
                <a:latin typeface="Nexa Book"/>
                <a:ea typeface="+mn-ea"/>
                <a:cs typeface="Dubai Light"/>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15118531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rPr lang="en-US"/>
              <a:t>DATA SOURCE: Trade Panel/Retailer Data | Ending Feb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Price Correlation | Xtreme 3 vs Fusion | Male Shaving | National | Weekly Price vs. Share analysis</a:t>
            </a:r>
          </a:p>
          <a:p>
            <a:r>
              <a:rPr lang="en-US" dirty="0"/>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ok"/>
                <a:ea typeface="+mn-ea"/>
                <a:cs typeface="Dubai Light"/>
              </a:rPr>
              <a:t>--- P3M Average</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A097"/>
                </a:solidFill>
                <a:effectLst/>
                <a:uLnTx/>
                <a:uFillTx/>
                <a:latin typeface="Nexa Book"/>
                <a:ea typeface="+mn-ea"/>
                <a:cs typeface="Dubai Light"/>
              </a:rPr>
              <a:t>--- P12M Quarterly Highest</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00000"/>
                </a:solidFill>
                <a:effectLst/>
                <a:uLnTx/>
                <a:uFillTx/>
                <a:latin typeface="Nexa Book"/>
                <a:ea typeface="+mn-ea"/>
                <a:cs typeface="Dubai Light"/>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2326675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rPr lang="en-US"/>
              <a:t>DATA SOURCE: Trade Panel/Retailer Data | Ending Feb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Price Correlation | Xtreme 3 vs Fusion | Male Shaving | National | Weekly Price vs. Share analysis</a:t>
            </a:r>
          </a:p>
          <a:p>
            <a:r>
              <a:rPr lang="en-US" dirty="0"/>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ok"/>
                <a:ea typeface="+mn-ea"/>
                <a:cs typeface="Dubai Light"/>
              </a:rPr>
              <a:t>--- P3M Average</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A097"/>
                </a:solidFill>
                <a:effectLst/>
                <a:uLnTx/>
                <a:uFillTx/>
                <a:latin typeface="Nexa Book"/>
                <a:ea typeface="+mn-ea"/>
                <a:cs typeface="Dubai Light"/>
              </a:rPr>
              <a:t>--- P12M Quarterly Highest</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00000"/>
                </a:solidFill>
                <a:effectLst/>
                <a:uLnTx/>
                <a:uFillTx/>
                <a:latin typeface="Nexa Book"/>
                <a:ea typeface="+mn-ea"/>
                <a:cs typeface="Dubai Light"/>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35840127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rPr lang="en-US"/>
              <a:t>DATA SOURCE: Trade Panel/Retailer Data | Ending Feb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Price Correlation | Xtreme 3 vs Fusion | Male Shaving | National | Weekly Price vs. Share analysis</a:t>
            </a:r>
          </a:p>
          <a:p>
            <a:r>
              <a:rPr lang="en-US" dirty="0"/>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ok"/>
                <a:ea typeface="+mn-ea"/>
                <a:cs typeface="Dubai Light"/>
              </a:rPr>
              <a:t>--- P3M Average</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A097"/>
                </a:solidFill>
                <a:effectLst/>
                <a:uLnTx/>
                <a:uFillTx/>
                <a:latin typeface="Nexa Book"/>
                <a:ea typeface="+mn-ea"/>
                <a:cs typeface="Dubai Light"/>
              </a:rPr>
              <a:t>--- P12M Quarterly Highest</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00000"/>
                </a:solidFill>
                <a:effectLst/>
                <a:uLnTx/>
                <a:uFillTx/>
                <a:latin typeface="Nexa Book"/>
                <a:ea typeface="+mn-ea"/>
                <a:cs typeface="Dubai Light"/>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72058846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rPr lang="en-US"/>
              <a:t>DATA SOURCE: Trade Panel/Retailer Data | Ending Feb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Price Correlation | Xtreme 3 vs Fusion | Male Shaving | National | Weekly Price vs. Share analysis</a:t>
            </a:r>
          </a:p>
          <a:p>
            <a:r>
              <a:rPr lang="en-US" dirty="0"/>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ok"/>
                <a:ea typeface="+mn-ea"/>
                <a:cs typeface="Dubai Light"/>
              </a:rPr>
              <a:t>--- P3M Average</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A097"/>
                </a:solidFill>
                <a:effectLst/>
                <a:uLnTx/>
                <a:uFillTx/>
                <a:latin typeface="Nexa Book"/>
                <a:ea typeface="+mn-ea"/>
                <a:cs typeface="Dubai Light"/>
              </a:rPr>
              <a:t>--- P12M Quarterly Highest</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00000"/>
                </a:solidFill>
                <a:effectLst/>
                <a:uLnTx/>
                <a:uFillTx/>
                <a:latin typeface="Nexa Book"/>
                <a:ea typeface="+mn-ea"/>
                <a:cs typeface="Dubai Light"/>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789897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rPr lang="en-US"/>
              <a:t>DATA SOURCE: Trade Panel/Retailer Data | Ending Feb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Price Correlation | Xtreme 3 vs Fusion | Male Shaving | National | Weekly Price vs. Share analysis</a:t>
            </a:r>
          </a:p>
          <a:p>
            <a:r>
              <a:rPr lang="en-US" dirty="0"/>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ok"/>
                <a:ea typeface="+mn-ea"/>
                <a:cs typeface="Dubai Light"/>
              </a:rPr>
              <a:t>--- P3M Average</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A097"/>
                </a:solidFill>
                <a:effectLst/>
                <a:uLnTx/>
                <a:uFillTx/>
                <a:latin typeface="Nexa Book"/>
                <a:ea typeface="+mn-ea"/>
                <a:cs typeface="Dubai Light"/>
              </a:rPr>
              <a:t>--- P12M Quarterly Highest</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00000"/>
                </a:solidFill>
                <a:effectLst/>
                <a:uLnTx/>
                <a:uFillTx/>
                <a:latin typeface="Nexa Book"/>
                <a:ea typeface="+mn-ea"/>
                <a:cs typeface="Dubai Light"/>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55114003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rPr lang="en-US"/>
              <a:t>DATA SOURCE: Trade Panel/Retailer Data | Ending Feb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Price Correlation | Xtreme 3 vs Fusion | Male Shaving | National | Weekly Price vs. Share analysis</a:t>
            </a:r>
          </a:p>
          <a:p>
            <a:r>
              <a:rPr lang="en-US" dirty="0"/>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ok"/>
                <a:ea typeface="+mn-ea"/>
                <a:cs typeface="Dubai Light"/>
              </a:rPr>
              <a:t>--- P3M Average</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A097"/>
                </a:solidFill>
                <a:effectLst/>
                <a:uLnTx/>
                <a:uFillTx/>
                <a:latin typeface="Nexa Book"/>
                <a:ea typeface="+mn-ea"/>
                <a:cs typeface="Dubai Light"/>
              </a:rPr>
              <a:t>--- P12M Quarterly Highest</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00000"/>
                </a:solidFill>
                <a:effectLst/>
                <a:uLnTx/>
                <a:uFillTx/>
                <a:latin typeface="Nexa Book"/>
                <a:ea typeface="+mn-ea"/>
                <a:cs typeface="Dubai Light"/>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24235506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rPr lang="en-US"/>
              <a:t>DATA SOURCE: Trade Panel/Retailer Data | Ending Feb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Price Correlation | Xtreme 3 vs Fusion | Male Shaving | National | Weekly Price vs. Share analysis</a:t>
            </a:r>
          </a:p>
          <a:p>
            <a:r>
              <a:rPr lang="en-US" dirty="0"/>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ok"/>
                <a:ea typeface="+mn-ea"/>
                <a:cs typeface="Dubai Light"/>
              </a:rPr>
              <a:t>--- P3M Average</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A097"/>
                </a:solidFill>
                <a:effectLst/>
                <a:uLnTx/>
                <a:uFillTx/>
                <a:latin typeface="Nexa Book"/>
                <a:ea typeface="+mn-ea"/>
                <a:cs typeface="Dubai Light"/>
              </a:rPr>
              <a:t>--- P12M Quarterly Highest</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00000"/>
                </a:solidFill>
                <a:effectLst/>
                <a:uLnTx/>
                <a:uFillTx/>
                <a:latin typeface="Nexa Book"/>
                <a:ea typeface="+mn-ea"/>
                <a:cs typeface="Dubai Light"/>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6564920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rPr lang="en-US"/>
              <a:t>DATA SOURCE: Trade Panel/Retailer Data | Ending Feb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Price Correlation | Xtreme 3 vs Fusion | Male Shaving | National | Weekly Price vs. Share analysis</a:t>
            </a:r>
          </a:p>
          <a:p>
            <a:r>
              <a:rPr lang="en-US" dirty="0"/>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ok"/>
                <a:ea typeface="+mn-ea"/>
                <a:cs typeface="Dubai Light"/>
              </a:rPr>
              <a:t>--- P3M Average</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A097"/>
                </a:solidFill>
                <a:effectLst/>
                <a:uLnTx/>
                <a:uFillTx/>
                <a:latin typeface="Nexa Book"/>
                <a:ea typeface="+mn-ea"/>
                <a:cs typeface="Dubai Light"/>
              </a:rPr>
              <a:t>--- P12M Quarterly Highest</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00000"/>
                </a:solidFill>
                <a:effectLst/>
                <a:uLnTx/>
                <a:uFillTx/>
                <a:latin typeface="Nexa Book"/>
                <a:ea typeface="+mn-ea"/>
                <a:cs typeface="Dubai Light"/>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43048083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rPr lang="en-US"/>
              <a:t>DATA SOURCE: Trade Panel/Retailer Data | Ending Feb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Price Correlation | Xtreme 3 vs Fusion | Male Shaving | National | Weekly Price vs. Share analysis</a:t>
            </a:r>
          </a:p>
          <a:p>
            <a:r>
              <a:rPr lang="en-US" dirty="0"/>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ok"/>
                <a:ea typeface="+mn-ea"/>
                <a:cs typeface="Dubai Light"/>
              </a:rPr>
              <a:t>--- P3M Average</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A097"/>
                </a:solidFill>
                <a:effectLst/>
                <a:uLnTx/>
                <a:uFillTx/>
                <a:latin typeface="Nexa Book"/>
                <a:ea typeface="+mn-ea"/>
                <a:cs typeface="Dubai Light"/>
              </a:rPr>
              <a:t>--- P12M Quarterly Highest</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00000"/>
                </a:solidFill>
                <a:effectLst/>
                <a:uLnTx/>
                <a:uFillTx/>
                <a:latin typeface="Nexa Book"/>
                <a:ea typeface="+mn-ea"/>
                <a:cs typeface="Dubai Light"/>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0165020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rPr lang="en-US"/>
              <a:t>DATA SOURCE: Trade Panel/Retailer Data | Ending Feb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Price Correlation | Xtreme 3 vs Fusion | Male Shaving | National | Weekly Price vs. Share analysis</a:t>
            </a:r>
          </a:p>
          <a:p>
            <a:r>
              <a:rPr lang="en-US" dirty="0"/>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ok"/>
                <a:ea typeface="+mn-ea"/>
                <a:cs typeface="Dubai Light"/>
              </a:rPr>
              <a:t>--- P3M Average</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A097"/>
                </a:solidFill>
                <a:effectLst/>
                <a:uLnTx/>
                <a:uFillTx/>
                <a:latin typeface="Nexa Book"/>
                <a:ea typeface="+mn-ea"/>
                <a:cs typeface="Dubai Light"/>
              </a:rPr>
              <a:t>--- P12M Quarterly Highest</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00000"/>
                </a:solidFill>
                <a:effectLst/>
                <a:uLnTx/>
                <a:uFillTx/>
                <a:latin typeface="Nexa Book"/>
                <a:ea typeface="+mn-ea"/>
                <a:cs typeface="Dubai Light"/>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870308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rPr lang="en-US"/>
              <a:t>DATA SOURCE: Trade Panel/Retailer Data | Ending Feb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Price Correlation | Xtreme 3 vs Fusion | Male Shaving | National | Weekly Price vs. Share analysis</a:t>
            </a:r>
          </a:p>
          <a:p>
            <a:r>
              <a:rPr lang="en-US" dirty="0"/>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ok"/>
                <a:ea typeface="+mn-ea"/>
                <a:cs typeface="Dubai Light"/>
              </a:rPr>
              <a:t>--- P3M Average</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A097"/>
                </a:solidFill>
                <a:effectLst/>
                <a:uLnTx/>
                <a:uFillTx/>
                <a:latin typeface="Nexa Book"/>
                <a:ea typeface="+mn-ea"/>
                <a:cs typeface="Dubai Light"/>
              </a:rPr>
              <a:t>--- P12M Quarterly Highest</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00000"/>
                </a:solidFill>
                <a:effectLst/>
                <a:uLnTx/>
                <a:uFillTx/>
                <a:latin typeface="Nexa Book"/>
                <a:ea typeface="+mn-ea"/>
                <a:cs typeface="Dubai Light"/>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4684305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rPr lang="en-US"/>
              <a:t>DATA SOURCE: Trade Panel/Retailer Data | Ending Feb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Price Correlation | Xtreme 3 vs Fusion | Male Shaving | National | Weekly Price vs. Share analysis</a:t>
            </a:r>
          </a:p>
          <a:p>
            <a:r>
              <a:rPr lang="en-US" dirty="0"/>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ok"/>
                <a:ea typeface="+mn-ea"/>
                <a:cs typeface="Dubai Light"/>
              </a:rPr>
              <a:t>--- P3M Average</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A097"/>
                </a:solidFill>
                <a:effectLst/>
                <a:uLnTx/>
                <a:uFillTx/>
                <a:latin typeface="Nexa Book"/>
                <a:ea typeface="+mn-ea"/>
                <a:cs typeface="Dubai Light"/>
              </a:rPr>
              <a:t>--- P12M Quarterly Highest</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00000"/>
                </a:solidFill>
                <a:effectLst/>
                <a:uLnTx/>
                <a:uFillTx/>
                <a:latin typeface="Nexa Book"/>
                <a:ea typeface="+mn-ea"/>
                <a:cs typeface="Dubai Light"/>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63666661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rPr lang="en-US"/>
              <a:t>DATA SOURCE: Trade Panel/Retailer Data | Ending Feb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Price Correlation | Xtreme 3 vs Fusion | Male Shaving | National | Weekly Price vs. Share analysis</a:t>
            </a:r>
          </a:p>
          <a:p>
            <a:r>
              <a:rPr lang="en-US" dirty="0"/>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ok"/>
                <a:ea typeface="+mn-ea"/>
                <a:cs typeface="Dubai Light"/>
              </a:rPr>
              <a:t>--- P3M Average</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A097"/>
                </a:solidFill>
                <a:effectLst/>
                <a:uLnTx/>
                <a:uFillTx/>
                <a:latin typeface="Nexa Book"/>
                <a:ea typeface="+mn-ea"/>
                <a:cs typeface="Dubai Light"/>
              </a:rPr>
              <a:t>--- P12M Quarterly Highest</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00000"/>
                </a:solidFill>
                <a:effectLst/>
                <a:uLnTx/>
                <a:uFillTx/>
                <a:latin typeface="Nexa Book"/>
                <a:ea typeface="+mn-ea"/>
                <a:cs typeface="Dubai Light"/>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2173962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rPr lang="en-US"/>
              <a:t>DATA SOURCE: Trade Panel/Retailer Data | Ending Feb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Price Correlation | Xtreme 3 vs Fusion | Male Shaving | National | Weekly Price vs. Share analysis</a:t>
            </a:r>
          </a:p>
          <a:p>
            <a:r>
              <a:rPr lang="en-US" dirty="0"/>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ok"/>
                <a:ea typeface="+mn-ea"/>
                <a:cs typeface="Dubai Light"/>
              </a:rPr>
              <a:t>--- P3M Average</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A097"/>
                </a:solidFill>
                <a:effectLst/>
                <a:uLnTx/>
                <a:uFillTx/>
                <a:latin typeface="Nexa Book"/>
                <a:ea typeface="+mn-ea"/>
                <a:cs typeface="Dubai Light"/>
              </a:rPr>
              <a:t>--- P12M Quarterly Highest</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00000"/>
                </a:solidFill>
                <a:effectLst/>
                <a:uLnTx/>
                <a:uFillTx/>
                <a:latin typeface="Nexa Book"/>
                <a:ea typeface="+mn-ea"/>
                <a:cs typeface="Dubai Light"/>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69121346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rPr lang="en-US"/>
              <a:t>DATA SOURCE: Trade Panel/Retailer Data | Ending Feb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Price Correlation | Xtreme 3 vs Fusion | Male Shaving | National | Weekly Price vs. Share analysis</a:t>
            </a:r>
          </a:p>
          <a:p>
            <a:r>
              <a:rPr lang="en-US" dirty="0"/>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ok"/>
                <a:ea typeface="+mn-ea"/>
                <a:cs typeface="Dubai Light"/>
              </a:rPr>
              <a:t>--- P3M Average</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A097"/>
                </a:solidFill>
                <a:effectLst/>
                <a:uLnTx/>
                <a:uFillTx/>
                <a:latin typeface="Nexa Book"/>
                <a:ea typeface="+mn-ea"/>
                <a:cs typeface="Dubai Light"/>
              </a:rPr>
              <a:t>--- P12M Quarterly Highest</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00000"/>
                </a:solidFill>
                <a:effectLst/>
                <a:uLnTx/>
                <a:uFillTx/>
                <a:latin typeface="Nexa Book"/>
                <a:ea typeface="+mn-ea"/>
                <a:cs typeface="Dubai Light"/>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77122228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rPr lang="en-US"/>
              <a:t>DATA SOURCE: Trade Panel/Retailer Data | Ending Feb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Price Correlation | Xtreme 3 vs Fusion | Male Shaving | National | Weekly Price vs. Share analysis</a:t>
            </a:r>
          </a:p>
          <a:p>
            <a:r>
              <a:rPr lang="en-US" dirty="0"/>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ok"/>
                <a:ea typeface="+mn-ea"/>
                <a:cs typeface="Dubai Light"/>
              </a:rPr>
              <a:t>--- P3M Average</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A097"/>
                </a:solidFill>
                <a:effectLst/>
                <a:uLnTx/>
                <a:uFillTx/>
                <a:latin typeface="Nexa Book"/>
                <a:ea typeface="+mn-ea"/>
                <a:cs typeface="Dubai Light"/>
              </a:rPr>
              <a:t>--- P12M Quarterly Highest</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00000"/>
                </a:solidFill>
                <a:effectLst/>
                <a:uLnTx/>
                <a:uFillTx/>
                <a:latin typeface="Nexa Book"/>
                <a:ea typeface="+mn-ea"/>
                <a:cs typeface="Dubai Light"/>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7395201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rPr lang="en-US"/>
              <a:t>DATA SOURCE: Trade Panel/Retailer Data | Ending Feb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Price Correlation | Xtreme 3 vs Fusion | Male Shaving | National | Weekly Price vs. Share analysis</a:t>
            </a:r>
          </a:p>
          <a:p>
            <a:r>
              <a:rPr lang="en-US" dirty="0"/>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ok"/>
                <a:ea typeface="+mn-ea"/>
                <a:cs typeface="Dubai Light"/>
              </a:rPr>
              <a:t>--- P3M Average</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A097"/>
                </a:solidFill>
                <a:effectLst/>
                <a:uLnTx/>
                <a:uFillTx/>
                <a:latin typeface="Nexa Book"/>
                <a:ea typeface="+mn-ea"/>
                <a:cs typeface="Dubai Light"/>
              </a:rPr>
              <a:t>--- P12M Quarterly Highest</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00000"/>
                </a:solidFill>
                <a:effectLst/>
                <a:uLnTx/>
                <a:uFillTx/>
                <a:latin typeface="Nexa Book"/>
                <a:ea typeface="+mn-ea"/>
                <a:cs typeface="Dubai Light"/>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197259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rPr lang="en-US"/>
              <a:t>DATA SOURCE: Trade Panel/Retailer Data | Ending Feb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Price Correlation | Xtreme 3 vs Fusion | Male Shaving | National | Weekly Price vs. Share analysis</a:t>
            </a:r>
          </a:p>
          <a:p>
            <a:r>
              <a:rPr lang="en-US" dirty="0"/>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ok"/>
                <a:ea typeface="+mn-ea"/>
                <a:cs typeface="Dubai Light"/>
              </a:rPr>
              <a:t>--- P3M Average</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A097"/>
                </a:solidFill>
                <a:effectLst/>
                <a:uLnTx/>
                <a:uFillTx/>
                <a:latin typeface="Nexa Book"/>
                <a:ea typeface="+mn-ea"/>
                <a:cs typeface="Dubai Light"/>
              </a:rPr>
              <a:t>--- P12M Quarterly Highest</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00000"/>
                </a:solidFill>
                <a:effectLst/>
                <a:uLnTx/>
                <a:uFillTx/>
                <a:latin typeface="Nexa Book"/>
                <a:ea typeface="+mn-ea"/>
                <a:cs typeface="Dubai Light"/>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720820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rPr lang="en-US"/>
              <a:t>DATA SOURCE: Trade Panel/Retailer Data | Ending Feb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Price Correlation | Xtreme 3 vs Fusion | Male Shaving | National | Weekly Price vs. Share analysis</a:t>
            </a:r>
          </a:p>
          <a:p>
            <a:r>
              <a:rPr lang="en-US" dirty="0"/>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ok"/>
                <a:ea typeface="+mn-ea"/>
                <a:cs typeface="Dubai Light"/>
              </a:rPr>
              <a:t>--- P3M Average</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A097"/>
                </a:solidFill>
                <a:effectLst/>
                <a:uLnTx/>
                <a:uFillTx/>
                <a:latin typeface="Nexa Book"/>
                <a:ea typeface="+mn-ea"/>
                <a:cs typeface="Dubai Light"/>
              </a:rPr>
              <a:t>--- P12M Quarterly Highest</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00000"/>
                </a:solidFill>
                <a:effectLst/>
                <a:uLnTx/>
                <a:uFillTx/>
                <a:latin typeface="Nexa Book"/>
                <a:ea typeface="+mn-ea"/>
                <a:cs typeface="Dubai Light"/>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79863534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rPr lang="en-US"/>
              <a:t>DATA SOURCE: Trade Panel/Retailer Data | Ending Feb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Price Correlation | Xtreme 3 vs Fusion | Male Shaving | National | Weekly Price vs. Share analysis</a:t>
            </a:r>
          </a:p>
          <a:p>
            <a:r>
              <a:rPr lang="en-US" dirty="0"/>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ok"/>
                <a:ea typeface="+mn-ea"/>
                <a:cs typeface="Dubai Light"/>
              </a:rPr>
              <a:t>--- P3M Average</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A097"/>
                </a:solidFill>
                <a:effectLst/>
                <a:uLnTx/>
                <a:uFillTx/>
                <a:latin typeface="Nexa Book"/>
                <a:ea typeface="+mn-ea"/>
                <a:cs typeface="Dubai Light"/>
              </a:rPr>
              <a:t>--- P12M Quarterly Highest</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00000"/>
                </a:solidFill>
                <a:effectLst/>
                <a:uLnTx/>
                <a:uFillTx/>
                <a:latin typeface="Nexa Book"/>
                <a:ea typeface="+mn-ea"/>
                <a:cs typeface="Dubai Light"/>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0685461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rPr lang="en-US"/>
              <a:t>DATA SOURCE: Trade Panel/Retailer Data | Ending Feb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Price Correlation | Xtreme 3 vs Fusion | Male Shaving | National | Weekly Price vs. Share analysis</a:t>
            </a:r>
          </a:p>
          <a:p>
            <a:r>
              <a:rPr lang="en-US" dirty="0"/>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ok"/>
                <a:ea typeface="+mn-ea"/>
                <a:cs typeface="Dubai Light"/>
              </a:rPr>
              <a:t>--- P3M Average</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A097"/>
                </a:solidFill>
                <a:effectLst/>
                <a:uLnTx/>
                <a:uFillTx/>
                <a:latin typeface="Nexa Book"/>
                <a:ea typeface="+mn-ea"/>
                <a:cs typeface="Dubai Light"/>
              </a:rPr>
              <a:t>--- P12M Quarterly Highest</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00000"/>
                </a:solidFill>
                <a:effectLst/>
                <a:uLnTx/>
                <a:uFillTx/>
                <a:latin typeface="Nexa Book"/>
                <a:ea typeface="+mn-ea"/>
                <a:cs typeface="Dubai Light"/>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90066738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rPr lang="en-US"/>
              <a:t>DATA SOURCE: Trade Panel/Retailer Data | Ending Feb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Price Correlation | Xtreme 3 vs Fusion | Male Shaving | National | Weekly Price vs. Share analysis</a:t>
            </a:r>
          </a:p>
          <a:p>
            <a:r>
              <a:rPr lang="en-US" dirty="0"/>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ok"/>
                <a:ea typeface="+mn-ea"/>
                <a:cs typeface="Dubai Light"/>
              </a:rPr>
              <a:t>--- P3M Average</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A097"/>
                </a:solidFill>
                <a:effectLst/>
                <a:uLnTx/>
                <a:uFillTx/>
                <a:latin typeface="Nexa Book"/>
                <a:ea typeface="+mn-ea"/>
                <a:cs typeface="Dubai Light"/>
              </a:rPr>
              <a:t>--- P12M Quarterly Highest</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00000"/>
                </a:solidFill>
                <a:effectLst/>
                <a:uLnTx/>
                <a:uFillTx/>
                <a:latin typeface="Nexa Book"/>
                <a:ea typeface="+mn-ea"/>
                <a:cs typeface="Dubai Light"/>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465369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1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rPr lang="en-US"/>
              <a:t>DATA SOURCE: Trade Panel/Retailer Data | Ending Feb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Price Correlation | Xtreme 3 vs Fusion | Male Shaving | National | Weekly Price vs. Share analysis</a:t>
            </a:r>
          </a:p>
          <a:p>
            <a:r>
              <a:rPr lang="en-US" dirty="0"/>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ok"/>
                <a:ea typeface="+mn-ea"/>
                <a:cs typeface="Dubai Light"/>
              </a:rPr>
              <a:t>--- P3M Average</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A097"/>
                </a:solidFill>
                <a:effectLst/>
                <a:uLnTx/>
                <a:uFillTx/>
                <a:latin typeface="Nexa Book"/>
                <a:ea typeface="+mn-ea"/>
                <a:cs typeface="Dubai Light"/>
              </a:rPr>
              <a:t>--- P12M Quarterly Highest</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00000"/>
                </a:solidFill>
                <a:effectLst/>
                <a:uLnTx/>
                <a:uFillTx/>
                <a:latin typeface="Nexa Book"/>
                <a:ea typeface="+mn-ea"/>
                <a:cs typeface="Dubai Light"/>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228205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2.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42</TotalTime>
  <Words>2485</Words>
  <Application>Microsoft Office PowerPoint</Application>
  <PresentationFormat>On-screen Show (16:9)</PresentationFormat>
  <Paragraphs>455</Paragraphs>
  <Slides>35</Slides>
  <Notes>35</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4" baseType="lpstr">
      <vt:lpstr>Aptos</vt:lpstr>
      <vt:lpstr>Arial</vt:lpstr>
      <vt:lpstr>Nexa</vt:lpstr>
      <vt:lpstr>Nexa Bold</vt:lpstr>
      <vt:lpstr>Nexa Book</vt:lpstr>
      <vt:lpstr>Nexa Book Italic</vt:lpstr>
      <vt:lpstr>Open Sans</vt:lpstr>
      <vt:lpstr>PricingOne Light Template Oct 2024</vt:lpstr>
      <vt:lpstr>think-cell Slide</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alma ANANY</cp:lastModifiedBy>
  <cp:revision>43</cp:revision>
  <dcterms:created xsi:type="dcterms:W3CDTF">2024-07-05T14:56:51Z</dcterms:created>
  <dcterms:modified xsi:type="dcterms:W3CDTF">2025-08-11T08:29: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